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7" r:id="rId3"/>
  </p:sldMasterIdLst>
  <p:notesMasterIdLst>
    <p:notesMasterId r:id="rId12"/>
  </p:notesMasterIdLst>
  <p:sldIdLst>
    <p:sldId id="270" r:id="rId4"/>
    <p:sldId id="257" r:id="rId5"/>
    <p:sldId id="266" r:id="rId6"/>
    <p:sldId id="259" r:id="rId7"/>
    <p:sldId id="260" r:id="rId8"/>
    <p:sldId id="262" r:id="rId9"/>
    <p:sldId id="263" r:id="rId10"/>
    <p:sldId id="272" r:id="rId1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33" autoAdjust="0"/>
    <p:restoredTop sz="94411" autoAdjust="0"/>
  </p:normalViewPr>
  <p:slideViewPr>
    <p:cSldViewPr snapToGrid="0">
      <p:cViewPr varScale="1">
        <p:scale>
          <a:sx n="84" d="100"/>
          <a:sy n="84" d="100"/>
        </p:scale>
        <p:origin x="797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E94DC5-6F41-451D-8EC4-457D25BCBA27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F0EB13-6412-400A-B5F2-767E9F3A8ED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2134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X</a:t>
            </a:r>
            <a:r>
              <a:rPr lang="zh-CN" altLang="en-US" dirty="0" smtClean="0"/>
              <a:t>校长，各位主任、老师你们好，很感谢你们百忙之中抽空参与这次产品功能介绍。我们这次给各位带来智学网最新的作业产品，希望能给老师提供教学上的帮助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pPr/>
              <a:t>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888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但说到教育信息化，我们会在实际操作遇到很多障碍。老师需要接触陌生的信息系统，需要投入大量学习成本；学生在接触电子设备过程中，可能会难以抵制网络的诱惑。所以我们解决方案的核心思路，就是让用户在操作层面尽量减少对系统的依赖，同时完成对作业数据的采集。第一步，在老师选题布置作业的阶段，我们摒弃了让老师在繁杂题海中选题的方案。日常作业已经很繁重了，题海选题对于老师来说其实是一种负担。我们在这里提出一个更简单的方式：把老师手上现成信任的教辅电子化，老师看到的题库就是手上的资源，章节目录和教辅完全一致，省事省心。第二步，学生如何做作业？许多解决方案都需要学生对着屏幕做作业，这样的方式一来伤眼，二来难免学生偷偷玩手机。我们的方案也是从纸质教辅切入，学校的教辅人手一本，学生在作答过程还是在纸质完成，完全不需要接触设备。所需要做的，只是在作答结束后用手机花几分钟进行拍照上传。大幅降低了对手机的依赖。这个提交作业的过程可以让家长代劳，既防止孩子玩手机，又能够了解孩子作业的完成情况。第三步，老师如何批改作业？作为一个完备的系统，老师可以系统自行批改。但我们在这里希望提供一个可选的方案解放老师。依托科大讯飞人工智能深度学习系统，我们帮老师批改作业，选择题、填空题、解答题都可以替代老师批改。但目前这个技术智能支持初一初二数学学科，其他学科和年级还在研发当中。经过以上步骤，老师可以轻松获得作业报告，通过数据分析手段清晰了解作业完成情况与班级学情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pPr/>
              <a:t>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1428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pPr/>
              <a:t>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154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pPr/>
              <a:t>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8392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pPr/>
              <a:t>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9505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pPr/>
              <a:t>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4341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pPr/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167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6156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10281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506466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xmlns="" id="{9A760D8F-D216-401B-974A-A1462E8F9E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17" name="任意多边形: 形状 716">
            <a:extLst>
              <a:ext uri="{FF2B5EF4-FFF2-40B4-BE49-F238E27FC236}">
                <a16:creationId xmlns:a16="http://schemas.microsoft.com/office/drawing/2014/main" xmlns="" id="{560AAB57-D2E2-4993-9254-59F8DC8E9E98}"/>
              </a:ext>
            </a:extLst>
          </p:cNvPr>
          <p:cNvSpPr/>
          <p:nvPr userDrawn="1"/>
        </p:nvSpPr>
        <p:spPr>
          <a:xfrm>
            <a:off x="2" y="0"/>
            <a:ext cx="1286801" cy="2942908"/>
          </a:xfrm>
          <a:custGeom>
            <a:avLst/>
            <a:gdLst>
              <a:gd name="connsiteX0" fmla="*/ 0 w 1286801"/>
              <a:gd name="connsiteY0" fmla="*/ 0 h 2942908"/>
              <a:gd name="connsiteX1" fmla="*/ 1286801 w 1286801"/>
              <a:gd name="connsiteY1" fmla="*/ 0 h 2942908"/>
              <a:gd name="connsiteX2" fmla="*/ 1241687 w 1286801"/>
              <a:gd name="connsiteY2" fmla="*/ 49074 h 2942908"/>
              <a:gd name="connsiteX3" fmla="*/ 499802 w 1286801"/>
              <a:gd name="connsiteY3" fmla="*/ 1839970 h 2942908"/>
              <a:gd name="connsiteX4" fmla="*/ 85249 w 1286801"/>
              <a:gd name="connsiteY4" fmla="*/ 2831798 h 2942908"/>
              <a:gd name="connsiteX5" fmla="*/ 0 w 1286801"/>
              <a:gd name="connsiteY5" fmla="*/ 2942908 h 2942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86801" h="2942908">
                <a:moveTo>
                  <a:pt x="0" y="0"/>
                </a:moveTo>
                <a:lnTo>
                  <a:pt x="1286801" y="0"/>
                </a:lnTo>
                <a:lnTo>
                  <a:pt x="1241687" y="49074"/>
                </a:lnTo>
                <a:cubicBezTo>
                  <a:pt x="837224" y="530115"/>
                  <a:pt x="628426" y="1159661"/>
                  <a:pt x="499802" y="1839970"/>
                </a:cubicBezTo>
                <a:cubicBezTo>
                  <a:pt x="416370" y="2270369"/>
                  <a:pt x="256458" y="2593169"/>
                  <a:pt x="85249" y="2831798"/>
                </a:cubicBezTo>
                <a:lnTo>
                  <a:pt x="0" y="2942908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400000" scaled="0"/>
          </a:gra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16" name="任意多边形: 形状 715">
            <a:extLst>
              <a:ext uri="{FF2B5EF4-FFF2-40B4-BE49-F238E27FC236}">
                <a16:creationId xmlns:a16="http://schemas.microsoft.com/office/drawing/2014/main" xmlns="" id="{ED2E73B1-D280-4669-8746-D1F3CFFC452B}"/>
              </a:ext>
            </a:extLst>
          </p:cNvPr>
          <p:cNvSpPr/>
          <p:nvPr userDrawn="1"/>
        </p:nvSpPr>
        <p:spPr>
          <a:xfrm>
            <a:off x="3277741" y="29852"/>
            <a:ext cx="8914259" cy="6828148"/>
          </a:xfrm>
          <a:custGeom>
            <a:avLst/>
            <a:gdLst>
              <a:gd name="connsiteX0" fmla="*/ 8580102 w 8914258"/>
              <a:gd name="connsiteY0" fmla="*/ 2086 h 6828148"/>
              <a:gd name="connsiteX1" fmla="*/ 8781935 w 8914258"/>
              <a:gd name="connsiteY1" fmla="*/ 23598 h 6828148"/>
              <a:gd name="connsiteX2" fmla="*/ 8914258 w 8914258"/>
              <a:gd name="connsiteY2" fmla="*/ 52600 h 6828148"/>
              <a:gd name="connsiteX3" fmla="*/ 8914258 w 8914258"/>
              <a:gd name="connsiteY3" fmla="*/ 6828148 h 6828148"/>
              <a:gd name="connsiteX4" fmla="*/ 0 w 8914258"/>
              <a:gd name="connsiteY4" fmla="*/ 6828148 h 6828148"/>
              <a:gd name="connsiteX5" fmla="*/ 19755 w 8914258"/>
              <a:gd name="connsiteY5" fmla="*/ 6814359 h 6828148"/>
              <a:gd name="connsiteX6" fmla="*/ 559333 w 8914258"/>
              <a:gd name="connsiteY6" fmla="*/ 6055631 h 6828148"/>
              <a:gd name="connsiteX7" fmla="*/ 1974584 w 8914258"/>
              <a:gd name="connsiteY7" fmla="*/ 3649176 h 6828148"/>
              <a:gd name="connsiteX8" fmla="*/ 4242695 w 8914258"/>
              <a:gd name="connsiteY8" fmla="*/ 2711276 h 6828148"/>
              <a:gd name="connsiteX9" fmla="*/ 5707388 w 8914258"/>
              <a:gd name="connsiteY9" fmla="*/ 1742523 h 6828148"/>
              <a:gd name="connsiteX10" fmla="*/ 6961956 w 8914258"/>
              <a:gd name="connsiteY10" fmla="*/ 1014416 h 6828148"/>
              <a:gd name="connsiteX11" fmla="*/ 8580102 w 8914258"/>
              <a:gd name="connsiteY11" fmla="*/ 2086 h 6828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914258" h="6828148">
                <a:moveTo>
                  <a:pt x="8580102" y="2086"/>
                </a:moveTo>
                <a:cubicBezTo>
                  <a:pt x="8645470" y="5316"/>
                  <a:pt x="8712748" y="12354"/>
                  <a:pt x="8781935" y="23598"/>
                </a:cubicBezTo>
                <a:lnTo>
                  <a:pt x="8914258" y="52600"/>
                </a:lnTo>
                <a:lnTo>
                  <a:pt x="8914258" y="6828148"/>
                </a:lnTo>
                <a:lnTo>
                  <a:pt x="0" y="6828148"/>
                </a:lnTo>
                <a:lnTo>
                  <a:pt x="19755" y="6814359"/>
                </a:lnTo>
                <a:cubicBezTo>
                  <a:pt x="270605" y="6621331"/>
                  <a:pt x="460837" y="6377648"/>
                  <a:pt x="559333" y="6055631"/>
                </a:cubicBezTo>
                <a:cubicBezTo>
                  <a:pt x="874520" y="5019004"/>
                  <a:pt x="454271" y="4013229"/>
                  <a:pt x="1974584" y="3649176"/>
                </a:cubicBezTo>
                <a:cubicBezTo>
                  <a:pt x="3494898" y="3285123"/>
                  <a:pt x="3884247" y="3470235"/>
                  <a:pt x="4242695" y="2711276"/>
                </a:cubicBezTo>
                <a:cubicBezTo>
                  <a:pt x="4650584" y="1853591"/>
                  <a:pt x="5046113" y="1662308"/>
                  <a:pt x="5707388" y="1742523"/>
                </a:cubicBezTo>
                <a:cubicBezTo>
                  <a:pt x="6368662" y="1822738"/>
                  <a:pt x="6739471" y="1508048"/>
                  <a:pt x="6961956" y="1014416"/>
                </a:cubicBezTo>
                <a:cubicBezTo>
                  <a:pt x="7124184" y="658076"/>
                  <a:pt x="7664946" y="-43132"/>
                  <a:pt x="8580102" y="2086"/>
                </a:cubicBez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2" name="矩形: 圆角 1">
            <a:extLst>
              <a:ext uri="{FF2B5EF4-FFF2-40B4-BE49-F238E27FC236}">
                <a16:creationId xmlns:a16="http://schemas.microsoft.com/office/drawing/2014/main" xmlns="" id="{E846CBA6-24A5-4E64-A1F7-C5FC4425AE40}"/>
              </a:ext>
            </a:extLst>
          </p:cNvPr>
          <p:cNvSpPr/>
          <p:nvPr userDrawn="1"/>
        </p:nvSpPr>
        <p:spPr>
          <a:xfrm>
            <a:off x="825702" y="464457"/>
            <a:ext cx="10540599" cy="5929086"/>
          </a:xfrm>
          <a:prstGeom prst="roundRect">
            <a:avLst>
              <a:gd name="adj" fmla="val 3659"/>
            </a:avLst>
          </a:prstGeom>
          <a:solidFill>
            <a:schemeClr val="bg1"/>
          </a:solidFill>
          <a:ln>
            <a:noFill/>
          </a:ln>
          <a:effectLst>
            <a:outerShdw blurRad="508000" dist="38100" algn="l" rotWithShape="0">
              <a:srgbClr val="065278">
                <a:alpha val="5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20" name="任意多边形: 形状 719">
            <a:extLst>
              <a:ext uri="{FF2B5EF4-FFF2-40B4-BE49-F238E27FC236}">
                <a16:creationId xmlns:a16="http://schemas.microsoft.com/office/drawing/2014/main" xmlns="" id="{665B9890-E928-46B7-BCBA-75A828621900}"/>
              </a:ext>
            </a:extLst>
          </p:cNvPr>
          <p:cNvSpPr/>
          <p:nvPr userDrawn="1"/>
        </p:nvSpPr>
        <p:spPr>
          <a:xfrm>
            <a:off x="3772767" y="464457"/>
            <a:ext cx="7647616" cy="5929086"/>
          </a:xfrm>
          <a:custGeom>
            <a:avLst/>
            <a:gdLst>
              <a:gd name="connsiteX0" fmla="*/ 7182704 w 7933552"/>
              <a:gd name="connsiteY0" fmla="*/ 0 h 6150768"/>
              <a:gd name="connsiteX1" fmla="*/ 7708495 w 7933552"/>
              <a:gd name="connsiteY1" fmla="*/ 0 h 6150768"/>
              <a:gd name="connsiteX2" fmla="*/ 7933552 w 7933552"/>
              <a:gd name="connsiteY2" fmla="*/ 225057 h 6150768"/>
              <a:gd name="connsiteX3" fmla="*/ 7933552 w 7933552"/>
              <a:gd name="connsiteY3" fmla="*/ 5925711 h 6150768"/>
              <a:gd name="connsiteX4" fmla="*/ 7708495 w 7933552"/>
              <a:gd name="connsiteY4" fmla="*/ 6150768 h 6150768"/>
              <a:gd name="connsiteX5" fmla="*/ 0 w 7933552"/>
              <a:gd name="connsiteY5" fmla="*/ 6150768 h 6150768"/>
              <a:gd name="connsiteX6" fmla="*/ 116691 w 7933552"/>
              <a:gd name="connsiteY6" fmla="*/ 5959125 h 6150768"/>
              <a:gd name="connsiteX7" fmla="*/ 207277 w 7933552"/>
              <a:gd name="connsiteY7" fmla="*/ 5731867 h 6150768"/>
              <a:gd name="connsiteX8" fmla="*/ 1622528 w 7933552"/>
              <a:gd name="connsiteY8" fmla="*/ 3325412 h 6150768"/>
              <a:gd name="connsiteX9" fmla="*/ 3890639 w 7933552"/>
              <a:gd name="connsiteY9" fmla="*/ 2387512 h 6150768"/>
              <a:gd name="connsiteX10" fmla="*/ 5355332 w 7933552"/>
              <a:gd name="connsiteY10" fmla="*/ 1418759 h 6150768"/>
              <a:gd name="connsiteX11" fmla="*/ 6609900 w 7933552"/>
              <a:gd name="connsiteY11" fmla="*/ 690652 h 6150768"/>
              <a:gd name="connsiteX12" fmla="*/ 7136625 w 7933552"/>
              <a:gd name="connsiteY12" fmla="*/ 33903 h 6150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933552" h="6150768">
                <a:moveTo>
                  <a:pt x="7182704" y="0"/>
                </a:moveTo>
                <a:lnTo>
                  <a:pt x="7708495" y="0"/>
                </a:lnTo>
                <a:cubicBezTo>
                  <a:pt x="7832791" y="0"/>
                  <a:pt x="7933552" y="100761"/>
                  <a:pt x="7933552" y="225057"/>
                </a:cubicBezTo>
                <a:lnTo>
                  <a:pt x="7933552" y="5925711"/>
                </a:lnTo>
                <a:cubicBezTo>
                  <a:pt x="7933552" y="6050007"/>
                  <a:pt x="7832791" y="6150768"/>
                  <a:pt x="7708495" y="6150768"/>
                </a:cubicBezTo>
                <a:lnTo>
                  <a:pt x="0" y="6150768"/>
                </a:lnTo>
                <a:lnTo>
                  <a:pt x="116691" y="5959125"/>
                </a:lnTo>
                <a:cubicBezTo>
                  <a:pt x="152296" y="5887980"/>
                  <a:pt x="182653" y="5812371"/>
                  <a:pt x="207277" y="5731867"/>
                </a:cubicBezTo>
                <a:cubicBezTo>
                  <a:pt x="522464" y="4695240"/>
                  <a:pt x="102215" y="3689465"/>
                  <a:pt x="1622528" y="3325412"/>
                </a:cubicBezTo>
                <a:cubicBezTo>
                  <a:pt x="3142842" y="2961359"/>
                  <a:pt x="3532191" y="3146471"/>
                  <a:pt x="3890639" y="2387512"/>
                </a:cubicBezTo>
                <a:cubicBezTo>
                  <a:pt x="4298528" y="1529827"/>
                  <a:pt x="4694057" y="1338544"/>
                  <a:pt x="5355332" y="1418759"/>
                </a:cubicBezTo>
                <a:cubicBezTo>
                  <a:pt x="6016606" y="1498974"/>
                  <a:pt x="6387415" y="1184284"/>
                  <a:pt x="6609900" y="690652"/>
                </a:cubicBezTo>
                <a:cubicBezTo>
                  <a:pt x="6691014" y="512482"/>
                  <a:pt x="6866761" y="248095"/>
                  <a:pt x="7136625" y="33903"/>
                </a:cubicBez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79662E0D-BD0B-496C-B2F0-0A9A27507C43}"/>
              </a:ext>
            </a:extLst>
          </p:cNvPr>
          <p:cNvGrpSpPr/>
          <p:nvPr userDrawn="1"/>
        </p:nvGrpSpPr>
        <p:grpSpPr>
          <a:xfrm flipH="1">
            <a:off x="5954203" y="1584053"/>
            <a:ext cx="5427661" cy="4356943"/>
            <a:chOff x="761318" y="1374775"/>
            <a:chExt cx="5118101" cy="4108450"/>
          </a:xfrm>
        </p:grpSpPr>
        <p:sp>
          <p:nvSpPr>
            <p:cNvPr id="318" name="íSḻíḋe">
              <a:extLst>
                <a:ext uri="{FF2B5EF4-FFF2-40B4-BE49-F238E27FC236}">
                  <a16:creationId xmlns:a16="http://schemas.microsoft.com/office/drawing/2014/main" xmlns="" id="{60DCD397-472B-4BD2-8963-E6603E22DA34}"/>
                </a:ext>
              </a:extLst>
            </p:cNvPr>
            <p:cNvSpPr/>
            <p:nvPr userDrawn="1"/>
          </p:nvSpPr>
          <p:spPr bwMode="auto">
            <a:xfrm>
              <a:off x="4598306" y="3778250"/>
              <a:ext cx="1189038" cy="722313"/>
            </a:xfrm>
            <a:custGeom>
              <a:avLst/>
              <a:gdLst>
                <a:gd name="T0" fmla="*/ 119 w 360"/>
                <a:gd name="T1" fmla="*/ 0 h 219"/>
                <a:gd name="T2" fmla="*/ 108 w 360"/>
                <a:gd name="T3" fmla="*/ 2 h 219"/>
                <a:gd name="T4" fmla="*/ 5 w 360"/>
                <a:gd name="T5" fmla="*/ 62 h 219"/>
                <a:gd name="T6" fmla="*/ 0 w 360"/>
                <a:gd name="T7" fmla="*/ 68 h 219"/>
                <a:gd name="T8" fmla="*/ 0 w 360"/>
                <a:gd name="T9" fmla="*/ 79 h 219"/>
                <a:gd name="T10" fmla="*/ 5 w 360"/>
                <a:gd name="T11" fmla="*/ 86 h 219"/>
                <a:gd name="T12" fmla="*/ 232 w 360"/>
                <a:gd name="T13" fmla="*/ 217 h 219"/>
                <a:gd name="T14" fmla="*/ 241 w 360"/>
                <a:gd name="T15" fmla="*/ 219 h 219"/>
                <a:gd name="T16" fmla="*/ 242 w 360"/>
                <a:gd name="T17" fmla="*/ 219 h 219"/>
                <a:gd name="T18" fmla="*/ 252 w 360"/>
                <a:gd name="T19" fmla="*/ 217 h 219"/>
                <a:gd name="T20" fmla="*/ 345 w 360"/>
                <a:gd name="T21" fmla="*/ 163 h 219"/>
                <a:gd name="T22" fmla="*/ 356 w 360"/>
                <a:gd name="T23" fmla="*/ 157 h 219"/>
                <a:gd name="T24" fmla="*/ 360 w 360"/>
                <a:gd name="T25" fmla="*/ 152 h 219"/>
                <a:gd name="T26" fmla="*/ 360 w 360"/>
                <a:gd name="T27" fmla="*/ 150 h 219"/>
                <a:gd name="T28" fmla="*/ 360 w 360"/>
                <a:gd name="T29" fmla="*/ 141 h 219"/>
                <a:gd name="T30" fmla="*/ 360 w 360"/>
                <a:gd name="T31" fmla="*/ 138 h 219"/>
                <a:gd name="T32" fmla="*/ 356 w 360"/>
                <a:gd name="T33" fmla="*/ 133 h 219"/>
                <a:gd name="T34" fmla="*/ 129 w 360"/>
                <a:gd name="T35" fmla="*/ 2 h 219"/>
                <a:gd name="T36" fmla="*/ 119 w 360"/>
                <a:gd name="T3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0" h="219">
                  <a:moveTo>
                    <a:pt x="119" y="0"/>
                  </a:moveTo>
                  <a:cubicBezTo>
                    <a:pt x="113" y="0"/>
                    <a:pt x="108" y="2"/>
                    <a:pt x="108" y="2"/>
                  </a:cubicBezTo>
                  <a:cubicBezTo>
                    <a:pt x="108" y="2"/>
                    <a:pt x="15" y="56"/>
                    <a:pt x="5" y="62"/>
                  </a:cubicBezTo>
                  <a:cubicBezTo>
                    <a:pt x="1" y="64"/>
                    <a:pt x="0" y="66"/>
                    <a:pt x="0" y="6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5" y="86"/>
                    <a:pt x="5" y="86"/>
                  </a:cubicBezTo>
                  <a:cubicBezTo>
                    <a:pt x="5" y="86"/>
                    <a:pt x="221" y="211"/>
                    <a:pt x="232" y="217"/>
                  </a:cubicBezTo>
                  <a:cubicBezTo>
                    <a:pt x="235" y="218"/>
                    <a:pt x="238" y="219"/>
                    <a:pt x="241" y="219"/>
                  </a:cubicBezTo>
                  <a:cubicBezTo>
                    <a:pt x="241" y="219"/>
                    <a:pt x="242" y="219"/>
                    <a:pt x="242" y="219"/>
                  </a:cubicBezTo>
                  <a:cubicBezTo>
                    <a:pt x="248" y="219"/>
                    <a:pt x="252" y="217"/>
                    <a:pt x="252" y="217"/>
                  </a:cubicBezTo>
                  <a:cubicBezTo>
                    <a:pt x="345" y="163"/>
                    <a:pt x="345" y="163"/>
                    <a:pt x="345" y="163"/>
                  </a:cubicBezTo>
                  <a:cubicBezTo>
                    <a:pt x="345" y="163"/>
                    <a:pt x="345" y="163"/>
                    <a:pt x="356" y="157"/>
                  </a:cubicBezTo>
                  <a:cubicBezTo>
                    <a:pt x="358" y="155"/>
                    <a:pt x="360" y="154"/>
                    <a:pt x="360" y="152"/>
                  </a:cubicBezTo>
                  <a:cubicBezTo>
                    <a:pt x="360" y="152"/>
                    <a:pt x="360" y="151"/>
                    <a:pt x="360" y="150"/>
                  </a:cubicBezTo>
                  <a:cubicBezTo>
                    <a:pt x="360" y="141"/>
                    <a:pt x="360" y="141"/>
                    <a:pt x="360" y="141"/>
                  </a:cubicBezTo>
                  <a:cubicBezTo>
                    <a:pt x="360" y="140"/>
                    <a:pt x="360" y="139"/>
                    <a:pt x="360" y="138"/>
                  </a:cubicBezTo>
                  <a:cubicBezTo>
                    <a:pt x="359" y="135"/>
                    <a:pt x="356" y="133"/>
                    <a:pt x="356" y="133"/>
                  </a:cubicBezTo>
                  <a:cubicBezTo>
                    <a:pt x="356" y="133"/>
                    <a:pt x="139" y="8"/>
                    <a:pt x="129" y="2"/>
                  </a:cubicBezTo>
                  <a:cubicBezTo>
                    <a:pt x="125" y="0"/>
                    <a:pt x="122" y="0"/>
                    <a:pt x="119" y="0"/>
                  </a:cubicBezTo>
                </a:path>
              </a:pathLst>
            </a:custGeom>
            <a:solidFill>
              <a:srgbClr val="1A7CE8">
                <a:alpha val="54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19" name="ïṣḻíďé">
              <a:extLst>
                <a:ext uri="{FF2B5EF4-FFF2-40B4-BE49-F238E27FC236}">
                  <a16:creationId xmlns:a16="http://schemas.microsoft.com/office/drawing/2014/main" xmlns="" id="{0D5D2C9A-E4D8-4CE9-9E83-F622F58C0AD3}"/>
                </a:ext>
              </a:extLst>
            </p:cNvPr>
            <p:cNvSpPr/>
            <p:nvPr userDrawn="1"/>
          </p:nvSpPr>
          <p:spPr bwMode="auto">
            <a:xfrm>
              <a:off x="4671331" y="3805238"/>
              <a:ext cx="1187450" cy="695325"/>
            </a:xfrm>
            <a:custGeom>
              <a:avLst/>
              <a:gdLst>
                <a:gd name="T0" fmla="*/ 360 w 360"/>
                <a:gd name="T1" fmla="*/ 144 h 211"/>
                <a:gd name="T2" fmla="*/ 360 w 360"/>
                <a:gd name="T3" fmla="*/ 142 h 211"/>
                <a:gd name="T4" fmla="*/ 360 w 360"/>
                <a:gd name="T5" fmla="*/ 130 h 211"/>
                <a:gd name="T6" fmla="*/ 336 w 360"/>
                <a:gd name="T7" fmla="*/ 126 h 211"/>
                <a:gd name="T8" fmla="*/ 129 w 360"/>
                <a:gd name="T9" fmla="*/ 6 h 211"/>
                <a:gd name="T10" fmla="*/ 108 w 360"/>
                <a:gd name="T11" fmla="*/ 6 h 211"/>
                <a:gd name="T12" fmla="*/ 12 w 360"/>
                <a:gd name="T13" fmla="*/ 61 h 211"/>
                <a:gd name="T14" fmla="*/ 1 w 360"/>
                <a:gd name="T15" fmla="*/ 59 h 211"/>
                <a:gd name="T16" fmla="*/ 1 w 360"/>
                <a:gd name="T17" fmla="*/ 71 h 211"/>
                <a:gd name="T18" fmla="*/ 5 w 360"/>
                <a:gd name="T19" fmla="*/ 78 h 211"/>
                <a:gd name="T20" fmla="*/ 232 w 360"/>
                <a:gd name="T21" fmla="*/ 209 h 211"/>
                <a:gd name="T22" fmla="*/ 241 w 360"/>
                <a:gd name="T23" fmla="*/ 211 h 211"/>
                <a:gd name="T24" fmla="*/ 241 w 360"/>
                <a:gd name="T25" fmla="*/ 211 h 211"/>
                <a:gd name="T26" fmla="*/ 253 w 360"/>
                <a:gd name="T27" fmla="*/ 209 h 211"/>
                <a:gd name="T28" fmla="*/ 345 w 360"/>
                <a:gd name="T29" fmla="*/ 155 h 211"/>
                <a:gd name="T30" fmla="*/ 356 w 360"/>
                <a:gd name="T31" fmla="*/ 149 h 211"/>
                <a:gd name="T32" fmla="*/ 360 w 360"/>
                <a:gd name="T33" fmla="*/ 14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0" h="211">
                  <a:moveTo>
                    <a:pt x="360" y="144"/>
                  </a:moveTo>
                  <a:cubicBezTo>
                    <a:pt x="360" y="144"/>
                    <a:pt x="360" y="143"/>
                    <a:pt x="360" y="142"/>
                  </a:cubicBezTo>
                  <a:cubicBezTo>
                    <a:pt x="360" y="130"/>
                    <a:pt x="360" y="130"/>
                    <a:pt x="360" y="130"/>
                  </a:cubicBezTo>
                  <a:cubicBezTo>
                    <a:pt x="336" y="126"/>
                    <a:pt x="336" y="126"/>
                    <a:pt x="336" y="126"/>
                  </a:cubicBezTo>
                  <a:cubicBezTo>
                    <a:pt x="282" y="94"/>
                    <a:pt x="137" y="11"/>
                    <a:pt x="129" y="6"/>
                  </a:cubicBezTo>
                  <a:cubicBezTo>
                    <a:pt x="119" y="0"/>
                    <a:pt x="108" y="6"/>
                    <a:pt x="108" y="6"/>
                  </a:cubicBezTo>
                  <a:cubicBezTo>
                    <a:pt x="108" y="6"/>
                    <a:pt x="37" y="47"/>
                    <a:pt x="12" y="61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75"/>
                    <a:pt x="5" y="78"/>
                    <a:pt x="5" y="78"/>
                  </a:cubicBezTo>
                  <a:cubicBezTo>
                    <a:pt x="5" y="78"/>
                    <a:pt x="222" y="203"/>
                    <a:pt x="232" y="209"/>
                  </a:cubicBezTo>
                  <a:cubicBezTo>
                    <a:pt x="235" y="210"/>
                    <a:pt x="239" y="211"/>
                    <a:pt x="241" y="211"/>
                  </a:cubicBezTo>
                  <a:cubicBezTo>
                    <a:pt x="241" y="211"/>
                    <a:pt x="241" y="211"/>
                    <a:pt x="241" y="211"/>
                  </a:cubicBezTo>
                  <a:cubicBezTo>
                    <a:pt x="248" y="211"/>
                    <a:pt x="253" y="209"/>
                    <a:pt x="253" y="209"/>
                  </a:cubicBezTo>
                  <a:cubicBezTo>
                    <a:pt x="345" y="155"/>
                    <a:pt x="345" y="155"/>
                    <a:pt x="345" y="155"/>
                  </a:cubicBezTo>
                  <a:cubicBezTo>
                    <a:pt x="345" y="155"/>
                    <a:pt x="345" y="155"/>
                    <a:pt x="356" y="149"/>
                  </a:cubicBezTo>
                  <a:cubicBezTo>
                    <a:pt x="359" y="147"/>
                    <a:pt x="360" y="146"/>
                    <a:pt x="360" y="14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0" name="ïS1ïḑé">
              <a:extLst>
                <a:ext uri="{FF2B5EF4-FFF2-40B4-BE49-F238E27FC236}">
                  <a16:creationId xmlns:a16="http://schemas.microsoft.com/office/drawing/2014/main" xmlns="" id="{3D5A6738-A06F-4AFE-A80E-852092DC969B}"/>
                </a:ext>
              </a:extLst>
            </p:cNvPr>
            <p:cNvSpPr/>
            <p:nvPr userDrawn="1"/>
          </p:nvSpPr>
          <p:spPr bwMode="auto">
            <a:xfrm>
              <a:off x="4655456" y="3765550"/>
              <a:ext cx="1223963" cy="708025"/>
            </a:xfrm>
            <a:custGeom>
              <a:avLst/>
              <a:gdLst>
                <a:gd name="T0" fmla="*/ 350 w 371"/>
                <a:gd name="T1" fmla="*/ 155 h 215"/>
                <a:gd name="T2" fmla="*/ 258 w 371"/>
                <a:gd name="T3" fmla="*/ 209 h 215"/>
                <a:gd name="T4" fmla="*/ 237 w 371"/>
                <a:gd name="T5" fmla="*/ 209 h 215"/>
                <a:gd name="T6" fmla="*/ 10 w 371"/>
                <a:gd name="T7" fmla="*/ 78 h 215"/>
                <a:gd name="T8" fmla="*/ 10 w 371"/>
                <a:gd name="T9" fmla="*/ 66 h 215"/>
                <a:gd name="T10" fmla="*/ 113 w 371"/>
                <a:gd name="T11" fmla="*/ 6 h 215"/>
                <a:gd name="T12" fmla="*/ 134 w 371"/>
                <a:gd name="T13" fmla="*/ 6 h 215"/>
                <a:gd name="T14" fmla="*/ 361 w 371"/>
                <a:gd name="T15" fmla="*/ 137 h 215"/>
                <a:gd name="T16" fmla="*/ 361 w 371"/>
                <a:gd name="T17" fmla="*/ 149 h 215"/>
                <a:gd name="T18" fmla="*/ 350 w 371"/>
                <a:gd name="T19" fmla="*/ 15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1" h="215">
                  <a:moveTo>
                    <a:pt x="350" y="155"/>
                  </a:moveTo>
                  <a:cubicBezTo>
                    <a:pt x="258" y="209"/>
                    <a:pt x="258" y="209"/>
                    <a:pt x="258" y="209"/>
                  </a:cubicBezTo>
                  <a:cubicBezTo>
                    <a:pt x="258" y="209"/>
                    <a:pt x="247" y="215"/>
                    <a:pt x="237" y="209"/>
                  </a:cubicBezTo>
                  <a:cubicBezTo>
                    <a:pt x="227" y="203"/>
                    <a:pt x="10" y="78"/>
                    <a:pt x="10" y="78"/>
                  </a:cubicBezTo>
                  <a:cubicBezTo>
                    <a:pt x="10" y="78"/>
                    <a:pt x="0" y="72"/>
                    <a:pt x="10" y="66"/>
                  </a:cubicBezTo>
                  <a:cubicBezTo>
                    <a:pt x="20" y="60"/>
                    <a:pt x="113" y="6"/>
                    <a:pt x="113" y="6"/>
                  </a:cubicBezTo>
                  <a:cubicBezTo>
                    <a:pt x="113" y="6"/>
                    <a:pt x="124" y="0"/>
                    <a:pt x="134" y="6"/>
                  </a:cubicBezTo>
                  <a:cubicBezTo>
                    <a:pt x="144" y="12"/>
                    <a:pt x="361" y="137"/>
                    <a:pt x="361" y="137"/>
                  </a:cubicBezTo>
                  <a:cubicBezTo>
                    <a:pt x="361" y="137"/>
                    <a:pt x="371" y="143"/>
                    <a:pt x="361" y="149"/>
                  </a:cubicBezTo>
                  <a:cubicBezTo>
                    <a:pt x="350" y="155"/>
                    <a:pt x="350" y="155"/>
                    <a:pt x="350" y="155"/>
                  </a:cubicBez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1" name="ïśļîḑè">
              <a:extLst>
                <a:ext uri="{FF2B5EF4-FFF2-40B4-BE49-F238E27FC236}">
                  <a16:creationId xmlns:a16="http://schemas.microsoft.com/office/drawing/2014/main" xmlns="" id="{293E71D2-E4B8-476D-A817-D1E55D7A434B}"/>
                </a:ext>
              </a:extLst>
            </p:cNvPr>
            <p:cNvSpPr/>
            <p:nvPr userDrawn="1"/>
          </p:nvSpPr>
          <p:spPr bwMode="auto">
            <a:xfrm>
              <a:off x="4757056" y="3824288"/>
              <a:ext cx="950913" cy="550863"/>
            </a:xfrm>
            <a:custGeom>
              <a:avLst/>
              <a:gdLst>
                <a:gd name="T0" fmla="*/ 599 w 599"/>
                <a:gd name="T1" fmla="*/ 222 h 347"/>
                <a:gd name="T2" fmla="*/ 214 w 599"/>
                <a:gd name="T3" fmla="*/ 0 h 347"/>
                <a:gd name="T4" fmla="*/ 0 w 599"/>
                <a:gd name="T5" fmla="*/ 125 h 347"/>
                <a:gd name="T6" fmla="*/ 385 w 599"/>
                <a:gd name="T7" fmla="*/ 347 h 347"/>
                <a:gd name="T8" fmla="*/ 599 w 599"/>
                <a:gd name="T9" fmla="*/ 22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9" h="347">
                  <a:moveTo>
                    <a:pt x="599" y="222"/>
                  </a:moveTo>
                  <a:lnTo>
                    <a:pt x="214" y="0"/>
                  </a:lnTo>
                  <a:lnTo>
                    <a:pt x="0" y="125"/>
                  </a:lnTo>
                  <a:lnTo>
                    <a:pt x="385" y="347"/>
                  </a:lnTo>
                  <a:lnTo>
                    <a:pt x="599" y="222"/>
                  </a:ln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2" name="îṡḷîďe">
              <a:extLst>
                <a:ext uri="{FF2B5EF4-FFF2-40B4-BE49-F238E27FC236}">
                  <a16:creationId xmlns:a16="http://schemas.microsoft.com/office/drawing/2014/main" xmlns="" id="{6B04F653-3E61-44A2-BB7E-96703CC7F694}"/>
                </a:ext>
              </a:extLst>
            </p:cNvPr>
            <p:cNvSpPr/>
            <p:nvPr userDrawn="1"/>
          </p:nvSpPr>
          <p:spPr bwMode="auto">
            <a:xfrm>
              <a:off x="5488893" y="4237038"/>
              <a:ext cx="222250" cy="128588"/>
            </a:xfrm>
            <a:custGeom>
              <a:avLst/>
              <a:gdLst>
                <a:gd name="T0" fmla="*/ 65 w 67"/>
                <a:gd name="T1" fmla="*/ 2 h 39"/>
                <a:gd name="T2" fmla="*/ 63 w 67"/>
                <a:gd name="T3" fmla="*/ 1 h 39"/>
                <a:gd name="T4" fmla="*/ 55 w 67"/>
                <a:gd name="T5" fmla="*/ 1 h 39"/>
                <a:gd name="T6" fmla="*/ 2 w 67"/>
                <a:gd name="T7" fmla="*/ 32 h 39"/>
                <a:gd name="T8" fmla="*/ 2 w 67"/>
                <a:gd name="T9" fmla="*/ 37 h 39"/>
                <a:gd name="T10" fmla="*/ 3 w 67"/>
                <a:gd name="T11" fmla="*/ 37 h 39"/>
                <a:gd name="T12" fmla="*/ 12 w 67"/>
                <a:gd name="T13" fmla="*/ 37 h 39"/>
                <a:gd name="T14" fmla="*/ 65 w 67"/>
                <a:gd name="T15" fmla="*/ 7 h 39"/>
                <a:gd name="T16" fmla="*/ 65 w 67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39">
                  <a:moveTo>
                    <a:pt x="65" y="2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1" y="0"/>
                    <a:pt x="58" y="0"/>
                    <a:pt x="55" y="1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0" y="33"/>
                    <a:pt x="0" y="36"/>
                    <a:pt x="2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6" y="39"/>
                    <a:pt x="9" y="39"/>
                    <a:pt x="12" y="3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7" y="6"/>
                    <a:pt x="67" y="3"/>
                    <a:pt x="65" y="2"/>
                  </a:cubicBez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3" name="iṣlidê">
              <a:extLst>
                <a:ext uri="{FF2B5EF4-FFF2-40B4-BE49-F238E27FC236}">
                  <a16:creationId xmlns:a16="http://schemas.microsoft.com/office/drawing/2014/main" xmlns="" id="{C6214681-7B5F-4711-9A0F-714315BFB72B}"/>
                </a:ext>
              </a:extLst>
            </p:cNvPr>
            <p:cNvSpPr/>
            <p:nvPr userDrawn="1"/>
          </p:nvSpPr>
          <p:spPr bwMode="auto">
            <a:xfrm>
              <a:off x="4876118" y="3894138"/>
              <a:ext cx="33338" cy="12700"/>
            </a:xfrm>
            <a:prstGeom prst="ellipse">
              <a:avLst/>
            </a:pr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6" name="îšḻiḓe">
              <a:extLst>
                <a:ext uri="{FF2B5EF4-FFF2-40B4-BE49-F238E27FC236}">
                  <a16:creationId xmlns:a16="http://schemas.microsoft.com/office/drawing/2014/main" xmlns="" id="{6E895262-59FE-4DED-A1FF-FE684EA8C511}"/>
                </a:ext>
              </a:extLst>
            </p:cNvPr>
            <p:cNvSpPr/>
            <p:nvPr userDrawn="1"/>
          </p:nvSpPr>
          <p:spPr bwMode="auto">
            <a:xfrm>
              <a:off x="3506106" y="4629150"/>
              <a:ext cx="809625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2 w 245"/>
                <a:gd name="T7" fmla="*/ 0 h 79"/>
                <a:gd name="T8" fmla="*/ 2 w 24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7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7" name="ïšľîḑê">
              <a:extLst>
                <a:ext uri="{FF2B5EF4-FFF2-40B4-BE49-F238E27FC236}">
                  <a16:creationId xmlns:a16="http://schemas.microsoft.com/office/drawing/2014/main" xmlns="" id="{0D0C9451-5166-4FE4-B6D9-70809E03BA22}"/>
                </a:ext>
              </a:extLst>
            </p:cNvPr>
            <p:cNvSpPr/>
            <p:nvPr userDrawn="1"/>
          </p:nvSpPr>
          <p:spPr bwMode="auto">
            <a:xfrm>
              <a:off x="3512456" y="4414838"/>
              <a:ext cx="803275" cy="431800"/>
            </a:xfrm>
            <a:custGeom>
              <a:avLst/>
              <a:gdLst>
                <a:gd name="T0" fmla="*/ 506 w 506"/>
                <a:gd name="T1" fmla="*/ 154 h 272"/>
                <a:gd name="T2" fmla="*/ 235 w 506"/>
                <a:gd name="T3" fmla="*/ 0 h 272"/>
                <a:gd name="T4" fmla="*/ 0 w 506"/>
                <a:gd name="T5" fmla="*/ 135 h 272"/>
                <a:gd name="T6" fmla="*/ 237 w 506"/>
                <a:gd name="T7" fmla="*/ 272 h 272"/>
                <a:gd name="T8" fmla="*/ 302 w 506"/>
                <a:gd name="T9" fmla="*/ 270 h 272"/>
                <a:gd name="T10" fmla="*/ 506 w 506"/>
                <a:gd name="T11" fmla="*/ 15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6" h="272">
                  <a:moveTo>
                    <a:pt x="506" y="154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2" y="270"/>
                  </a:lnTo>
                  <a:lnTo>
                    <a:pt x="506" y="154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8" name="isḷïḋè">
              <a:extLst>
                <a:ext uri="{FF2B5EF4-FFF2-40B4-BE49-F238E27FC236}">
                  <a16:creationId xmlns:a16="http://schemas.microsoft.com/office/drawing/2014/main" xmlns="" id="{3F17356B-A90E-4D9B-B1ED-BEF032041B68}"/>
                </a:ext>
              </a:extLst>
            </p:cNvPr>
            <p:cNvSpPr/>
            <p:nvPr userDrawn="1"/>
          </p:nvSpPr>
          <p:spPr bwMode="auto">
            <a:xfrm>
              <a:off x="3888693" y="4783138"/>
              <a:ext cx="103188" cy="63500"/>
            </a:xfrm>
            <a:custGeom>
              <a:avLst/>
              <a:gdLst>
                <a:gd name="T0" fmla="*/ 32 w 65"/>
                <a:gd name="T1" fmla="*/ 0 h 40"/>
                <a:gd name="T2" fmla="*/ 65 w 65"/>
                <a:gd name="T3" fmla="*/ 38 h 40"/>
                <a:gd name="T4" fmla="*/ 0 w 65"/>
                <a:gd name="T5" fmla="*/ 40 h 40"/>
                <a:gd name="T6" fmla="*/ 32 w 65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40">
                  <a:moveTo>
                    <a:pt x="32" y="0"/>
                  </a:moveTo>
                  <a:lnTo>
                    <a:pt x="65" y="38"/>
                  </a:lnTo>
                  <a:lnTo>
                    <a:pt x="0" y="4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5" name="išlîďé">
              <a:extLst>
                <a:ext uri="{FF2B5EF4-FFF2-40B4-BE49-F238E27FC236}">
                  <a16:creationId xmlns:a16="http://schemas.microsoft.com/office/drawing/2014/main" xmlns="" id="{6BA7BF3C-23E5-414D-B9BB-EBD90FE4A799}"/>
                </a:ext>
              </a:extLst>
            </p:cNvPr>
            <p:cNvSpPr/>
            <p:nvPr userDrawn="1"/>
          </p:nvSpPr>
          <p:spPr bwMode="auto">
            <a:xfrm>
              <a:off x="2213881" y="4210050"/>
              <a:ext cx="841375" cy="504825"/>
            </a:xfrm>
            <a:custGeom>
              <a:avLst/>
              <a:gdLst>
                <a:gd name="T0" fmla="*/ 0 w 255"/>
                <a:gd name="T1" fmla="*/ 1 h 153"/>
                <a:gd name="T2" fmla="*/ 0 w 255"/>
                <a:gd name="T3" fmla="*/ 0 h 153"/>
                <a:gd name="T4" fmla="*/ 2 w 255"/>
                <a:gd name="T5" fmla="*/ 0 h 153"/>
                <a:gd name="T6" fmla="*/ 4 w 255"/>
                <a:gd name="T7" fmla="*/ 1 h 153"/>
                <a:gd name="T8" fmla="*/ 7 w 255"/>
                <a:gd name="T9" fmla="*/ 2 h 153"/>
                <a:gd name="T10" fmla="*/ 11 w 255"/>
                <a:gd name="T11" fmla="*/ 4 h 153"/>
                <a:gd name="T12" fmla="*/ 13 w 255"/>
                <a:gd name="T13" fmla="*/ 4 h 153"/>
                <a:gd name="T14" fmla="*/ 15 w 255"/>
                <a:gd name="T15" fmla="*/ 5 h 153"/>
                <a:gd name="T16" fmla="*/ 35 w 255"/>
                <a:gd name="T17" fmla="*/ 12 h 153"/>
                <a:gd name="T18" fmla="*/ 35 w 255"/>
                <a:gd name="T19" fmla="*/ 12 h 153"/>
                <a:gd name="T20" fmla="*/ 35 w 255"/>
                <a:gd name="T21" fmla="*/ 12 h 153"/>
                <a:gd name="T22" fmla="*/ 35 w 255"/>
                <a:gd name="T23" fmla="*/ 12 h 153"/>
                <a:gd name="T24" fmla="*/ 35 w 255"/>
                <a:gd name="T25" fmla="*/ 12 h 153"/>
                <a:gd name="T26" fmla="*/ 251 w 255"/>
                <a:gd name="T27" fmla="*/ 137 h 153"/>
                <a:gd name="T28" fmla="*/ 255 w 255"/>
                <a:gd name="T29" fmla="*/ 142 h 153"/>
                <a:gd name="T30" fmla="*/ 251 w 255"/>
                <a:gd name="T31" fmla="*/ 149 h 153"/>
                <a:gd name="T32" fmla="*/ 245 w 255"/>
                <a:gd name="T33" fmla="*/ 153 h 153"/>
                <a:gd name="T34" fmla="*/ 29 w 255"/>
                <a:gd name="T35" fmla="*/ 27 h 153"/>
                <a:gd name="T36" fmla="*/ 29 w 255"/>
                <a:gd name="T37" fmla="*/ 27 h 153"/>
                <a:gd name="T38" fmla="*/ 11 w 255"/>
                <a:gd name="T39" fmla="*/ 10 h 153"/>
                <a:gd name="T40" fmla="*/ 0 w 255"/>
                <a:gd name="T41" fmla="*/ 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5" h="153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3" y="1"/>
                    <a:pt x="4" y="1"/>
                  </a:cubicBezTo>
                  <a:cubicBezTo>
                    <a:pt x="5" y="1"/>
                    <a:pt x="6" y="2"/>
                    <a:pt x="7" y="2"/>
                  </a:cubicBezTo>
                  <a:cubicBezTo>
                    <a:pt x="9" y="3"/>
                    <a:pt x="10" y="3"/>
                    <a:pt x="11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6" y="5"/>
                    <a:pt x="33" y="11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251" y="137"/>
                    <a:pt x="251" y="137"/>
                    <a:pt x="251" y="137"/>
                  </a:cubicBezTo>
                  <a:cubicBezTo>
                    <a:pt x="255" y="142"/>
                    <a:pt x="255" y="142"/>
                    <a:pt x="255" y="142"/>
                  </a:cubicBezTo>
                  <a:cubicBezTo>
                    <a:pt x="251" y="149"/>
                    <a:pt x="251" y="149"/>
                    <a:pt x="251" y="149"/>
                  </a:cubicBezTo>
                  <a:cubicBezTo>
                    <a:pt x="245" y="153"/>
                    <a:pt x="245" y="153"/>
                    <a:pt x="245" y="153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3" y="22"/>
                    <a:pt x="17" y="15"/>
                    <a:pt x="11" y="10"/>
                  </a:cubicBezTo>
                  <a:cubicBezTo>
                    <a:pt x="7" y="7"/>
                    <a:pt x="3" y="4"/>
                    <a:pt x="0" y="1"/>
                  </a:cubicBezTo>
                  <a:close/>
                </a:path>
              </a:pathLst>
            </a:custGeom>
            <a:solidFill>
              <a:srgbClr val="647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6" name="ïšḷïḋé">
              <a:extLst>
                <a:ext uri="{FF2B5EF4-FFF2-40B4-BE49-F238E27FC236}">
                  <a16:creationId xmlns:a16="http://schemas.microsoft.com/office/drawing/2014/main" xmlns="" id="{4DCD184B-57BA-4B2F-80A1-EAA381897F05}"/>
                </a:ext>
              </a:extLst>
            </p:cNvPr>
            <p:cNvSpPr/>
            <p:nvPr userDrawn="1"/>
          </p:nvSpPr>
          <p:spPr bwMode="auto">
            <a:xfrm>
              <a:off x="2223406" y="4197350"/>
              <a:ext cx="52388" cy="33338"/>
            </a:xfrm>
            <a:custGeom>
              <a:avLst/>
              <a:gdLst>
                <a:gd name="T0" fmla="*/ 1 w 16"/>
                <a:gd name="T1" fmla="*/ 0 h 10"/>
                <a:gd name="T2" fmla="*/ 2 w 16"/>
                <a:gd name="T3" fmla="*/ 1 h 10"/>
                <a:gd name="T4" fmla="*/ 4 w 16"/>
                <a:gd name="T5" fmla="*/ 1 h 10"/>
                <a:gd name="T6" fmla="*/ 8 w 16"/>
                <a:gd name="T7" fmla="*/ 3 h 10"/>
                <a:gd name="T8" fmla="*/ 12 w 16"/>
                <a:gd name="T9" fmla="*/ 4 h 10"/>
                <a:gd name="T10" fmla="*/ 14 w 16"/>
                <a:gd name="T11" fmla="*/ 5 h 10"/>
                <a:gd name="T12" fmla="*/ 16 w 16"/>
                <a:gd name="T13" fmla="*/ 5 h 10"/>
                <a:gd name="T14" fmla="*/ 11 w 16"/>
                <a:gd name="T15" fmla="*/ 10 h 10"/>
                <a:gd name="T16" fmla="*/ 0 w 16"/>
                <a:gd name="T17" fmla="*/ 1 h 10"/>
                <a:gd name="T18" fmla="*/ 1 w 16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0"/>
                  </a:moveTo>
                  <a:cubicBezTo>
                    <a:pt x="1" y="0"/>
                    <a:pt x="2" y="0"/>
                    <a:pt x="2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2"/>
                    <a:pt x="7" y="2"/>
                    <a:pt x="8" y="3"/>
                  </a:cubicBezTo>
                  <a:cubicBezTo>
                    <a:pt x="9" y="3"/>
                    <a:pt x="11" y="3"/>
                    <a:pt x="12" y="4"/>
                  </a:cubicBezTo>
                  <a:cubicBezTo>
                    <a:pt x="13" y="4"/>
                    <a:pt x="13" y="4"/>
                    <a:pt x="14" y="5"/>
                  </a:cubicBezTo>
                  <a:cubicBezTo>
                    <a:pt x="15" y="5"/>
                    <a:pt x="15" y="5"/>
                    <a:pt x="16" y="5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7"/>
                    <a:pt x="4" y="4"/>
                    <a:pt x="0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342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7" name="í$lîḍê">
              <a:extLst>
                <a:ext uri="{FF2B5EF4-FFF2-40B4-BE49-F238E27FC236}">
                  <a16:creationId xmlns:a16="http://schemas.microsoft.com/office/drawing/2014/main" xmlns="" id="{EB501BFA-8B9C-49D9-9911-2205D24123CE}"/>
                </a:ext>
              </a:extLst>
            </p:cNvPr>
            <p:cNvSpPr/>
            <p:nvPr userDrawn="1"/>
          </p:nvSpPr>
          <p:spPr bwMode="auto">
            <a:xfrm>
              <a:off x="2259918" y="4213225"/>
              <a:ext cx="82550" cy="76200"/>
            </a:xfrm>
            <a:custGeom>
              <a:avLst/>
              <a:gdLst>
                <a:gd name="T0" fmla="*/ 5 w 25"/>
                <a:gd name="T1" fmla="*/ 0 h 23"/>
                <a:gd name="T2" fmla="*/ 25 w 25"/>
                <a:gd name="T3" fmla="*/ 7 h 23"/>
                <a:gd name="T4" fmla="*/ 23 w 25"/>
                <a:gd name="T5" fmla="*/ 9 h 23"/>
                <a:gd name="T6" fmla="*/ 17 w 25"/>
                <a:gd name="T7" fmla="*/ 17 h 23"/>
                <a:gd name="T8" fmla="*/ 19 w 25"/>
                <a:gd name="T9" fmla="*/ 23 h 23"/>
                <a:gd name="T10" fmla="*/ 0 w 25"/>
                <a:gd name="T11" fmla="*/ 5 h 23"/>
                <a:gd name="T12" fmla="*/ 5 w 25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3">
                  <a:moveTo>
                    <a:pt x="5" y="0"/>
                  </a:moveTo>
                  <a:cubicBezTo>
                    <a:pt x="6" y="1"/>
                    <a:pt x="24" y="7"/>
                    <a:pt x="25" y="7"/>
                  </a:cubicBezTo>
                  <a:cubicBezTo>
                    <a:pt x="24" y="8"/>
                    <a:pt x="24" y="8"/>
                    <a:pt x="23" y="9"/>
                  </a:cubicBezTo>
                  <a:cubicBezTo>
                    <a:pt x="20" y="10"/>
                    <a:pt x="17" y="14"/>
                    <a:pt x="17" y="17"/>
                  </a:cubicBezTo>
                  <a:cubicBezTo>
                    <a:pt x="17" y="19"/>
                    <a:pt x="18" y="22"/>
                    <a:pt x="19" y="23"/>
                  </a:cubicBezTo>
                  <a:cubicBezTo>
                    <a:pt x="13" y="17"/>
                    <a:pt x="6" y="10"/>
                    <a:pt x="0" y="5"/>
                  </a:cubicBezTo>
                  <a:cubicBezTo>
                    <a:pt x="0" y="4"/>
                    <a:pt x="4" y="0"/>
                    <a:pt x="5" y="0"/>
                  </a:cubicBezTo>
                  <a:close/>
                </a:path>
              </a:pathLst>
            </a:custGeom>
            <a:solidFill>
              <a:srgbClr val="FFE2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8" name="işļîdé">
              <a:extLst>
                <a:ext uri="{FF2B5EF4-FFF2-40B4-BE49-F238E27FC236}">
                  <a16:creationId xmlns:a16="http://schemas.microsoft.com/office/drawing/2014/main" xmlns="" id="{843A22CF-9570-4BEB-82C4-1083CCAB74EC}"/>
                </a:ext>
              </a:extLst>
            </p:cNvPr>
            <p:cNvSpPr/>
            <p:nvPr userDrawn="1"/>
          </p:nvSpPr>
          <p:spPr bwMode="auto">
            <a:xfrm>
              <a:off x="2315481" y="4237038"/>
              <a:ext cx="36513" cy="49213"/>
            </a:xfrm>
            <a:custGeom>
              <a:avLst/>
              <a:gdLst>
                <a:gd name="T0" fmla="*/ 0 w 11"/>
                <a:gd name="T1" fmla="*/ 10 h 15"/>
                <a:gd name="T2" fmla="*/ 5 w 11"/>
                <a:gd name="T3" fmla="*/ 14 h 15"/>
                <a:gd name="T4" fmla="*/ 11 w 11"/>
                <a:gd name="T5" fmla="*/ 4 h 15"/>
                <a:gd name="T6" fmla="*/ 6 w 11"/>
                <a:gd name="T7" fmla="*/ 1 h 15"/>
                <a:gd name="T8" fmla="*/ 0 w 11"/>
                <a:gd name="T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0" y="10"/>
                  </a:moveTo>
                  <a:cubicBezTo>
                    <a:pt x="0" y="14"/>
                    <a:pt x="2" y="15"/>
                    <a:pt x="5" y="14"/>
                  </a:cubicBezTo>
                  <a:cubicBezTo>
                    <a:pt x="8" y="12"/>
                    <a:pt x="11" y="8"/>
                    <a:pt x="11" y="4"/>
                  </a:cubicBezTo>
                  <a:cubicBezTo>
                    <a:pt x="11" y="1"/>
                    <a:pt x="9" y="0"/>
                    <a:pt x="6" y="1"/>
                  </a:cubicBezTo>
                  <a:cubicBezTo>
                    <a:pt x="3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9" name="îşḷïďe">
              <a:extLst>
                <a:ext uri="{FF2B5EF4-FFF2-40B4-BE49-F238E27FC236}">
                  <a16:creationId xmlns:a16="http://schemas.microsoft.com/office/drawing/2014/main" xmlns="" id="{BB2FA161-E3A8-4734-87FB-C34970CF4AFB}"/>
                </a:ext>
              </a:extLst>
            </p:cNvPr>
            <p:cNvSpPr/>
            <p:nvPr userDrawn="1"/>
          </p:nvSpPr>
          <p:spPr bwMode="auto">
            <a:xfrm>
              <a:off x="2312306" y="4273550"/>
              <a:ext cx="722313" cy="428625"/>
            </a:xfrm>
            <a:custGeom>
              <a:avLst/>
              <a:gdLst>
                <a:gd name="T0" fmla="*/ 449 w 455"/>
                <a:gd name="T1" fmla="*/ 261 h 270"/>
                <a:gd name="T2" fmla="*/ 0 w 455"/>
                <a:gd name="T3" fmla="*/ 0 h 270"/>
                <a:gd name="T4" fmla="*/ 6 w 455"/>
                <a:gd name="T5" fmla="*/ 10 h 270"/>
                <a:gd name="T6" fmla="*/ 455 w 455"/>
                <a:gd name="T7" fmla="*/ 270 h 270"/>
                <a:gd name="T8" fmla="*/ 449 w 455"/>
                <a:gd name="T9" fmla="*/ 261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0">
                  <a:moveTo>
                    <a:pt x="449" y="261"/>
                  </a:moveTo>
                  <a:lnTo>
                    <a:pt x="0" y="0"/>
                  </a:lnTo>
                  <a:lnTo>
                    <a:pt x="6" y="10"/>
                  </a:lnTo>
                  <a:lnTo>
                    <a:pt x="455" y="270"/>
                  </a:lnTo>
                  <a:lnTo>
                    <a:pt x="449" y="261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0" name="ísḻíḓe">
              <a:extLst>
                <a:ext uri="{FF2B5EF4-FFF2-40B4-BE49-F238E27FC236}">
                  <a16:creationId xmlns:a16="http://schemas.microsoft.com/office/drawing/2014/main" xmlns="" id="{F76D6F22-B896-4C38-888A-53746C271074}"/>
                </a:ext>
              </a:extLst>
            </p:cNvPr>
            <p:cNvSpPr/>
            <p:nvPr userDrawn="1"/>
          </p:nvSpPr>
          <p:spPr bwMode="auto">
            <a:xfrm>
              <a:off x="2312306" y="4246563"/>
              <a:ext cx="722313" cy="441325"/>
            </a:xfrm>
            <a:custGeom>
              <a:avLst/>
              <a:gdLst>
                <a:gd name="T0" fmla="*/ 455 w 455"/>
                <a:gd name="T1" fmla="*/ 262 h 278"/>
                <a:gd name="T2" fmla="*/ 6 w 455"/>
                <a:gd name="T3" fmla="*/ 0 h 278"/>
                <a:gd name="T4" fmla="*/ 0 w 455"/>
                <a:gd name="T5" fmla="*/ 17 h 278"/>
                <a:gd name="T6" fmla="*/ 449 w 455"/>
                <a:gd name="T7" fmla="*/ 278 h 278"/>
                <a:gd name="T8" fmla="*/ 455 w 455"/>
                <a:gd name="T9" fmla="*/ 26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8">
                  <a:moveTo>
                    <a:pt x="455" y="262"/>
                  </a:moveTo>
                  <a:lnTo>
                    <a:pt x="6" y="0"/>
                  </a:lnTo>
                  <a:lnTo>
                    <a:pt x="0" y="17"/>
                  </a:lnTo>
                  <a:lnTo>
                    <a:pt x="449" y="278"/>
                  </a:lnTo>
                  <a:lnTo>
                    <a:pt x="455" y="262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1" name="íṩľiḓé">
              <a:extLst>
                <a:ext uri="{FF2B5EF4-FFF2-40B4-BE49-F238E27FC236}">
                  <a16:creationId xmlns:a16="http://schemas.microsoft.com/office/drawing/2014/main" xmlns="" id="{29FD11F4-454F-478B-BB67-F5007D825FD2}"/>
                </a:ext>
              </a:extLst>
            </p:cNvPr>
            <p:cNvSpPr/>
            <p:nvPr userDrawn="1"/>
          </p:nvSpPr>
          <p:spPr bwMode="auto">
            <a:xfrm>
              <a:off x="2321831" y="4237038"/>
              <a:ext cx="733425" cy="425450"/>
            </a:xfrm>
            <a:custGeom>
              <a:avLst/>
              <a:gdLst>
                <a:gd name="T0" fmla="*/ 462 w 462"/>
                <a:gd name="T1" fmla="*/ 261 h 268"/>
                <a:gd name="T2" fmla="*/ 13 w 462"/>
                <a:gd name="T3" fmla="*/ 0 h 268"/>
                <a:gd name="T4" fmla="*/ 0 w 462"/>
                <a:gd name="T5" fmla="*/ 6 h 268"/>
                <a:gd name="T6" fmla="*/ 449 w 462"/>
                <a:gd name="T7" fmla="*/ 268 h 268"/>
                <a:gd name="T8" fmla="*/ 462 w 462"/>
                <a:gd name="T9" fmla="*/ 261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2" h="268">
                  <a:moveTo>
                    <a:pt x="462" y="261"/>
                  </a:moveTo>
                  <a:lnTo>
                    <a:pt x="13" y="0"/>
                  </a:lnTo>
                  <a:lnTo>
                    <a:pt x="0" y="6"/>
                  </a:lnTo>
                  <a:lnTo>
                    <a:pt x="449" y="268"/>
                  </a:lnTo>
                  <a:lnTo>
                    <a:pt x="462" y="261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2" name="íş1îdé">
              <a:extLst>
                <a:ext uri="{FF2B5EF4-FFF2-40B4-BE49-F238E27FC236}">
                  <a16:creationId xmlns:a16="http://schemas.microsoft.com/office/drawing/2014/main" xmlns="" id="{34BF4D12-5190-482E-A8BE-CBC518A50519}"/>
                </a:ext>
              </a:extLst>
            </p:cNvPr>
            <p:cNvSpPr/>
            <p:nvPr userDrawn="1"/>
          </p:nvSpPr>
          <p:spPr bwMode="auto">
            <a:xfrm>
              <a:off x="3025093" y="4651375"/>
              <a:ext cx="39688" cy="50800"/>
            </a:xfrm>
            <a:custGeom>
              <a:avLst/>
              <a:gdLst>
                <a:gd name="T0" fmla="*/ 6 w 25"/>
                <a:gd name="T1" fmla="*/ 7 h 32"/>
                <a:gd name="T2" fmla="*/ 0 w 25"/>
                <a:gd name="T3" fmla="*/ 23 h 32"/>
                <a:gd name="T4" fmla="*/ 6 w 25"/>
                <a:gd name="T5" fmla="*/ 32 h 32"/>
                <a:gd name="T6" fmla="*/ 19 w 25"/>
                <a:gd name="T7" fmla="*/ 25 h 32"/>
                <a:gd name="T8" fmla="*/ 25 w 25"/>
                <a:gd name="T9" fmla="*/ 9 h 32"/>
                <a:gd name="T10" fmla="*/ 19 w 25"/>
                <a:gd name="T11" fmla="*/ 0 h 32"/>
                <a:gd name="T12" fmla="*/ 6 w 25"/>
                <a:gd name="T13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2">
                  <a:moveTo>
                    <a:pt x="6" y="7"/>
                  </a:moveTo>
                  <a:lnTo>
                    <a:pt x="0" y="23"/>
                  </a:lnTo>
                  <a:lnTo>
                    <a:pt x="6" y="32"/>
                  </a:lnTo>
                  <a:lnTo>
                    <a:pt x="19" y="25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3" name="ïsľîḍe">
              <a:extLst>
                <a:ext uri="{FF2B5EF4-FFF2-40B4-BE49-F238E27FC236}">
                  <a16:creationId xmlns:a16="http://schemas.microsoft.com/office/drawing/2014/main" xmlns="" id="{860B7AF5-9B77-4D90-91ED-FED58421B1CB}"/>
                </a:ext>
              </a:extLst>
            </p:cNvPr>
            <p:cNvSpPr/>
            <p:nvPr userDrawn="1"/>
          </p:nvSpPr>
          <p:spPr bwMode="auto">
            <a:xfrm>
              <a:off x="761318" y="4433888"/>
              <a:ext cx="1979613" cy="798513"/>
            </a:xfrm>
            <a:custGeom>
              <a:avLst/>
              <a:gdLst>
                <a:gd name="T0" fmla="*/ 372 w 600"/>
                <a:gd name="T1" fmla="*/ 219 h 242"/>
                <a:gd name="T2" fmla="*/ 488 w 600"/>
                <a:gd name="T3" fmla="*/ 161 h 242"/>
                <a:gd name="T4" fmla="*/ 465 w 600"/>
                <a:gd name="T5" fmla="*/ 148 h 242"/>
                <a:gd name="T6" fmla="*/ 364 w 600"/>
                <a:gd name="T7" fmla="*/ 214 h 242"/>
                <a:gd name="T8" fmla="*/ 465 w 600"/>
                <a:gd name="T9" fmla="*/ 148 h 242"/>
                <a:gd name="T10" fmla="*/ 339 w 600"/>
                <a:gd name="T11" fmla="*/ 199 h 242"/>
                <a:gd name="T12" fmla="*/ 454 w 600"/>
                <a:gd name="T13" fmla="*/ 141 h 242"/>
                <a:gd name="T14" fmla="*/ 429 w 600"/>
                <a:gd name="T15" fmla="*/ 127 h 242"/>
                <a:gd name="T16" fmla="*/ 328 w 600"/>
                <a:gd name="T17" fmla="*/ 193 h 242"/>
                <a:gd name="T18" fmla="*/ 429 w 600"/>
                <a:gd name="T19" fmla="*/ 127 h 242"/>
                <a:gd name="T20" fmla="*/ 477 w 600"/>
                <a:gd name="T21" fmla="*/ 135 h 242"/>
                <a:gd name="T22" fmla="*/ 528 w 600"/>
                <a:gd name="T23" fmla="*/ 140 h 242"/>
                <a:gd name="T24" fmla="*/ 495 w 600"/>
                <a:gd name="T25" fmla="*/ 93 h 242"/>
                <a:gd name="T26" fmla="*/ 530 w 600"/>
                <a:gd name="T27" fmla="*/ 138 h 242"/>
                <a:gd name="T28" fmla="*/ 495 w 600"/>
                <a:gd name="T29" fmla="*/ 93 h 242"/>
                <a:gd name="T30" fmla="*/ 516 w 600"/>
                <a:gd name="T31" fmla="*/ 102 h 242"/>
                <a:gd name="T32" fmla="*/ 576 w 600"/>
                <a:gd name="T33" fmla="*/ 112 h 242"/>
                <a:gd name="T34" fmla="*/ 216 w 600"/>
                <a:gd name="T35" fmla="*/ 72 h 242"/>
                <a:gd name="T36" fmla="*/ 169 w 600"/>
                <a:gd name="T37" fmla="*/ 98 h 242"/>
                <a:gd name="T38" fmla="*/ 216 w 600"/>
                <a:gd name="T39" fmla="*/ 126 h 242"/>
                <a:gd name="T40" fmla="*/ 216 w 600"/>
                <a:gd name="T41" fmla="*/ 126 h 242"/>
                <a:gd name="T42" fmla="*/ 262 w 600"/>
                <a:gd name="T43" fmla="*/ 99 h 242"/>
                <a:gd name="T44" fmla="*/ 216 w 600"/>
                <a:gd name="T45" fmla="*/ 72 h 242"/>
                <a:gd name="T46" fmla="*/ 503 w 600"/>
                <a:gd name="T47" fmla="*/ 67 h 242"/>
                <a:gd name="T48" fmla="*/ 600 w 600"/>
                <a:gd name="T49" fmla="*/ 98 h 242"/>
                <a:gd name="T50" fmla="*/ 503 w 600"/>
                <a:gd name="T51" fmla="*/ 67 h 242"/>
                <a:gd name="T52" fmla="*/ 278 w 600"/>
                <a:gd name="T53" fmla="*/ 178 h 242"/>
                <a:gd name="T54" fmla="*/ 491 w 600"/>
                <a:gd name="T55" fmla="*/ 63 h 242"/>
                <a:gd name="T56" fmla="*/ 451 w 600"/>
                <a:gd name="T57" fmla="*/ 53 h 242"/>
                <a:gd name="T58" fmla="*/ 264 w 600"/>
                <a:gd name="T59" fmla="*/ 170 h 242"/>
                <a:gd name="T60" fmla="*/ 451 w 600"/>
                <a:gd name="T61" fmla="*/ 53 h 242"/>
                <a:gd name="T62" fmla="*/ 0 w 600"/>
                <a:gd name="T63" fmla="*/ 50 h 242"/>
                <a:gd name="T64" fmla="*/ 351 w 600"/>
                <a:gd name="T65" fmla="*/ 242 h 242"/>
                <a:gd name="T66" fmla="*/ 419 w 600"/>
                <a:gd name="T67" fmla="*/ 45 h 242"/>
                <a:gd name="T68" fmla="*/ 241 w 600"/>
                <a:gd name="T69" fmla="*/ 156 h 242"/>
                <a:gd name="T70" fmla="*/ 419 w 600"/>
                <a:gd name="T71" fmla="*/ 45 h 242"/>
                <a:gd name="T72" fmla="*/ 43 w 600"/>
                <a:gd name="T73" fmla="*/ 41 h 242"/>
                <a:gd name="T74" fmla="*/ 82 w 600"/>
                <a:gd name="T75" fmla="*/ 33 h 242"/>
                <a:gd name="T76" fmla="*/ 261 w 600"/>
                <a:gd name="T77" fmla="*/ 35 h 242"/>
                <a:gd name="T78" fmla="*/ 260 w 600"/>
                <a:gd name="T79" fmla="*/ 73 h 242"/>
                <a:gd name="T80" fmla="*/ 293 w 600"/>
                <a:gd name="T81" fmla="*/ 81 h 242"/>
                <a:gd name="T82" fmla="*/ 326 w 600"/>
                <a:gd name="T83" fmla="*/ 73 h 242"/>
                <a:gd name="T84" fmla="*/ 327 w 600"/>
                <a:gd name="T85" fmla="*/ 35 h 242"/>
                <a:gd name="T86" fmla="*/ 329 w 600"/>
                <a:gd name="T87" fmla="*/ 21 h 242"/>
                <a:gd name="T88" fmla="*/ 371 w 600"/>
                <a:gd name="T89" fmla="*/ 36 h 242"/>
                <a:gd name="T90" fmla="*/ 371 w 600"/>
                <a:gd name="T91" fmla="*/ 36 h 242"/>
                <a:gd name="T92" fmla="*/ 329 w 600"/>
                <a:gd name="T93" fmla="*/ 21 h 242"/>
                <a:gd name="T94" fmla="*/ 124 w 600"/>
                <a:gd name="T95" fmla="*/ 25 h 242"/>
                <a:gd name="T96" fmla="*/ 77 w 600"/>
                <a:gd name="T97" fmla="*/ 61 h 242"/>
                <a:gd name="T98" fmla="*/ 198 w 600"/>
                <a:gd name="T99" fmla="*/ 10 h 242"/>
                <a:gd name="T100" fmla="*/ 86 w 600"/>
                <a:gd name="T101" fmla="*/ 66 h 242"/>
                <a:gd name="T102" fmla="*/ 198 w 600"/>
                <a:gd name="T103" fmla="*/ 10 h 242"/>
                <a:gd name="T104" fmla="*/ 118 w 600"/>
                <a:gd name="T105" fmla="*/ 85 h 242"/>
                <a:gd name="T106" fmla="*/ 271 w 600"/>
                <a:gd name="T107" fmla="*/ 6 h 242"/>
                <a:gd name="T108" fmla="*/ 248 w 600"/>
                <a:gd name="T109" fmla="*/ 0 h 242"/>
                <a:gd name="T110" fmla="*/ 102 w 600"/>
                <a:gd name="T111" fmla="*/ 76 h 242"/>
                <a:gd name="T112" fmla="*/ 248 w 600"/>
                <a:gd name="T11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0" h="242">
                  <a:moveTo>
                    <a:pt x="480" y="156"/>
                  </a:moveTo>
                  <a:cubicBezTo>
                    <a:pt x="372" y="219"/>
                    <a:pt x="372" y="219"/>
                    <a:pt x="372" y="219"/>
                  </a:cubicBezTo>
                  <a:cubicBezTo>
                    <a:pt x="380" y="223"/>
                    <a:pt x="380" y="223"/>
                    <a:pt x="380" y="223"/>
                  </a:cubicBezTo>
                  <a:cubicBezTo>
                    <a:pt x="488" y="161"/>
                    <a:pt x="488" y="161"/>
                    <a:pt x="488" y="161"/>
                  </a:cubicBezTo>
                  <a:cubicBezTo>
                    <a:pt x="480" y="156"/>
                    <a:pt x="480" y="156"/>
                    <a:pt x="480" y="156"/>
                  </a:cubicBezTo>
                  <a:moveTo>
                    <a:pt x="465" y="148"/>
                  </a:moveTo>
                  <a:cubicBezTo>
                    <a:pt x="357" y="210"/>
                    <a:pt x="357" y="210"/>
                    <a:pt x="357" y="210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472" y="152"/>
                    <a:pt x="472" y="152"/>
                    <a:pt x="472" y="152"/>
                  </a:cubicBezTo>
                  <a:cubicBezTo>
                    <a:pt x="465" y="148"/>
                    <a:pt x="465" y="148"/>
                    <a:pt x="465" y="148"/>
                  </a:cubicBezTo>
                  <a:moveTo>
                    <a:pt x="447" y="137"/>
                  </a:moveTo>
                  <a:cubicBezTo>
                    <a:pt x="339" y="199"/>
                    <a:pt x="339" y="199"/>
                    <a:pt x="339" y="199"/>
                  </a:cubicBezTo>
                  <a:cubicBezTo>
                    <a:pt x="346" y="204"/>
                    <a:pt x="346" y="204"/>
                    <a:pt x="346" y="204"/>
                  </a:cubicBezTo>
                  <a:cubicBezTo>
                    <a:pt x="454" y="141"/>
                    <a:pt x="454" y="141"/>
                    <a:pt x="454" y="141"/>
                  </a:cubicBezTo>
                  <a:cubicBezTo>
                    <a:pt x="447" y="137"/>
                    <a:pt x="447" y="137"/>
                    <a:pt x="447" y="137"/>
                  </a:cubicBezTo>
                  <a:moveTo>
                    <a:pt x="429" y="127"/>
                  </a:moveTo>
                  <a:cubicBezTo>
                    <a:pt x="321" y="189"/>
                    <a:pt x="321" y="189"/>
                    <a:pt x="321" y="189"/>
                  </a:cubicBezTo>
                  <a:cubicBezTo>
                    <a:pt x="328" y="193"/>
                    <a:pt x="328" y="193"/>
                    <a:pt x="328" y="193"/>
                  </a:cubicBezTo>
                  <a:cubicBezTo>
                    <a:pt x="436" y="131"/>
                    <a:pt x="436" y="131"/>
                    <a:pt x="436" y="131"/>
                  </a:cubicBezTo>
                  <a:cubicBezTo>
                    <a:pt x="429" y="127"/>
                    <a:pt x="429" y="127"/>
                    <a:pt x="429" y="127"/>
                  </a:cubicBezTo>
                  <a:moveTo>
                    <a:pt x="499" y="123"/>
                  </a:moveTo>
                  <a:cubicBezTo>
                    <a:pt x="477" y="135"/>
                    <a:pt x="477" y="135"/>
                    <a:pt x="477" y="135"/>
                  </a:cubicBezTo>
                  <a:cubicBezTo>
                    <a:pt x="506" y="152"/>
                    <a:pt x="506" y="152"/>
                    <a:pt x="506" y="152"/>
                  </a:cubicBezTo>
                  <a:cubicBezTo>
                    <a:pt x="528" y="140"/>
                    <a:pt x="528" y="140"/>
                    <a:pt x="528" y="140"/>
                  </a:cubicBezTo>
                  <a:cubicBezTo>
                    <a:pt x="499" y="123"/>
                    <a:pt x="499" y="123"/>
                    <a:pt x="499" y="123"/>
                  </a:cubicBezTo>
                  <a:moveTo>
                    <a:pt x="495" y="93"/>
                  </a:moveTo>
                  <a:cubicBezTo>
                    <a:pt x="473" y="105"/>
                    <a:pt x="473" y="105"/>
                    <a:pt x="473" y="105"/>
                  </a:cubicBezTo>
                  <a:cubicBezTo>
                    <a:pt x="530" y="138"/>
                    <a:pt x="530" y="138"/>
                    <a:pt x="530" y="138"/>
                  </a:cubicBezTo>
                  <a:cubicBezTo>
                    <a:pt x="552" y="126"/>
                    <a:pt x="552" y="126"/>
                    <a:pt x="552" y="126"/>
                  </a:cubicBezTo>
                  <a:cubicBezTo>
                    <a:pt x="495" y="93"/>
                    <a:pt x="495" y="93"/>
                    <a:pt x="495" y="93"/>
                  </a:cubicBezTo>
                  <a:moveTo>
                    <a:pt x="537" y="90"/>
                  </a:moveTo>
                  <a:cubicBezTo>
                    <a:pt x="516" y="102"/>
                    <a:pt x="516" y="102"/>
                    <a:pt x="516" y="102"/>
                  </a:cubicBezTo>
                  <a:cubicBezTo>
                    <a:pt x="554" y="125"/>
                    <a:pt x="554" y="125"/>
                    <a:pt x="554" y="125"/>
                  </a:cubicBezTo>
                  <a:cubicBezTo>
                    <a:pt x="576" y="112"/>
                    <a:pt x="576" y="112"/>
                    <a:pt x="576" y="112"/>
                  </a:cubicBezTo>
                  <a:cubicBezTo>
                    <a:pt x="537" y="90"/>
                    <a:pt x="537" y="90"/>
                    <a:pt x="537" y="90"/>
                  </a:cubicBezTo>
                  <a:moveTo>
                    <a:pt x="216" y="72"/>
                  </a:moveTo>
                  <a:cubicBezTo>
                    <a:pt x="204" y="72"/>
                    <a:pt x="192" y="74"/>
                    <a:pt x="183" y="79"/>
                  </a:cubicBezTo>
                  <a:cubicBezTo>
                    <a:pt x="174" y="84"/>
                    <a:pt x="170" y="91"/>
                    <a:pt x="169" y="98"/>
                  </a:cubicBezTo>
                  <a:cubicBezTo>
                    <a:pt x="169" y="105"/>
                    <a:pt x="174" y="112"/>
                    <a:pt x="183" y="118"/>
                  </a:cubicBezTo>
                  <a:cubicBezTo>
                    <a:pt x="191" y="123"/>
                    <a:pt x="203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28" y="126"/>
                    <a:pt x="240" y="123"/>
                    <a:pt x="249" y="118"/>
                  </a:cubicBezTo>
                  <a:cubicBezTo>
                    <a:pt x="258" y="113"/>
                    <a:pt x="262" y="106"/>
                    <a:pt x="262" y="99"/>
                  </a:cubicBezTo>
                  <a:cubicBezTo>
                    <a:pt x="263" y="91"/>
                    <a:pt x="258" y="85"/>
                    <a:pt x="249" y="79"/>
                  </a:cubicBezTo>
                  <a:cubicBezTo>
                    <a:pt x="240" y="74"/>
                    <a:pt x="228" y="72"/>
                    <a:pt x="216" y="72"/>
                  </a:cubicBezTo>
                  <a:moveTo>
                    <a:pt x="503" y="67"/>
                  </a:moveTo>
                  <a:cubicBezTo>
                    <a:pt x="503" y="67"/>
                    <a:pt x="503" y="67"/>
                    <a:pt x="503" y="67"/>
                  </a:cubicBezTo>
                  <a:cubicBezTo>
                    <a:pt x="578" y="111"/>
                    <a:pt x="578" y="111"/>
                    <a:pt x="578" y="111"/>
                  </a:cubicBezTo>
                  <a:cubicBezTo>
                    <a:pt x="600" y="98"/>
                    <a:pt x="600" y="98"/>
                    <a:pt x="600" y="98"/>
                  </a:cubicBezTo>
                  <a:cubicBezTo>
                    <a:pt x="579" y="87"/>
                    <a:pt x="579" y="87"/>
                    <a:pt x="579" y="87"/>
                  </a:cubicBezTo>
                  <a:cubicBezTo>
                    <a:pt x="503" y="67"/>
                    <a:pt x="503" y="67"/>
                    <a:pt x="503" y="67"/>
                  </a:cubicBezTo>
                  <a:moveTo>
                    <a:pt x="481" y="61"/>
                  </a:moveTo>
                  <a:cubicBezTo>
                    <a:pt x="278" y="178"/>
                    <a:pt x="278" y="178"/>
                    <a:pt x="278" y="178"/>
                  </a:cubicBezTo>
                  <a:cubicBezTo>
                    <a:pt x="285" y="182"/>
                    <a:pt x="285" y="182"/>
                    <a:pt x="285" y="182"/>
                  </a:cubicBezTo>
                  <a:cubicBezTo>
                    <a:pt x="491" y="63"/>
                    <a:pt x="491" y="63"/>
                    <a:pt x="491" y="63"/>
                  </a:cubicBezTo>
                  <a:cubicBezTo>
                    <a:pt x="481" y="61"/>
                    <a:pt x="481" y="61"/>
                    <a:pt x="481" y="61"/>
                  </a:cubicBezTo>
                  <a:moveTo>
                    <a:pt x="451" y="53"/>
                  </a:moveTo>
                  <a:cubicBezTo>
                    <a:pt x="256" y="165"/>
                    <a:pt x="256" y="165"/>
                    <a:pt x="256" y="165"/>
                  </a:cubicBezTo>
                  <a:cubicBezTo>
                    <a:pt x="264" y="170"/>
                    <a:pt x="264" y="170"/>
                    <a:pt x="264" y="170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51" y="53"/>
                    <a:pt x="451" y="53"/>
                    <a:pt x="451" y="53"/>
                  </a:cubicBezTo>
                  <a:moveTo>
                    <a:pt x="15" y="47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49" y="242"/>
                    <a:pt x="349" y="242"/>
                    <a:pt x="349" y="242"/>
                  </a:cubicBezTo>
                  <a:cubicBezTo>
                    <a:pt x="350" y="242"/>
                    <a:pt x="350" y="242"/>
                    <a:pt x="351" y="242"/>
                  </a:cubicBezTo>
                  <a:cubicBezTo>
                    <a:pt x="15" y="47"/>
                    <a:pt x="15" y="47"/>
                    <a:pt x="15" y="47"/>
                  </a:cubicBezTo>
                  <a:moveTo>
                    <a:pt x="419" y="45"/>
                  </a:moveTo>
                  <a:cubicBezTo>
                    <a:pt x="233" y="152"/>
                    <a:pt x="233" y="152"/>
                    <a:pt x="233" y="152"/>
                  </a:cubicBezTo>
                  <a:cubicBezTo>
                    <a:pt x="241" y="156"/>
                    <a:pt x="241" y="156"/>
                    <a:pt x="241" y="156"/>
                  </a:cubicBezTo>
                  <a:cubicBezTo>
                    <a:pt x="430" y="47"/>
                    <a:pt x="430" y="47"/>
                    <a:pt x="430" y="47"/>
                  </a:cubicBezTo>
                  <a:cubicBezTo>
                    <a:pt x="419" y="45"/>
                    <a:pt x="419" y="45"/>
                    <a:pt x="419" y="45"/>
                  </a:cubicBezTo>
                  <a:moveTo>
                    <a:pt x="82" y="33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82" y="33"/>
                    <a:pt x="82" y="33"/>
                    <a:pt x="82" y="33"/>
                  </a:cubicBezTo>
                  <a:moveTo>
                    <a:pt x="294" y="27"/>
                  </a:moveTo>
                  <a:cubicBezTo>
                    <a:pt x="281" y="27"/>
                    <a:pt x="269" y="29"/>
                    <a:pt x="261" y="35"/>
                  </a:cubicBezTo>
                  <a:cubicBezTo>
                    <a:pt x="252" y="40"/>
                    <a:pt x="247" y="46"/>
                    <a:pt x="247" y="53"/>
                  </a:cubicBezTo>
                  <a:cubicBezTo>
                    <a:pt x="246" y="60"/>
                    <a:pt x="251" y="68"/>
                    <a:pt x="260" y="73"/>
                  </a:cubicBezTo>
                  <a:cubicBezTo>
                    <a:pt x="269" y="78"/>
                    <a:pt x="281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306" y="81"/>
                    <a:pt x="318" y="78"/>
                    <a:pt x="326" y="73"/>
                  </a:cubicBezTo>
                  <a:cubicBezTo>
                    <a:pt x="335" y="68"/>
                    <a:pt x="340" y="61"/>
                    <a:pt x="340" y="54"/>
                  </a:cubicBezTo>
                  <a:cubicBezTo>
                    <a:pt x="340" y="46"/>
                    <a:pt x="335" y="40"/>
                    <a:pt x="327" y="35"/>
                  </a:cubicBezTo>
                  <a:cubicBezTo>
                    <a:pt x="318" y="29"/>
                    <a:pt x="306" y="27"/>
                    <a:pt x="294" y="27"/>
                  </a:cubicBezTo>
                  <a:moveTo>
                    <a:pt x="329" y="21"/>
                  </a:moveTo>
                  <a:cubicBezTo>
                    <a:pt x="332" y="24"/>
                    <a:pt x="335" y="26"/>
                    <a:pt x="338" y="28"/>
                  </a:cubicBezTo>
                  <a:cubicBezTo>
                    <a:pt x="347" y="33"/>
                    <a:pt x="358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5" y="36"/>
                    <a:pt x="379" y="36"/>
                    <a:pt x="383" y="35"/>
                  </a:cubicBezTo>
                  <a:cubicBezTo>
                    <a:pt x="329" y="21"/>
                    <a:pt x="329" y="21"/>
                    <a:pt x="329" y="21"/>
                  </a:cubicBezTo>
                  <a:moveTo>
                    <a:pt x="147" y="20"/>
                  </a:moveTo>
                  <a:cubicBezTo>
                    <a:pt x="124" y="25"/>
                    <a:pt x="124" y="25"/>
                    <a:pt x="124" y="25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147" y="20"/>
                    <a:pt x="147" y="20"/>
                    <a:pt x="147" y="20"/>
                  </a:cubicBezTo>
                  <a:moveTo>
                    <a:pt x="198" y="10"/>
                  </a:moveTo>
                  <a:cubicBezTo>
                    <a:pt x="174" y="15"/>
                    <a:pt x="174" y="15"/>
                    <a:pt x="174" y="15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198" y="10"/>
                    <a:pt x="198" y="10"/>
                    <a:pt x="198" y="10"/>
                  </a:cubicBezTo>
                  <a:moveTo>
                    <a:pt x="260" y="3"/>
                  </a:moveTo>
                  <a:cubicBezTo>
                    <a:pt x="118" y="85"/>
                    <a:pt x="118" y="85"/>
                    <a:pt x="118" y="85"/>
                  </a:cubicBezTo>
                  <a:cubicBezTo>
                    <a:pt x="126" y="90"/>
                    <a:pt x="126" y="90"/>
                    <a:pt x="126" y="90"/>
                  </a:cubicBezTo>
                  <a:cubicBezTo>
                    <a:pt x="271" y="6"/>
                    <a:pt x="271" y="6"/>
                    <a:pt x="271" y="6"/>
                  </a:cubicBezTo>
                  <a:cubicBezTo>
                    <a:pt x="260" y="3"/>
                    <a:pt x="260" y="3"/>
                    <a:pt x="260" y="3"/>
                  </a:cubicBezTo>
                  <a:moveTo>
                    <a:pt x="248" y="0"/>
                  </a:moveTo>
                  <a:cubicBezTo>
                    <a:pt x="225" y="5"/>
                    <a:pt x="225" y="5"/>
                    <a:pt x="225" y="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248" y="0"/>
                    <a:pt x="248" y="0"/>
                    <a:pt x="248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4" name="iṩḷídê">
              <a:extLst>
                <a:ext uri="{FF2B5EF4-FFF2-40B4-BE49-F238E27FC236}">
                  <a16:creationId xmlns:a16="http://schemas.microsoft.com/office/drawing/2014/main" xmlns="" id="{60F773BE-711B-4F1E-8AD7-39B8431F9F39}"/>
                </a:ext>
              </a:extLst>
            </p:cNvPr>
            <p:cNvSpPr/>
            <p:nvPr userDrawn="1"/>
          </p:nvSpPr>
          <p:spPr bwMode="auto">
            <a:xfrm>
              <a:off x="1963056" y="4424363"/>
              <a:ext cx="58738" cy="36513"/>
            </a:xfrm>
            <a:custGeom>
              <a:avLst/>
              <a:gdLst>
                <a:gd name="T0" fmla="*/ 3 w 18"/>
                <a:gd name="T1" fmla="*/ 2 h 11"/>
                <a:gd name="T2" fmla="*/ 14 w 18"/>
                <a:gd name="T3" fmla="*/ 2 h 11"/>
                <a:gd name="T4" fmla="*/ 14 w 18"/>
                <a:gd name="T5" fmla="*/ 9 h 11"/>
                <a:gd name="T6" fmla="*/ 3 w 18"/>
                <a:gd name="T7" fmla="*/ 9 h 11"/>
                <a:gd name="T8" fmla="*/ 3 w 18"/>
                <a:gd name="T9" fmla="*/ 2 h 11"/>
                <a:gd name="T10" fmla="*/ 11 w 18"/>
                <a:gd name="T11" fmla="*/ 4 h 11"/>
                <a:gd name="T12" fmla="*/ 6 w 18"/>
                <a:gd name="T13" fmla="*/ 4 h 11"/>
                <a:gd name="T14" fmla="*/ 6 w 18"/>
                <a:gd name="T15" fmla="*/ 7 h 11"/>
                <a:gd name="T16" fmla="*/ 12 w 18"/>
                <a:gd name="T17" fmla="*/ 7 h 11"/>
                <a:gd name="T18" fmla="*/ 11 w 18"/>
                <a:gd name="T1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1">
                  <a:moveTo>
                    <a:pt x="3" y="2"/>
                  </a:moveTo>
                  <a:cubicBezTo>
                    <a:pt x="6" y="0"/>
                    <a:pt x="11" y="1"/>
                    <a:pt x="14" y="2"/>
                  </a:cubicBezTo>
                  <a:cubicBezTo>
                    <a:pt x="17" y="4"/>
                    <a:pt x="18" y="7"/>
                    <a:pt x="14" y="9"/>
                  </a:cubicBezTo>
                  <a:cubicBezTo>
                    <a:pt x="11" y="11"/>
                    <a:pt x="6" y="11"/>
                    <a:pt x="3" y="9"/>
                  </a:cubicBezTo>
                  <a:cubicBezTo>
                    <a:pt x="0" y="7"/>
                    <a:pt x="0" y="4"/>
                    <a:pt x="3" y="2"/>
                  </a:cubicBezTo>
                  <a:close/>
                  <a:moveTo>
                    <a:pt x="11" y="4"/>
                  </a:moveTo>
                  <a:cubicBezTo>
                    <a:pt x="9" y="3"/>
                    <a:pt x="7" y="3"/>
                    <a:pt x="6" y="4"/>
                  </a:cubicBezTo>
                  <a:cubicBezTo>
                    <a:pt x="5" y="5"/>
                    <a:pt x="5" y="6"/>
                    <a:pt x="6" y="7"/>
                  </a:cubicBezTo>
                  <a:cubicBezTo>
                    <a:pt x="8" y="8"/>
                    <a:pt x="10" y="8"/>
                    <a:pt x="12" y="7"/>
                  </a:cubicBezTo>
                  <a:cubicBezTo>
                    <a:pt x="13" y="6"/>
                    <a:pt x="13" y="5"/>
                    <a:pt x="11" y="4"/>
                  </a:cubicBezTo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5" name="ïṧḻîḋe">
              <a:extLst>
                <a:ext uri="{FF2B5EF4-FFF2-40B4-BE49-F238E27FC236}">
                  <a16:creationId xmlns:a16="http://schemas.microsoft.com/office/drawing/2014/main" xmlns="" id="{70DEFA8A-49F6-4C24-84D8-FF4515071711}"/>
                </a:ext>
              </a:extLst>
            </p:cNvPr>
            <p:cNvSpPr/>
            <p:nvPr userDrawn="1"/>
          </p:nvSpPr>
          <p:spPr bwMode="auto">
            <a:xfrm>
              <a:off x="1978931" y="4433888"/>
              <a:ext cx="26988" cy="17463"/>
            </a:xfrm>
            <a:custGeom>
              <a:avLst/>
              <a:gdLst>
                <a:gd name="T0" fmla="*/ 1 w 8"/>
                <a:gd name="T1" fmla="*/ 4 h 5"/>
                <a:gd name="T2" fmla="*/ 7 w 8"/>
                <a:gd name="T3" fmla="*/ 4 h 5"/>
                <a:gd name="T4" fmla="*/ 6 w 8"/>
                <a:gd name="T5" fmla="*/ 1 h 5"/>
                <a:gd name="T6" fmla="*/ 1 w 8"/>
                <a:gd name="T7" fmla="*/ 1 h 5"/>
                <a:gd name="T8" fmla="*/ 1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1" y="4"/>
                  </a:moveTo>
                  <a:cubicBezTo>
                    <a:pt x="3" y="5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6" name="îšļiḋe">
              <a:extLst>
                <a:ext uri="{FF2B5EF4-FFF2-40B4-BE49-F238E27FC236}">
                  <a16:creationId xmlns:a16="http://schemas.microsoft.com/office/drawing/2014/main" xmlns="" id="{12FB34F3-E1F7-427E-9396-D06A11F07918}"/>
                </a:ext>
              </a:extLst>
            </p:cNvPr>
            <p:cNvSpPr/>
            <p:nvPr userDrawn="1"/>
          </p:nvSpPr>
          <p:spPr bwMode="auto">
            <a:xfrm>
              <a:off x="1920193" y="4457700"/>
              <a:ext cx="134938" cy="19050"/>
            </a:xfrm>
            <a:custGeom>
              <a:avLst/>
              <a:gdLst>
                <a:gd name="T0" fmla="*/ 8 w 85"/>
                <a:gd name="T1" fmla="*/ 0 h 12"/>
                <a:gd name="T2" fmla="*/ 0 w 85"/>
                <a:gd name="T3" fmla="*/ 4 h 12"/>
                <a:gd name="T4" fmla="*/ 76 w 85"/>
                <a:gd name="T5" fmla="*/ 12 h 12"/>
                <a:gd name="T6" fmla="*/ 85 w 85"/>
                <a:gd name="T7" fmla="*/ 8 h 12"/>
                <a:gd name="T8" fmla="*/ 8 w 8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2">
                  <a:moveTo>
                    <a:pt x="8" y="0"/>
                  </a:moveTo>
                  <a:lnTo>
                    <a:pt x="0" y="4"/>
                  </a:lnTo>
                  <a:lnTo>
                    <a:pt x="76" y="12"/>
                  </a:lnTo>
                  <a:lnTo>
                    <a:pt x="85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7" name="íşlïḋe">
              <a:extLst>
                <a:ext uri="{FF2B5EF4-FFF2-40B4-BE49-F238E27FC236}">
                  <a16:creationId xmlns:a16="http://schemas.microsoft.com/office/drawing/2014/main" xmlns="" id="{8C2694DC-C2DC-401C-8AF9-BC416919542B}"/>
                </a:ext>
              </a:extLst>
            </p:cNvPr>
            <p:cNvSpPr/>
            <p:nvPr userDrawn="1"/>
          </p:nvSpPr>
          <p:spPr bwMode="auto">
            <a:xfrm>
              <a:off x="1969406" y="4479925"/>
              <a:ext cx="28575" cy="17463"/>
            </a:xfrm>
            <a:custGeom>
              <a:avLst/>
              <a:gdLst>
                <a:gd name="T0" fmla="*/ 7 w 9"/>
                <a:gd name="T1" fmla="*/ 1 h 5"/>
                <a:gd name="T2" fmla="*/ 2 w 9"/>
                <a:gd name="T3" fmla="*/ 1 h 5"/>
                <a:gd name="T4" fmla="*/ 2 w 9"/>
                <a:gd name="T5" fmla="*/ 4 h 5"/>
                <a:gd name="T6" fmla="*/ 7 w 9"/>
                <a:gd name="T7" fmla="*/ 4 h 5"/>
                <a:gd name="T8" fmla="*/ 7 w 9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7" y="1"/>
                  </a:moveTo>
                  <a:cubicBezTo>
                    <a:pt x="5" y="0"/>
                    <a:pt x="3" y="0"/>
                    <a:pt x="2" y="1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9" y="4"/>
                    <a:pt x="9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8" name="îşḻiḋê">
              <a:extLst>
                <a:ext uri="{FF2B5EF4-FFF2-40B4-BE49-F238E27FC236}">
                  <a16:creationId xmlns:a16="http://schemas.microsoft.com/office/drawing/2014/main" xmlns="" id="{1E64C8E2-C919-4BBB-B8F8-003D603CB163}"/>
                </a:ext>
              </a:extLst>
            </p:cNvPr>
            <p:cNvSpPr/>
            <p:nvPr userDrawn="1"/>
          </p:nvSpPr>
          <p:spPr bwMode="auto">
            <a:xfrm>
              <a:off x="1877331" y="4375150"/>
              <a:ext cx="263525" cy="177800"/>
            </a:xfrm>
            <a:custGeom>
              <a:avLst/>
              <a:gdLst>
                <a:gd name="T0" fmla="*/ 6 w 80"/>
                <a:gd name="T1" fmla="*/ 42 h 54"/>
                <a:gd name="T2" fmla="*/ 0 w 80"/>
                <a:gd name="T3" fmla="*/ 46 h 54"/>
                <a:gd name="T4" fmla="*/ 33 w 80"/>
                <a:gd name="T5" fmla="*/ 54 h 54"/>
                <a:gd name="T6" fmla="*/ 66 w 80"/>
                <a:gd name="T7" fmla="*/ 46 h 54"/>
                <a:gd name="T8" fmla="*/ 80 w 80"/>
                <a:gd name="T9" fmla="*/ 27 h 54"/>
                <a:gd name="T10" fmla="*/ 66 w 80"/>
                <a:gd name="T11" fmla="*/ 8 h 54"/>
                <a:gd name="T12" fmla="*/ 33 w 80"/>
                <a:gd name="T13" fmla="*/ 0 h 54"/>
                <a:gd name="T14" fmla="*/ 0 w 80"/>
                <a:gd name="T15" fmla="*/ 8 h 54"/>
                <a:gd name="T16" fmla="*/ 7 w 80"/>
                <a:gd name="T17" fmla="*/ 11 h 54"/>
                <a:gd name="T18" fmla="*/ 33 w 80"/>
                <a:gd name="T19" fmla="*/ 5 h 54"/>
                <a:gd name="T20" fmla="*/ 60 w 80"/>
                <a:gd name="T21" fmla="*/ 11 h 54"/>
                <a:gd name="T22" fmla="*/ 71 w 80"/>
                <a:gd name="T23" fmla="*/ 27 h 54"/>
                <a:gd name="T24" fmla="*/ 60 w 80"/>
                <a:gd name="T25" fmla="*/ 42 h 54"/>
                <a:gd name="T26" fmla="*/ 33 w 80"/>
                <a:gd name="T27" fmla="*/ 49 h 54"/>
                <a:gd name="T28" fmla="*/ 6 w 80"/>
                <a:gd name="T2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54">
                  <a:moveTo>
                    <a:pt x="6" y="42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9" y="51"/>
                    <a:pt x="21" y="54"/>
                    <a:pt x="33" y="54"/>
                  </a:cubicBezTo>
                  <a:cubicBezTo>
                    <a:pt x="45" y="54"/>
                    <a:pt x="57" y="51"/>
                    <a:pt x="66" y="46"/>
                  </a:cubicBezTo>
                  <a:cubicBezTo>
                    <a:pt x="75" y="41"/>
                    <a:pt x="80" y="34"/>
                    <a:pt x="80" y="27"/>
                  </a:cubicBezTo>
                  <a:cubicBezTo>
                    <a:pt x="80" y="20"/>
                    <a:pt x="75" y="13"/>
                    <a:pt x="66" y="8"/>
                  </a:cubicBezTo>
                  <a:cubicBezTo>
                    <a:pt x="57" y="3"/>
                    <a:pt x="46" y="0"/>
                    <a:pt x="33" y="0"/>
                  </a:cubicBezTo>
                  <a:cubicBezTo>
                    <a:pt x="21" y="0"/>
                    <a:pt x="9" y="3"/>
                    <a:pt x="0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4" y="7"/>
                    <a:pt x="23" y="5"/>
                    <a:pt x="33" y="5"/>
                  </a:cubicBezTo>
                  <a:cubicBezTo>
                    <a:pt x="43" y="5"/>
                    <a:pt x="53" y="7"/>
                    <a:pt x="60" y="11"/>
                  </a:cubicBezTo>
                  <a:cubicBezTo>
                    <a:pt x="67" y="16"/>
                    <a:pt x="71" y="21"/>
                    <a:pt x="71" y="27"/>
                  </a:cubicBezTo>
                  <a:cubicBezTo>
                    <a:pt x="71" y="33"/>
                    <a:pt x="67" y="38"/>
                    <a:pt x="60" y="42"/>
                  </a:cubicBezTo>
                  <a:cubicBezTo>
                    <a:pt x="53" y="46"/>
                    <a:pt x="43" y="49"/>
                    <a:pt x="33" y="49"/>
                  </a:cubicBezTo>
                  <a:cubicBezTo>
                    <a:pt x="23" y="49"/>
                    <a:pt x="13" y="46"/>
                    <a:pt x="6" y="42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9" name="îšḷîḋe">
              <a:extLst>
                <a:ext uri="{FF2B5EF4-FFF2-40B4-BE49-F238E27FC236}">
                  <a16:creationId xmlns:a16="http://schemas.microsoft.com/office/drawing/2014/main" xmlns="" id="{A009EEFD-926B-4994-9034-7F7AEAD6203E}"/>
                </a:ext>
              </a:extLst>
            </p:cNvPr>
            <p:cNvSpPr/>
            <p:nvPr userDrawn="1"/>
          </p:nvSpPr>
          <p:spPr bwMode="auto">
            <a:xfrm>
              <a:off x="889906" y="4127500"/>
              <a:ext cx="811213" cy="468313"/>
            </a:xfrm>
            <a:custGeom>
              <a:avLst/>
              <a:gdLst>
                <a:gd name="T0" fmla="*/ 0 w 511"/>
                <a:gd name="T1" fmla="*/ 274 h 295"/>
                <a:gd name="T2" fmla="*/ 35 w 511"/>
                <a:gd name="T3" fmla="*/ 295 h 295"/>
                <a:gd name="T4" fmla="*/ 511 w 511"/>
                <a:gd name="T5" fmla="*/ 19 h 295"/>
                <a:gd name="T6" fmla="*/ 478 w 511"/>
                <a:gd name="T7" fmla="*/ 0 h 295"/>
                <a:gd name="T8" fmla="*/ 0 w 511"/>
                <a:gd name="T9" fmla="*/ 27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1" h="295">
                  <a:moveTo>
                    <a:pt x="0" y="274"/>
                  </a:moveTo>
                  <a:lnTo>
                    <a:pt x="35" y="295"/>
                  </a:lnTo>
                  <a:lnTo>
                    <a:pt x="511" y="19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0" name="işľíḋê">
              <a:extLst>
                <a:ext uri="{FF2B5EF4-FFF2-40B4-BE49-F238E27FC236}">
                  <a16:creationId xmlns:a16="http://schemas.microsoft.com/office/drawing/2014/main" xmlns="" id="{6779DB60-FBDE-42DE-A13B-BB81F415E20B}"/>
                </a:ext>
              </a:extLst>
            </p:cNvPr>
            <p:cNvSpPr/>
            <p:nvPr userDrawn="1"/>
          </p:nvSpPr>
          <p:spPr bwMode="auto">
            <a:xfrm>
              <a:off x="1721756" y="4583113"/>
              <a:ext cx="25400" cy="15875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4 h 5"/>
                <a:gd name="T4" fmla="*/ 7 w 8"/>
                <a:gd name="T5" fmla="*/ 1 h 5"/>
                <a:gd name="T6" fmla="*/ 2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0" y="1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1" name="îṣḷide">
              <a:extLst>
                <a:ext uri="{FF2B5EF4-FFF2-40B4-BE49-F238E27FC236}">
                  <a16:creationId xmlns:a16="http://schemas.microsoft.com/office/drawing/2014/main" xmlns="" id="{D84A7434-516F-4C09-8E1A-DA3A71A08733}"/>
                </a:ext>
              </a:extLst>
            </p:cNvPr>
            <p:cNvSpPr/>
            <p:nvPr userDrawn="1"/>
          </p:nvSpPr>
          <p:spPr bwMode="auto">
            <a:xfrm>
              <a:off x="1602693" y="4540250"/>
              <a:ext cx="250825" cy="144463"/>
            </a:xfrm>
            <a:custGeom>
              <a:avLst/>
              <a:gdLst>
                <a:gd name="T0" fmla="*/ 12 w 76"/>
                <a:gd name="T1" fmla="*/ 37 h 44"/>
                <a:gd name="T2" fmla="*/ 1 w 76"/>
                <a:gd name="T3" fmla="*/ 21 h 44"/>
                <a:gd name="T4" fmla="*/ 12 w 76"/>
                <a:gd name="T5" fmla="*/ 6 h 44"/>
                <a:gd name="T6" fmla="*/ 39 w 76"/>
                <a:gd name="T7" fmla="*/ 0 h 44"/>
                <a:gd name="T8" fmla="*/ 65 w 76"/>
                <a:gd name="T9" fmla="*/ 6 h 44"/>
                <a:gd name="T10" fmla="*/ 76 w 76"/>
                <a:gd name="T11" fmla="*/ 22 h 44"/>
                <a:gd name="T12" fmla="*/ 65 w 76"/>
                <a:gd name="T13" fmla="*/ 37 h 44"/>
                <a:gd name="T14" fmla="*/ 38 w 76"/>
                <a:gd name="T15" fmla="*/ 44 h 44"/>
                <a:gd name="T16" fmla="*/ 12 w 76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12" y="37"/>
                  </a:moveTo>
                  <a:cubicBezTo>
                    <a:pt x="4" y="33"/>
                    <a:pt x="0" y="27"/>
                    <a:pt x="1" y="21"/>
                  </a:cubicBezTo>
                  <a:cubicBezTo>
                    <a:pt x="1" y="16"/>
                    <a:pt x="5" y="10"/>
                    <a:pt x="12" y="6"/>
                  </a:cubicBezTo>
                  <a:cubicBezTo>
                    <a:pt x="19" y="2"/>
                    <a:pt x="29" y="0"/>
                    <a:pt x="39" y="0"/>
                  </a:cubicBezTo>
                  <a:cubicBezTo>
                    <a:pt x="49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8"/>
                    <a:pt x="72" y="33"/>
                    <a:pt x="65" y="37"/>
                  </a:cubicBezTo>
                  <a:cubicBezTo>
                    <a:pt x="58" y="41"/>
                    <a:pt x="48" y="44"/>
                    <a:pt x="38" y="44"/>
                  </a:cubicBezTo>
                  <a:cubicBezTo>
                    <a:pt x="28" y="44"/>
                    <a:pt x="19" y="41"/>
                    <a:pt x="12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2" name="iṣḻídé">
              <a:extLst>
                <a:ext uri="{FF2B5EF4-FFF2-40B4-BE49-F238E27FC236}">
                  <a16:creationId xmlns:a16="http://schemas.microsoft.com/office/drawing/2014/main" xmlns="" id="{1A4E53E4-FBCD-41BD-BE89-71F8749970BF}"/>
                </a:ext>
              </a:extLst>
            </p:cNvPr>
            <p:cNvSpPr/>
            <p:nvPr userDrawn="1"/>
          </p:nvSpPr>
          <p:spPr bwMode="auto">
            <a:xfrm>
              <a:off x="1715406" y="4629150"/>
              <a:ext cx="25400" cy="15875"/>
            </a:xfrm>
            <a:custGeom>
              <a:avLst/>
              <a:gdLst>
                <a:gd name="T0" fmla="*/ 7 w 8"/>
                <a:gd name="T1" fmla="*/ 1 h 5"/>
                <a:gd name="T2" fmla="*/ 1 w 8"/>
                <a:gd name="T3" fmla="*/ 1 h 5"/>
                <a:gd name="T4" fmla="*/ 2 w 8"/>
                <a:gd name="T5" fmla="*/ 4 h 5"/>
                <a:gd name="T6" fmla="*/ 7 w 8"/>
                <a:gd name="T7" fmla="*/ 4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5" y="0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3" name="i$lîḓe">
              <a:extLst>
                <a:ext uri="{FF2B5EF4-FFF2-40B4-BE49-F238E27FC236}">
                  <a16:creationId xmlns:a16="http://schemas.microsoft.com/office/drawing/2014/main" xmlns="" id="{F1EDF0F8-228A-4796-A3F9-B88AE5B02E29}"/>
                </a:ext>
              </a:extLst>
            </p:cNvPr>
            <p:cNvSpPr/>
            <p:nvPr userDrawn="1"/>
          </p:nvSpPr>
          <p:spPr bwMode="auto">
            <a:xfrm>
              <a:off x="1045481" y="4213225"/>
              <a:ext cx="781050" cy="455613"/>
            </a:xfrm>
            <a:custGeom>
              <a:avLst/>
              <a:gdLst>
                <a:gd name="T0" fmla="*/ 0 w 492"/>
                <a:gd name="T1" fmla="*/ 276 h 287"/>
                <a:gd name="T2" fmla="*/ 14 w 492"/>
                <a:gd name="T3" fmla="*/ 287 h 287"/>
                <a:gd name="T4" fmla="*/ 492 w 492"/>
                <a:gd name="T5" fmla="*/ 11 h 287"/>
                <a:gd name="T6" fmla="*/ 476 w 492"/>
                <a:gd name="T7" fmla="*/ 0 h 287"/>
                <a:gd name="T8" fmla="*/ 0 w 492"/>
                <a:gd name="T9" fmla="*/ 27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7">
                  <a:moveTo>
                    <a:pt x="0" y="276"/>
                  </a:moveTo>
                  <a:lnTo>
                    <a:pt x="14" y="287"/>
                  </a:lnTo>
                  <a:lnTo>
                    <a:pt x="492" y="11"/>
                  </a:lnTo>
                  <a:lnTo>
                    <a:pt x="476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4" name="ïŝļidè">
              <a:extLst>
                <a:ext uri="{FF2B5EF4-FFF2-40B4-BE49-F238E27FC236}">
                  <a16:creationId xmlns:a16="http://schemas.microsoft.com/office/drawing/2014/main" xmlns="" id="{4822F163-1936-4809-AAC8-CF988F055ACB}"/>
                </a:ext>
              </a:extLst>
            </p:cNvPr>
            <p:cNvSpPr/>
            <p:nvPr userDrawn="1"/>
          </p:nvSpPr>
          <p:spPr bwMode="auto">
            <a:xfrm>
              <a:off x="1097868" y="4246563"/>
              <a:ext cx="782638" cy="450850"/>
            </a:xfrm>
            <a:custGeom>
              <a:avLst/>
              <a:gdLst>
                <a:gd name="T0" fmla="*/ 0 w 493"/>
                <a:gd name="T1" fmla="*/ 276 h 284"/>
                <a:gd name="T2" fmla="*/ 15 w 493"/>
                <a:gd name="T3" fmla="*/ 284 h 284"/>
                <a:gd name="T4" fmla="*/ 493 w 493"/>
                <a:gd name="T5" fmla="*/ 8 h 284"/>
                <a:gd name="T6" fmla="*/ 478 w 493"/>
                <a:gd name="T7" fmla="*/ 0 h 284"/>
                <a:gd name="T8" fmla="*/ 0 w 493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3" h="284">
                  <a:moveTo>
                    <a:pt x="0" y="276"/>
                  </a:moveTo>
                  <a:lnTo>
                    <a:pt x="15" y="284"/>
                  </a:lnTo>
                  <a:lnTo>
                    <a:pt x="493" y="8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5" name="íşļíďe">
              <a:extLst>
                <a:ext uri="{FF2B5EF4-FFF2-40B4-BE49-F238E27FC236}">
                  <a16:creationId xmlns:a16="http://schemas.microsoft.com/office/drawing/2014/main" xmlns="" id="{E03347DA-1DE0-4B94-B4E1-7E96A7DE1792}"/>
                </a:ext>
              </a:extLst>
            </p:cNvPr>
            <p:cNvSpPr/>
            <p:nvPr userDrawn="1"/>
          </p:nvSpPr>
          <p:spPr bwMode="auto">
            <a:xfrm>
              <a:off x="1602693" y="4522788"/>
              <a:ext cx="280988" cy="179388"/>
            </a:xfrm>
            <a:custGeom>
              <a:avLst/>
              <a:gdLst>
                <a:gd name="T0" fmla="*/ 6 w 85"/>
                <a:gd name="T1" fmla="*/ 8 h 54"/>
                <a:gd name="T2" fmla="*/ 12 w 85"/>
                <a:gd name="T3" fmla="*/ 11 h 54"/>
                <a:gd name="T4" fmla="*/ 1 w 85"/>
                <a:gd name="T5" fmla="*/ 26 h 54"/>
                <a:gd name="T6" fmla="*/ 12 w 85"/>
                <a:gd name="T7" fmla="*/ 42 h 54"/>
                <a:gd name="T8" fmla="*/ 1 w 85"/>
                <a:gd name="T9" fmla="*/ 26 h 54"/>
                <a:gd name="T10" fmla="*/ 12 w 85"/>
                <a:gd name="T11" fmla="*/ 11 h 54"/>
                <a:gd name="T12" fmla="*/ 39 w 85"/>
                <a:gd name="T13" fmla="*/ 5 h 54"/>
                <a:gd name="T14" fmla="*/ 65 w 85"/>
                <a:gd name="T15" fmla="*/ 11 h 54"/>
                <a:gd name="T16" fmla="*/ 76 w 85"/>
                <a:gd name="T17" fmla="*/ 27 h 54"/>
                <a:gd name="T18" fmla="*/ 65 w 85"/>
                <a:gd name="T19" fmla="*/ 42 h 54"/>
                <a:gd name="T20" fmla="*/ 71 w 85"/>
                <a:gd name="T21" fmla="*/ 46 h 54"/>
                <a:gd name="T22" fmla="*/ 38 w 85"/>
                <a:gd name="T23" fmla="*/ 54 h 54"/>
                <a:gd name="T24" fmla="*/ 5 w 85"/>
                <a:gd name="T25" fmla="*/ 46 h 54"/>
                <a:gd name="T26" fmla="*/ 38 w 85"/>
                <a:gd name="T27" fmla="*/ 54 h 54"/>
                <a:gd name="T28" fmla="*/ 71 w 85"/>
                <a:gd name="T29" fmla="*/ 46 h 54"/>
                <a:gd name="T30" fmla="*/ 85 w 85"/>
                <a:gd name="T31" fmla="*/ 27 h 54"/>
                <a:gd name="T32" fmla="*/ 72 w 85"/>
                <a:gd name="T33" fmla="*/ 8 h 54"/>
                <a:gd name="T34" fmla="*/ 39 w 85"/>
                <a:gd name="T35" fmla="*/ 0 h 54"/>
                <a:gd name="T36" fmla="*/ 6 w 85"/>
                <a:gd name="T37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54">
                  <a:moveTo>
                    <a:pt x="6" y="8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5" y="15"/>
                    <a:pt x="1" y="21"/>
                    <a:pt x="1" y="26"/>
                  </a:cubicBezTo>
                  <a:cubicBezTo>
                    <a:pt x="0" y="32"/>
                    <a:pt x="4" y="38"/>
                    <a:pt x="12" y="42"/>
                  </a:cubicBezTo>
                  <a:cubicBezTo>
                    <a:pt x="4" y="38"/>
                    <a:pt x="0" y="32"/>
                    <a:pt x="1" y="26"/>
                  </a:cubicBezTo>
                  <a:cubicBezTo>
                    <a:pt x="1" y="21"/>
                    <a:pt x="5" y="15"/>
                    <a:pt x="12" y="11"/>
                  </a:cubicBezTo>
                  <a:cubicBezTo>
                    <a:pt x="19" y="7"/>
                    <a:pt x="29" y="5"/>
                    <a:pt x="39" y="5"/>
                  </a:cubicBezTo>
                  <a:cubicBezTo>
                    <a:pt x="49" y="5"/>
                    <a:pt x="58" y="7"/>
                    <a:pt x="65" y="11"/>
                  </a:cubicBezTo>
                  <a:cubicBezTo>
                    <a:pt x="72" y="15"/>
                    <a:pt x="76" y="21"/>
                    <a:pt x="76" y="27"/>
                  </a:cubicBezTo>
                  <a:cubicBezTo>
                    <a:pt x="76" y="33"/>
                    <a:pt x="72" y="38"/>
                    <a:pt x="65" y="42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63" y="51"/>
                    <a:pt x="51" y="54"/>
                    <a:pt x="38" y="54"/>
                  </a:cubicBezTo>
                  <a:cubicBezTo>
                    <a:pt x="26" y="54"/>
                    <a:pt x="14" y="51"/>
                    <a:pt x="5" y="46"/>
                  </a:cubicBezTo>
                  <a:cubicBezTo>
                    <a:pt x="14" y="51"/>
                    <a:pt x="26" y="54"/>
                    <a:pt x="38" y="54"/>
                  </a:cubicBezTo>
                  <a:cubicBezTo>
                    <a:pt x="51" y="54"/>
                    <a:pt x="63" y="51"/>
                    <a:pt x="71" y="46"/>
                  </a:cubicBezTo>
                  <a:cubicBezTo>
                    <a:pt x="80" y="41"/>
                    <a:pt x="85" y="34"/>
                    <a:pt x="85" y="27"/>
                  </a:cubicBezTo>
                  <a:cubicBezTo>
                    <a:pt x="85" y="19"/>
                    <a:pt x="80" y="13"/>
                    <a:pt x="72" y="8"/>
                  </a:cubicBezTo>
                  <a:cubicBezTo>
                    <a:pt x="63" y="2"/>
                    <a:pt x="51" y="0"/>
                    <a:pt x="39" y="0"/>
                  </a:cubicBezTo>
                  <a:cubicBezTo>
                    <a:pt x="26" y="0"/>
                    <a:pt x="14" y="2"/>
                    <a:pt x="6" y="8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6" name="îsļíḋé">
              <a:extLst>
                <a:ext uri="{FF2B5EF4-FFF2-40B4-BE49-F238E27FC236}">
                  <a16:creationId xmlns:a16="http://schemas.microsoft.com/office/drawing/2014/main" xmlns="" id="{EFB6C8A1-3B03-45AF-A3B8-3517C40BCBA0}"/>
                </a:ext>
              </a:extLst>
            </p:cNvPr>
            <p:cNvSpPr/>
            <p:nvPr userDrawn="1"/>
          </p:nvSpPr>
          <p:spPr bwMode="auto">
            <a:xfrm>
              <a:off x="1572531" y="4549775"/>
              <a:ext cx="265113" cy="152400"/>
            </a:xfrm>
            <a:custGeom>
              <a:avLst/>
              <a:gdLst>
                <a:gd name="T0" fmla="*/ 15 w 80"/>
                <a:gd name="T1" fmla="*/ 0 h 46"/>
                <a:gd name="T2" fmla="*/ 1 w 80"/>
                <a:gd name="T3" fmla="*/ 18 h 46"/>
                <a:gd name="T4" fmla="*/ 14 w 80"/>
                <a:gd name="T5" fmla="*/ 38 h 46"/>
                <a:gd name="T6" fmla="*/ 47 w 80"/>
                <a:gd name="T7" fmla="*/ 46 h 46"/>
                <a:gd name="T8" fmla="*/ 80 w 80"/>
                <a:gd name="T9" fmla="*/ 38 h 46"/>
                <a:gd name="T10" fmla="*/ 74 w 80"/>
                <a:gd name="T11" fmla="*/ 34 h 46"/>
                <a:gd name="T12" fmla="*/ 47 w 80"/>
                <a:gd name="T13" fmla="*/ 41 h 46"/>
                <a:gd name="T14" fmla="*/ 21 w 80"/>
                <a:gd name="T15" fmla="*/ 34 h 46"/>
                <a:gd name="T16" fmla="*/ 10 w 80"/>
                <a:gd name="T17" fmla="*/ 18 h 46"/>
                <a:gd name="T18" fmla="*/ 21 w 80"/>
                <a:gd name="T19" fmla="*/ 3 h 46"/>
                <a:gd name="T20" fmla="*/ 15 w 80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46">
                  <a:moveTo>
                    <a:pt x="15" y="0"/>
                  </a:moveTo>
                  <a:cubicBezTo>
                    <a:pt x="6" y="5"/>
                    <a:pt x="1" y="11"/>
                    <a:pt x="1" y="18"/>
                  </a:cubicBezTo>
                  <a:cubicBezTo>
                    <a:pt x="0" y="25"/>
                    <a:pt x="5" y="33"/>
                    <a:pt x="14" y="38"/>
                  </a:cubicBezTo>
                  <a:cubicBezTo>
                    <a:pt x="23" y="43"/>
                    <a:pt x="35" y="46"/>
                    <a:pt x="47" y="46"/>
                  </a:cubicBezTo>
                  <a:cubicBezTo>
                    <a:pt x="60" y="46"/>
                    <a:pt x="72" y="43"/>
                    <a:pt x="80" y="38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67" y="38"/>
                    <a:pt x="57" y="41"/>
                    <a:pt x="47" y="41"/>
                  </a:cubicBezTo>
                  <a:cubicBezTo>
                    <a:pt x="37" y="41"/>
                    <a:pt x="28" y="38"/>
                    <a:pt x="21" y="34"/>
                  </a:cubicBezTo>
                  <a:cubicBezTo>
                    <a:pt x="13" y="30"/>
                    <a:pt x="9" y="24"/>
                    <a:pt x="10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7" name="íṣḻïdé">
              <a:extLst>
                <a:ext uri="{FF2B5EF4-FFF2-40B4-BE49-F238E27FC236}">
                  <a16:creationId xmlns:a16="http://schemas.microsoft.com/office/drawing/2014/main" xmlns="" id="{3DC58A0F-D951-42A5-8365-883AAD5B0FF0}"/>
                </a:ext>
              </a:extLst>
            </p:cNvPr>
            <p:cNvSpPr/>
            <p:nvPr userDrawn="1"/>
          </p:nvSpPr>
          <p:spPr bwMode="auto">
            <a:xfrm>
              <a:off x="1150256" y="4276725"/>
              <a:ext cx="785813" cy="454025"/>
            </a:xfrm>
            <a:custGeom>
              <a:avLst/>
              <a:gdLst>
                <a:gd name="T0" fmla="*/ 0 w 495"/>
                <a:gd name="T1" fmla="*/ 276 h 286"/>
                <a:gd name="T2" fmla="*/ 17 w 495"/>
                <a:gd name="T3" fmla="*/ 286 h 286"/>
                <a:gd name="T4" fmla="*/ 495 w 495"/>
                <a:gd name="T5" fmla="*/ 10 h 286"/>
                <a:gd name="T6" fmla="*/ 478 w 495"/>
                <a:gd name="T7" fmla="*/ 0 h 286"/>
                <a:gd name="T8" fmla="*/ 0 w 495"/>
                <a:gd name="T9" fmla="*/ 27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6">
                  <a:moveTo>
                    <a:pt x="0" y="276"/>
                  </a:moveTo>
                  <a:lnTo>
                    <a:pt x="17" y="286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8" name="ïsḷiḑe">
              <a:extLst>
                <a:ext uri="{FF2B5EF4-FFF2-40B4-BE49-F238E27FC236}">
                  <a16:creationId xmlns:a16="http://schemas.microsoft.com/office/drawing/2014/main" xmlns="" id="{369BF60F-FA3D-4E8A-89FB-009E73497B9E}"/>
                </a:ext>
              </a:extLst>
            </p:cNvPr>
            <p:cNvSpPr/>
            <p:nvPr userDrawn="1"/>
          </p:nvSpPr>
          <p:spPr bwMode="auto">
            <a:xfrm>
              <a:off x="1467756" y="4727575"/>
              <a:ext cx="25400" cy="17463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5 h 5"/>
                <a:gd name="T4" fmla="*/ 6 w 8"/>
                <a:gd name="T5" fmla="*/ 2 h 5"/>
                <a:gd name="T6" fmla="*/ 1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3" y="5"/>
                    <a:pt x="5" y="5"/>
                    <a:pt x="7" y="5"/>
                  </a:cubicBezTo>
                  <a:cubicBezTo>
                    <a:pt x="8" y="4"/>
                    <a:pt x="8" y="3"/>
                    <a:pt x="6" y="2"/>
                  </a:cubicBezTo>
                  <a:cubicBezTo>
                    <a:pt x="5" y="1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9" name="ïṣ1íḍé">
              <a:extLst>
                <a:ext uri="{FF2B5EF4-FFF2-40B4-BE49-F238E27FC236}">
                  <a16:creationId xmlns:a16="http://schemas.microsoft.com/office/drawing/2014/main" xmlns="" id="{76A949AD-FF28-4C51-BBFD-C5C57D5CBF02}"/>
                </a:ext>
              </a:extLst>
            </p:cNvPr>
            <p:cNvSpPr/>
            <p:nvPr userDrawn="1"/>
          </p:nvSpPr>
          <p:spPr bwMode="auto">
            <a:xfrm>
              <a:off x="1348693" y="4687888"/>
              <a:ext cx="250825" cy="142875"/>
            </a:xfrm>
            <a:custGeom>
              <a:avLst/>
              <a:gdLst>
                <a:gd name="T0" fmla="*/ 11 w 76"/>
                <a:gd name="T1" fmla="*/ 37 h 43"/>
                <a:gd name="T2" fmla="*/ 0 w 76"/>
                <a:gd name="T3" fmla="*/ 21 h 43"/>
                <a:gd name="T4" fmla="*/ 11 w 76"/>
                <a:gd name="T5" fmla="*/ 6 h 43"/>
                <a:gd name="T6" fmla="*/ 38 w 76"/>
                <a:gd name="T7" fmla="*/ 0 h 43"/>
                <a:gd name="T8" fmla="*/ 65 w 76"/>
                <a:gd name="T9" fmla="*/ 6 h 43"/>
                <a:gd name="T10" fmla="*/ 76 w 76"/>
                <a:gd name="T11" fmla="*/ 22 h 43"/>
                <a:gd name="T12" fmla="*/ 64 w 76"/>
                <a:gd name="T13" fmla="*/ 37 h 43"/>
                <a:gd name="T14" fmla="*/ 38 w 76"/>
                <a:gd name="T15" fmla="*/ 43 h 43"/>
                <a:gd name="T16" fmla="*/ 11 w 76"/>
                <a:gd name="T17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3">
                  <a:moveTo>
                    <a:pt x="11" y="37"/>
                  </a:moveTo>
                  <a:cubicBezTo>
                    <a:pt x="4" y="33"/>
                    <a:pt x="0" y="27"/>
                    <a:pt x="0" y="21"/>
                  </a:cubicBezTo>
                  <a:cubicBezTo>
                    <a:pt x="0" y="15"/>
                    <a:pt x="4" y="10"/>
                    <a:pt x="11" y="6"/>
                  </a:cubicBezTo>
                  <a:cubicBezTo>
                    <a:pt x="18" y="2"/>
                    <a:pt x="28" y="0"/>
                    <a:pt x="38" y="0"/>
                  </a:cubicBezTo>
                  <a:cubicBezTo>
                    <a:pt x="48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7"/>
                    <a:pt x="72" y="33"/>
                    <a:pt x="64" y="37"/>
                  </a:cubicBezTo>
                  <a:cubicBezTo>
                    <a:pt x="57" y="41"/>
                    <a:pt x="48" y="43"/>
                    <a:pt x="38" y="43"/>
                  </a:cubicBezTo>
                  <a:cubicBezTo>
                    <a:pt x="28" y="43"/>
                    <a:pt x="18" y="41"/>
                    <a:pt x="11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0" name="íṥľíḓe">
              <a:extLst>
                <a:ext uri="{FF2B5EF4-FFF2-40B4-BE49-F238E27FC236}">
                  <a16:creationId xmlns:a16="http://schemas.microsoft.com/office/drawing/2014/main" xmlns="" id="{C04EAAC4-4E45-4CB7-9CFA-919103A7BF59}"/>
                </a:ext>
              </a:extLst>
            </p:cNvPr>
            <p:cNvSpPr/>
            <p:nvPr userDrawn="1"/>
          </p:nvSpPr>
          <p:spPr bwMode="auto">
            <a:xfrm>
              <a:off x="1461406" y="4776788"/>
              <a:ext cx="25400" cy="17463"/>
            </a:xfrm>
            <a:custGeom>
              <a:avLst/>
              <a:gdLst>
                <a:gd name="T0" fmla="*/ 6 w 8"/>
                <a:gd name="T1" fmla="*/ 1 h 5"/>
                <a:gd name="T2" fmla="*/ 1 w 8"/>
                <a:gd name="T3" fmla="*/ 0 h 5"/>
                <a:gd name="T4" fmla="*/ 1 w 8"/>
                <a:gd name="T5" fmla="*/ 3 h 5"/>
                <a:gd name="T6" fmla="*/ 7 w 8"/>
                <a:gd name="T7" fmla="*/ 4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4" y="0"/>
                    <a:pt x="2" y="0"/>
                    <a:pt x="1" y="0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3" y="4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1" name="íŝḷîḓê">
              <a:extLst>
                <a:ext uri="{FF2B5EF4-FFF2-40B4-BE49-F238E27FC236}">
                  <a16:creationId xmlns:a16="http://schemas.microsoft.com/office/drawing/2014/main" xmlns="" id="{D0874C65-F320-4EC4-81AA-BA470A68FBD2}"/>
                </a:ext>
              </a:extLst>
            </p:cNvPr>
            <p:cNvSpPr/>
            <p:nvPr userDrawn="1"/>
          </p:nvSpPr>
          <p:spPr bwMode="auto">
            <a:xfrm>
              <a:off x="2420256" y="4611688"/>
              <a:ext cx="320675" cy="188913"/>
            </a:xfrm>
            <a:custGeom>
              <a:avLst/>
              <a:gdLst>
                <a:gd name="T0" fmla="*/ 0 w 202"/>
                <a:gd name="T1" fmla="*/ 27 h 119"/>
                <a:gd name="T2" fmla="*/ 156 w 202"/>
                <a:gd name="T3" fmla="*/ 119 h 119"/>
                <a:gd name="T4" fmla="*/ 202 w 202"/>
                <a:gd name="T5" fmla="*/ 92 h 119"/>
                <a:gd name="T6" fmla="*/ 44 w 202"/>
                <a:gd name="T7" fmla="*/ 0 h 119"/>
                <a:gd name="T8" fmla="*/ 0 w 202"/>
                <a:gd name="T9" fmla="*/ 2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119">
                  <a:moveTo>
                    <a:pt x="0" y="27"/>
                  </a:moveTo>
                  <a:lnTo>
                    <a:pt x="156" y="119"/>
                  </a:lnTo>
                  <a:lnTo>
                    <a:pt x="202" y="92"/>
                  </a:lnTo>
                  <a:lnTo>
                    <a:pt x="44" y="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2" name="ïṧḻîde">
              <a:extLst>
                <a:ext uri="{FF2B5EF4-FFF2-40B4-BE49-F238E27FC236}">
                  <a16:creationId xmlns:a16="http://schemas.microsoft.com/office/drawing/2014/main" xmlns="" id="{ED81A290-33AF-4288-B6DA-9CA4B5590F2C}"/>
                </a:ext>
              </a:extLst>
            </p:cNvPr>
            <p:cNvSpPr/>
            <p:nvPr userDrawn="1"/>
          </p:nvSpPr>
          <p:spPr bwMode="auto">
            <a:xfrm>
              <a:off x="1348693" y="4672013"/>
              <a:ext cx="234950" cy="138113"/>
            </a:xfrm>
            <a:custGeom>
              <a:avLst/>
              <a:gdLst>
                <a:gd name="T0" fmla="*/ 5 w 71"/>
                <a:gd name="T1" fmla="*/ 7 h 42"/>
                <a:gd name="T2" fmla="*/ 11 w 71"/>
                <a:gd name="T3" fmla="*/ 11 h 42"/>
                <a:gd name="T4" fmla="*/ 0 w 71"/>
                <a:gd name="T5" fmla="*/ 26 h 42"/>
                <a:gd name="T6" fmla="*/ 11 w 71"/>
                <a:gd name="T7" fmla="*/ 42 h 42"/>
                <a:gd name="T8" fmla="*/ 0 w 71"/>
                <a:gd name="T9" fmla="*/ 26 h 42"/>
                <a:gd name="T10" fmla="*/ 11 w 71"/>
                <a:gd name="T11" fmla="*/ 11 h 42"/>
                <a:gd name="T12" fmla="*/ 38 w 71"/>
                <a:gd name="T13" fmla="*/ 5 h 42"/>
                <a:gd name="T14" fmla="*/ 65 w 71"/>
                <a:gd name="T15" fmla="*/ 11 h 42"/>
                <a:gd name="T16" fmla="*/ 71 w 71"/>
                <a:gd name="T17" fmla="*/ 7 h 42"/>
                <a:gd name="T18" fmla="*/ 38 w 71"/>
                <a:gd name="T19" fmla="*/ 0 h 42"/>
                <a:gd name="T20" fmla="*/ 5 w 71"/>
                <a:gd name="T21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42">
                  <a:moveTo>
                    <a:pt x="5" y="7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4" y="15"/>
                    <a:pt x="0" y="20"/>
                    <a:pt x="0" y="26"/>
                  </a:cubicBezTo>
                  <a:cubicBezTo>
                    <a:pt x="0" y="32"/>
                    <a:pt x="4" y="38"/>
                    <a:pt x="11" y="42"/>
                  </a:cubicBezTo>
                  <a:cubicBezTo>
                    <a:pt x="4" y="38"/>
                    <a:pt x="0" y="32"/>
                    <a:pt x="0" y="26"/>
                  </a:cubicBezTo>
                  <a:cubicBezTo>
                    <a:pt x="0" y="20"/>
                    <a:pt x="4" y="15"/>
                    <a:pt x="11" y="11"/>
                  </a:cubicBezTo>
                  <a:cubicBezTo>
                    <a:pt x="18" y="7"/>
                    <a:pt x="28" y="5"/>
                    <a:pt x="38" y="5"/>
                  </a:cubicBezTo>
                  <a:cubicBezTo>
                    <a:pt x="48" y="5"/>
                    <a:pt x="58" y="7"/>
                    <a:pt x="65" y="1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2" y="2"/>
                    <a:pt x="50" y="0"/>
                    <a:pt x="38" y="0"/>
                  </a:cubicBezTo>
                  <a:cubicBezTo>
                    <a:pt x="26" y="0"/>
                    <a:pt x="14" y="2"/>
                    <a:pt x="5" y="7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3" name="i$ļiḋe">
              <a:extLst>
                <a:ext uri="{FF2B5EF4-FFF2-40B4-BE49-F238E27FC236}">
                  <a16:creationId xmlns:a16="http://schemas.microsoft.com/office/drawing/2014/main" xmlns="" id="{FF0C8E9F-B0EF-4447-8678-35BE5274322F}"/>
                </a:ext>
              </a:extLst>
            </p:cNvPr>
            <p:cNvSpPr/>
            <p:nvPr userDrawn="1"/>
          </p:nvSpPr>
          <p:spPr bwMode="auto">
            <a:xfrm>
              <a:off x="2463118" y="4730750"/>
              <a:ext cx="198438" cy="115888"/>
            </a:xfrm>
            <a:custGeom>
              <a:avLst/>
              <a:gdLst>
                <a:gd name="T0" fmla="*/ 0 w 125"/>
                <a:gd name="T1" fmla="*/ 25 h 73"/>
                <a:gd name="T2" fmla="*/ 79 w 125"/>
                <a:gd name="T3" fmla="*/ 73 h 73"/>
                <a:gd name="T4" fmla="*/ 125 w 125"/>
                <a:gd name="T5" fmla="*/ 46 h 73"/>
                <a:gd name="T6" fmla="*/ 44 w 125"/>
                <a:gd name="T7" fmla="*/ 0 h 73"/>
                <a:gd name="T8" fmla="*/ 0 w 125"/>
                <a:gd name="T9" fmla="*/ 2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73">
                  <a:moveTo>
                    <a:pt x="0" y="25"/>
                  </a:moveTo>
                  <a:lnTo>
                    <a:pt x="79" y="73"/>
                  </a:lnTo>
                  <a:lnTo>
                    <a:pt x="125" y="46"/>
                  </a:lnTo>
                  <a:lnTo>
                    <a:pt x="44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4" name="îslîḍè">
              <a:extLst>
                <a:ext uri="{FF2B5EF4-FFF2-40B4-BE49-F238E27FC236}">
                  <a16:creationId xmlns:a16="http://schemas.microsoft.com/office/drawing/2014/main" xmlns="" id="{76358BB0-DCBE-4E6A-AFB0-9C159D8298BB}"/>
                </a:ext>
              </a:extLst>
            </p:cNvPr>
            <p:cNvSpPr/>
            <p:nvPr userDrawn="1"/>
          </p:nvSpPr>
          <p:spPr bwMode="auto">
            <a:xfrm>
              <a:off x="2334531" y="4840288"/>
              <a:ext cx="168275" cy="95250"/>
            </a:xfrm>
            <a:custGeom>
              <a:avLst/>
              <a:gdLst>
                <a:gd name="T0" fmla="*/ 0 w 106"/>
                <a:gd name="T1" fmla="*/ 25 h 60"/>
                <a:gd name="T2" fmla="*/ 61 w 106"/>
                <a:gd name="T3" fmla="*/ 60 h 60"/>
                <a:gd name="T4" fmla="*/ 106 w 106"/>
                <a:gd name="T5" fmla="*/ 35 h 60"/>
                <a:gd name="T6" fmla="*/ 46 w 106"/>
                <a:gd name="T7" fmla="*/ 0 h 60"/>
                <a:gd name="T8" fmla="*/ 0 w 106"/>
                <a:gd name="T9" fmla="*/ 2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60">
                  <a:moveTo>
                    <a:pt x="0" y="25"/>
                  </a:moveTo>
                  <a:lnTo>
                    <a:pt x="61" y="60"/>
                  </a:lnTo>
                  <a:lnTo>
                    <a:pt x="106" y="35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5" name="iśḷiďê">
              <a:extLst>
                <a:ext uri="{FF2B5EF4-FFF2-40B4-BE49-F238E27FC236}">
                  <a16:creationId xmlns:a16="http://schemas.microsoft.com/office/drawing/2014/main" xmlns="" id="{E9F4CFF8-A453-4D8D-B4DA-45C93AA2E851}"/>
                </a:ext>
              </a:extLst>
            </p:cNvPr>
            <p:cNvSpPr/>
            <p:nvPr userDrawn="1"/>
          </p:nvSpPr>
          <p:spPr bwMode="auto">
            <a:xfrm>
              <a:off x="1605868" y="4543425"/>
              <a:ext cx="785813" cy="450850"/>
            </a:xfrm>
            <a:custGeom>
              <a:avLst/>
              <a:gdLst>
                <a:gd name="T0" fmla="*/ 0 w 495"/>
                <a:gd name="T1" fmla="*/ 274 h 284"/>
                <a:gd name="T2" fmla="*/ 17 w 495"/>
                <a:gd name="T3" fmla="*/ 284 h 284"/>
                <a:gd name="T4" fmla="*/ 495 w 495"/>
                <a:gd name="T5" fmla="*/ 8 h 284"/>
                <a:gd name="T6" fmla="*/ 478 w 495"/>
                <a:gd name="T7" fmla="*/ 0 h 284"/>
                <a:gd name="T8" fmla="*/ 0 w 495"/>
                <a:gd name="T9" fmla="*/ 27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4"/>
                  </a:moveTo>
                  <a:lnTo>
                    <a:pt x="17" y="284"/>
                  </a:lnTo>
                  <a:lnTo>
                    <a:pt x="495" y="8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6" name="i$ḻïḍè">
              <a:extLst>
                <a:ext uri="{FF2B5EF4-FFF2-40B4-BE49-F238E27FC236}">
                  <a16:creationId xmlns:a16="http://schemas.microsoft.com/office/drawing/2014/main" xmlns="" id="{55E3FB61-7D6E-497E-9EC2-09FA54589BF8}"/>
                </a:ext>
              </a:extLst>
            </p:cNvPr>
            <p:cNvSpPr/>
            <p:nvPr userDrawn="1"/>
          </p:nvSpPr>
          <p:spPr bwMode="auto">
            <a:xfrm>
              <a:off x="1678893" y="4583113"/>
              <a:ext cx="781050" cy="450850"/>
            </a:xfrm>
            <a:custGeom>
              <a:avLst/>
              <a:gdLst>
                <a:gd name="T0" fmla="*/ 0 w 492"/>
                <a:gd name="T1" fmla="*/ 276 h 284"/>
                <a:gd name="T2" fmla="*/ 14 w 492"/>
                <a:gd name="T3" fmla="*/ 284 h 284"/>
                <a:gd name="T4" fmla="*/ 492 w 492"/>
                <a:gd name="T5" fmla="*/ 10 h 284"/>
                <a:gd name="T6" fmla="*/ 478 w 492"/>
                <a:gd name="T7" fmla="*/ 0 h 284"/>
                <a:gd name="T8" fmla="*/ 0 w 492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4">
                  <a:moveTo>
                    <a:pt x="0" y="276"/>
                  </a:moveTo>
                  <a:lnTo>
                    <a:pt x="14" y="284"/>
                  </a:lnTo>
                  <a:lnTo>
                    <a:pt x="492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7" name="ï$lïḍê">
              <a:extLst>
                <a:ext uri="{FF2B5EF4-FFF2-40B4-BE49-F238E27FC236}">
                  <a16:creationId xmlns:a16="http://schemas.microsoft.com/office/drawing/2014/main" xmlns="" id="{A9B0351F-D340-47A7-884D-47D7CCC3D941}"/>
                </a:ext>
              </a:extLst>
            </p:cNvPr>
            <p:cNvSpPr/>
            <p:nvPr userDrawn="1"/>
          </p:nvSpPr>
          <p:spPr bwMode="auto">
            <a:xfrm>
              <a:off x="1820181" y="4852988"/>
              <a:ext cx="379413" cy="217488"/>
            </a:xfrm>
            <a:custGeom>
              <a:avLst/>
              <a:gdLst>
                <a:gd name="T0" fmla="*/ 0 w 239"/>
                <a:gd name="T1" fmla="*/ 129 h 137"/>
                <a:gd name="T2" fmla="*/ 15 w 239"/>
                <a:gd name="T3" fmla="*/ 137 h 137"/>
                <a:gd name="T4" fmla="*/ 239 w 239"/>
                <a:gd name="T5" fmla="*/ 8 h 137"/>
                <a:gd name="T6" fmla="*/ 225 w 239"/>
                <a:gd name="T7" fmla="*/ 0 h 137"/>
                <a:gd name="T8" fmla="*/ 0 w 239"/>
                <a:gd name="T9" fmla="*/ 12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9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5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8" name="iṡļïḋe">
              <a:extLst>
                <a:ext uri="{FF2B5EF4-FFF2-40B4-BE49-F238E27FC236}">
                  <a16:creationId xmlns:a16="http://schemas.microsoft.com/office/drawing/2014/main" xmlns="" id="{E5520017-20E4-4743-9B95-7A2B1C961686}"/>
                </a:ext>
              </a:extLst>
            </p:cNvPr>
            <p:cNvSpPr/>
            <p:nvPr userDrawn="1"/>
          </p:nvSpPr>
          <p:spPr bwMode="auto">
            <a:xfrm>
              <a:off x="1880506" y="4886325"/>
              <a:ext cx="379413" cy="220663"/>
            </a:xfrm>
            <a:custGeom>
              <a:avLst/>
              <a:gdLst>
                <a:gd name="T0" fmla="*/ 0 w 239"/>
                <a:gd name="T1" fmla="*/ 129 h 139"/>
                <a:gd name="T2" fmla="*/ 14 w 239"/>
                <a:gd name="T3" fmla="*/ 139 h 139"/>
                <a:gd name="T4" fmla="*/ 239 w 239"/>
                <a:gd name="T5" fmla="*/ 8 h 139"/>
                <a:gd name="T6" fmla="*/ 224 w 239"/>
                <a:gd name="T7" fmla="*/ 0 h 139"/>
                <a:gd name="T8" fmla="*/ 0 w 239"/>
                <a:gd name="T9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9">
                  <a:moveTo>
                    <a:pt x="0" y="129"/>
                  </a:moveTo>
                  <a:lnTo>
                    <a:pt x="14" y="139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9" name="ï$líḓé">
              <a:extLst>
                <a:ext uri="{FF2B5EF4-FFF2-40B4-BE49-F238E27FC236}">
                  <a16:creationId xmlns:a16="http://schemas.microsoft.com/office/drawing/2014/main" xmlns="" id="{7FF519DD-49A0-48C1-BAFE-38BC45370F5C}"/>
                </a:ext>
              </a:extLst>
            </p:cNvPr>
            <p:cNvSpPr/>
            <p:nvPr userDrawn="1"/>
          </p:nvSpPr>
          <p:spPr bwMode="auto">
            <a:xfrm>
              <a:off x="1939243" y="4922838"/>
              <a:ext cx="379413" cy="217488"/>
            </a:xfrm>
            <a:custGeom>
              <a:avLst/>
              <a:gdLst>
                <a:gd name="T0" fmla="*/ 0 w 239"/>
                <a:gd name="T1" fmla="*/ 128 h 137"/>
                <a:gd name="T2" fmla="*/ 15 w 239"/>
                <a:gd name="T3" fmla="*/ 137 h 137"/>
                <a:gd name="T4" fmla="*/ 239 w 239"/>
                <a:gd name="T5" fmla="*/ 8 h 137"/>
                <a:gd name="T6" fmla="*/ 224 w 239"/>
                <a:gd name="T7" fmla="*/ 0 h 137"/>
                <a:gd name="T8" fmla="*/ 0 w 239"/>
                <a:gd name="T9" fmla="*/ 12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8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0" name="ïşľíḑè">
              <a:extLst>
                <a:ext uri="{FF2B5EF4-FFF2-40B4-BE49-F238E27FC236}">
                  <a16:creationId xmlns:a16="http://schemas.microsoft.com/office/drawing/2014/main" xmlns="" id="{2AD87AFE-17E5-426A-9DF3-D0A3C624CFCC}"/>
                </a:ext>
              </a:extLst>
            </p:cNvPr>
            <p:cNvSpPr/>
            <p:nvPr userDrawn="1"/>
          </p:nvSpPr>
          <p:spPr bwMode="auto">
            <a:xfrm>
              <a:off x="1988456" y="4948238"/>
              <a:ext cx="382588" cy="220663"/>
            </a:xfrm>
            <a:custGeom>
              <a:avLst/>
              <a:gdLst>
                <a:gd name="T0" fmla="*/ 0 w 241"/>
                <a:gd name="T1" fmla="*/ 131 h 139"/>
                <a:gd name="T2" fmla="*/ 17 w 241"/>
                <a:gd name="T3" fmla="*/ 139 h 139"/>
                <a:gd name="T4" fmla="*/ 241 w 241"/>
                <a:gd name="T5" fmla="*/ 11 h 139"/>
                <a:gd name="T6" fmla="*/ 225 w 241"/>
                <a:gd name="T7" fmla="*/ 0 h 139"/>
                <a:gd name="T8" fmla="*/ 0 w 241"/>
                <a:gd name="T9" fmla="*/ 13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0" y="131"/>
                  </a:moveTo>
                  <a:lnTo>
                    <a:pt x="17" y="139"/>
                  </a:lnTo>
                  <a:lnTo>
                    <a:pt x="241" y="11"/>
                  </a:lnTo>
                  <a:lnTo>
                    <a:pt x="225" y="0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1" name="iŝḻiḑê">
              <a:extLst>
                <a:ext uri="{FF2B5EF4-FFF2-40B4-BE49-F238E27FC236}">
                  <a16:creationId xmlns:a16="http://schemas.microsoft.com/office/drawing/2014/main" xmlns="" id="{1FBA23EB-A980-459C-B96E-307479F357B3}"/>
                </a:ext>
              </a:extLst>
            </p:cNvPr>
            <p:cNvSpPr/>
            <p:nvPr userDrawn="1"/>
          </p:nvSpPr>
          <p:spPr bwMode="auto">
            <a:xfrm>
              <a:off x="774018" y="4059238"/>
              <a:ext cx="2132013" cy="1231900"/>
            </a:xfrm>
            <a:custGeom>
              <a:avLst/>
              <a:gdLst>
                <a:gd name="T0" fmla="*/ 378 w 646"/>
                <a:gd name="T1" fmla="*/ 374 h 374"/>
                <a:gd name="T2" fmla="*/ 268 w 646"/>
                <a:gd name="T3" fmla="*/ 0 h 374"/>
                <a:gd name="T4" fmla="*/ 323 w 646"/>
                <a:gd name="T5" fmla="*/ 149 h 374"/>
                <a:gd name="T6" fmla="*/ 257 w 646"/>
                <a:gd name="T7" fmla="*/ 149 h 374"/>
                <a:gd name="T8" fmla="*/ 256 w 646"/>
                <a:gd name="T9" fmla="*/ 187 h 374"/>
                <a:gd name="T10" fmla="*/ 322 w 646"/>
                <a:gd name="T11" fmla="*/ 187 h 374"/>
                <a:gd name="T12" fmla="*/ 323 w 646"/>
                <a:gd name="T13" fmla="*/ 149 h 374"/>
                <a:gd name="T14" fmla="*/ 212 w 646"/>
                <a:gd name="T15" fmla="*/ 186 h 374"/>
                <a:gd name="T16" fmla="*/ 165 w 646"/>
                <a:gd name="T17" fmla="*/ 212 h 374"/>
                <a:gd name="T18" fmla="*/ 212 w 646"/>
                <a:gd name="T19" fmla="*/ 240 h 374"/>
                <a:gd name="T20" fmla="*/ 258 w 646"/>
                <a:gd name="T21" fmla="*/ 213 h 374"/>
                <a:gd name="T22" fmla="*/ 400 w 646"/>
                <a:gd name="T23" fmla="*/ 104 h 374"/>
                <a:gd name="T24" fmla="*/ 334 w 646"/>
                <a:gd name="T25" fmla="*/ 104 h 374"/>
                <a:gd name="T26" fmla="*/ 334 w 646"/>
                <a:gd name="T27" fmla="*/ 142 h 374"/>
                <a:gd name="T28" fmla="*/ 400 w 646"/>
                <a:gd name="T29" fmla="*/ 142 h 374"/>
                <a:gd name="T30" fmla="*/ 400 w 646"/>
                <a:gd name="T31" fmla="*/ 104 h 374"/>
                <a:gd name="T32" fmla="*/ 281 w 646"/>
                <a:gd name="T33" fmla="*/ 30 h 374"/>
                <a:gd name="T34" fmla="*/ 35 w 646"/>
                <a:gd name="T35" fmla="*/ 153 h 374"/>
                <a:gd name="T36" fmla="*/ 105 w 646"/>
                <a:gd name="T37" fmla="*/ 194 h 374"/>
                <a:gd name="T38" fmla="*/ 328 w 646"/>
                <a:gd name="T39" fmla="*/ 57 h 374"/>
                <a:gd name="T40" fmla="*/ 105 w 646"/>
                <a:gd name="T41" fmla="*/ 194 h 374"/>
                <a:gd name="T42" fmla="*/ 303 w 646"/>
                <a:gd name="T43" fmla="*/ 42 h 374"/>
                <a:gd name="T44" fmla="*/ 65 w 646"/>
                <a:gd name="T45" fmla="*/ 171 h 374"/>
                <a:gd name="T46" fmla="*/ 89 w 646"/>
                <a:gd name="T47" fmla="*/ 185 h 374"/>
                <a:gd name="T48" fmla="*/ 311 w 646"/>
                <a:gd name="T49" fmla="*/ 47 h 374"/>
                <a:gd name="T50" fmla="*/ 89 w 646"/>
                <a:gd name="T51" fmla="*/ 185 h 374"/>
                <a:gd name="T52" fmla="*/ 352 w 646"/>
                <a:gd name="T53" fmla="*/ 71 h 374"/>
                <a:gd name="T54" fmla="*/ 114 w 646"/>
                <a:gd name="T55" fmla="*/ 199 h 374"/>
                <a:gd name="T56" fmla="*/ 281 w 646"/>
                <a:gd name="T57" fmla="*/ 296 h 374"/>
                <a:gd name="T58" fmla="*/ 504 w 646"/>
                <a:gd name="T59" fmla="*/ 159 h 374"/>
                <a:gd name="T60" fmla="*/ 281 w 646"/>
                <a:gd name="T61" fmla="*/ 296 h 374"/>
                <a:gd name="T62" fmla="*/ 490 w 646"/>
                <a:gd name="T63" fmla="*/ 151 h 374"/>
                <a:gd name="T64" fmla="*/ 252 w 646"/>
                <a:gd name="T65" fmla="*/ 279 h 374"/>
                <a:gd name="T66" fmla="*/ 237 w 646"/>
                <a:gd name="T67" fmla="*/ 270 h 374"/>
                <a:gd name="T68" fmla="*/ 459 w 646"/>
                <a:gd name="T69" fmla="*/ 133 h 374"/>
                <a:gd name="T70" fmla="*/ 237 w 646"/>
                <a:gd name="T71" fmla="*/ 270 h 374"/>
                <a:gd name="T72" fmla="*/ 596 w 646"/>
                <a:gd name="T73" fmla="*/ 212 h 374"/>
                <a:gd name="T74" fmla="*/ 499 w 646"/>
                <a:gd name="T75" fmla="*/ 181 h 374"/>
                <a:gd name="T76" fmla="*/ 526 w 646"/>
                <a:gd name="T77" fmla="*/ 252 h 374"/>
                <a:gd name="T78" fmla="*/ 491 w 646"/>
                <a:gd name="T79" fmla="*/ 207 h 374"/>
                <a:gd name="T80" fmla="*/ 526 w 646"/>
                <a:gd name="T81" fmla="*/ 252 h 374"/>
                <a:gd name="T82" fmla="*/ 572 w 646"/>
                <a:gd name="T83" fmla="*/ 226 h 374"/>
                <a:gd name="T84" fmla="*/ 512 w 646"/>
                <a:gd name="T85" fmla="*/ 216 h 374"/>
                <a:gd name="T86" fmla="*/ 342 w 646"/>
                <a:gd name="T87" fmla="*/ 318 h 374"/>
                <a:gd name="T88" fmla="*/ 443 w 646"/>
                <a:gd name="T89" fmla="*/ 251 h 374"/>
                <a:gd name="T90" fmla="*/ 342 w 646"/>
                <a:gd name="T91" fmla="*/ 318 h 374"/>
                <a:gd name="T92" fmla="*/ 432 w 646"/>
                <a:gd name="T93" fmla="*/ 245 h 374"/>
                <a:gd name="T94" fmla="*/ 317 w 646"/>
                <a:gd name="T95" fmla="*/ 303 h 374"/>
                <a:gd name="T96" fmla="*/ 360 w 646"/>
                <a:gd name="T97" fmla="*/ 328 h 374"/>
                <a:gd name="T98" fmla="*/ 461 w 646"/>
                <a:gd name="T99" fmla="*/ 262 h 374"/>
                <a:gd name="T100" fmla="*/ 360 w 646"/>
                <a:gd name="T101" fmla="*/ 328 h 374"/>
                <a:gd name="T102" fmla="*/ 484 w 646"/>
                <a:gd name="T103" fmla="*/ 275 h 374"/>
                <a:gd name="T104" fmla="*/ 368 w 646"/>
                <a:gd name="T105" fmla="*/ 333 h 374"/>
                <a:gd name="T106" fmla="*/ 502 w 646"/>
                <a:gd name="T107" fmla="*/ 266 h 374"/>
                <a:gd name="T108" fmla="*/ 495 w 646"/>
                <a:gd name="T109" fmla="*/ 237 h 374"/>
                <a:gd name="T110" fmla="*/ 502 w 646"/>
                <a:gd name="T111" fmla="*/ 26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6" h="374">
                  <a:moveTo>
                    <a:pt x="646" y="219"/>
                  </a:moveTo>
                  <a:cubicBezTo>
                    <a:pt x="378" y="374"/>
                    <a:pt x="378" y="374"/>
                    <a:pt x="378" y="37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646" y="219"/>
                    <a:pt x="646" y="219"/>
                    <a:pt x="646" y="219"/>
                  </a:cubicBezTo>
                  <a:moveTo>
                    <a:pt x="323" y="149"/>
                  </a:moveTo>
                  <a:cubicBezTo>
                    <a:pt x="314" y="143"/>
                    <a:pt x="302" y="141"/>
                    <a:pt x="290" y="141"/>
                  </a:cubicBezTo>
                  <a:cubicBezTo>
                    <a:pt x="277" y="141"/>
                    <a:pt x="265" y="143"/>
                    <a:pt x="257" y="149"/>
                  </a:cubicBezTo>
                  <a:cubicBezTo>
                    <a:pt x="248" y="154"/>
                    <a:pt x="243" y="160"/>
                    <a:pt x="243" y="167"/>
                  </a:cubicBezTo>
                  <a:cubicBezTo>
                    <a:pt x="242" y="174"/>
                    <a:pt x="247" y="182"/>
                    <a:pt x="256" y="187"/>
                  </a:cubicBezTo>
                  <a:cubicBezTo>
                    <a:pt x="265" y="192"/>
                    <a:pt x="277" y="195"/>
                    <a:pt x="289" y="195"/>
                  </a:cubicBezTo>
                  <a:cubicBezTo>
                    <a:pt x="302" y="195"/>
                    <a:pt x="314" y="192"/>
                    <a:pt x="322" y="187"/>
                  </a:cubicBezTo>
                  <a:cubicBezTo>
                    <a:pt x="331" y="182"/>
                    <a:pt x="336" y="175"/>
                    <a:pt x="336" y="168"/>
                  </a:cubicBezTo>
                  <a:cubicBezTo>
                    <a:pt x="336" y="160"/>
                    <a:pt x="331" y="154"/>
                    <a:pt x="323" y="149"/>
                  </a:cubicBezTo>
                  <a:moveTo>
                    <a:pt x="245" y="193"/>
                  </a:moveTo>
                  <a:cubicBezTo>
                    <a:pt x="236" y="188"/>
                    <a:pt x="224" y="186"/>
                    <a:pt x="212" y="186"/>
                  </a:cubicBezTo>
                  <a:cubicBezTo>
                    <a:pt x="200" y="186"/>
                    <a:pt x="188" y="188"/>
                    <a:pt x="179" y="193"/>
                  </a:cubicBezTo>
                  <a:cubicBezTo>
                    <a:pt x="170" y="198"/>
                    <a:pt x="166" y="205"/>
                    <a:pt x="165" y="212"/>
                  </a:cubicBezTo>
                  <a:cubicBezTo>
                    <a:pt x="165" y="219"/>
                    <a:pt x="170" y="226"/>
                    <a:pt x="179" y="232"/>
                  </a:cubicBezTo>
                  <a:cubicBezTo>
                    <a:pt x="187" y="237"/>
                    <a:pt x="199" y="240"/>
                    <a:pt x="212" y="240"/>
                  </a:cubicBezTo>
                  <a:cubicBezTo>
                    <a:pt x="224" y="240"/>
                    <a:pt x="236" y="237"/>
                    <a:pt x="245" y="232"/>
                  </a:cubicBezTo>
                  <a:cubicBezTo>
                    <a:pt x="254" y="227"/>
                    <a:pt x="258" y="220"/>
                    <a:pt x="258" y="213"/>
                  </a:cubicBezTo>
                  <a:cubicBezTo>
                    <a:pt x="259" y="205"/>
                    <a:pt x="254" y="199"/>
                    <a:pt x="245" y="193"/>
                  </a:cubicBezTo>
                  <a:moveTo>
                    <a:pt x="400" y="104"/>
                  </a:moveTo>
                  <a:cubicBezTo>
                    <a:pt x="391" y="99"/>
                    <a:pt x="380" y="96"/>
                    <a:pt x="367" y="96"/>
                  </a:cubicBezTo>
                  <a:cubicBezTo>
                    <a:pt x="355" y="96"/>
                    <a:pt x="343" y="99"/>
                    <a:pt x="334" y="104"/>
                  </a:cubicBezTo>
                  <a:cubicBezTo>
                    <a:pt x="326" y="109"/>
                    <a:pt x="321" y="115"/>
                    <a:pt x="320" y="122"/>
                  </a:cubicBezTo>
                  <a:cubicBezTo>
                    <a:pt x="320" y="130"/>
                    <a:pt x="325" y="137"/>
                    <a:pt x="334" y="142"/>
                  </a:cubicBezTo>
                  <a:cubicBezTo>
                    <a:pt x="343" y="147"/>
                    <a:pt x="355" y="150"/>
                    <a:pt x="367" y="150"/>
                  </a:cubicBezTo>
                  <a:cubicBezTo>
                    <a:pt x="379" y="150"/>
                    <a:pt x="391" y="147"/>
                    <a:pt x="400" y="142"/>
                  </a:cubicBezTo>
                  <a:cubicBezTo>
                    <a:pt x="409" y="137"/>
                    <a:pt x="414" y="130"/>
                    <a:pt x="414" y="123"/>
                  </a:cubicBezTo>
                  <a:cubicBezTo>
                    <a:pt x="414" y="116"/>
                    <a:pt x="409" y="109"/>
                    <a:pt x="400" y="104"/>
                  </a:cubicBezTo>
                  <a:moveTo>
                    <a:pt x="52" y="163"/>
                  </a:moveTo>
                  <a:cubicBezTo>
                    <a:pt x="281" y="30"/>
                    <a:pt x="281" y="30"/>
                    <a:pt x="281" y="30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52" y="163"/>
                    <a:pt x="52" y="163"/>
                    <a:pt x="52" y="163"/>
                  </a:cubicBezTo>
                  <a:moveTo>
                    <a:pt x="105" y="194"/>
                  </a:moveTo>
                  <a:cubicBezTo>
                    <a:pt x="335" y="61"/>
                    <a:pt x="335" y="61"/>
                    <a:pt x="335" y="61"/>
                  </a:cubicBezTo>
                  <a:cubicBezTo>
                    <a:pt x="328" y="57"/>
                    <a:pt x="328" y="57"/>
                    <a:pt x="328" y="57"/>
                  </a:cubicBezTo>
                  <a:cubicBezTo>
                    <a:pt x="98" y="190"/>
                    <a:pt x="98" y="190"/>
                    <a:pt x="98" y="190"/>
                  </a:cubicBezTo>
                  <a:cubicBezTo>
                    <a:pt x="105" y="194"/>
                    <a:pt x="105" y="194"/>
                    <a:pt x="105" y="194"/>
                  </a:cubicBezTo>
                  <a:moveTo>
                    <a:pt x="73" y="175"/>
                  </a:moveTo>
                  <a:cubicBezTo>
                    <a:pt x="303" y="42"/>
                    <a:pt x="303" y="42"/>
                    <a:pt x="303" y="42"/>
                  </a:cubicBezTo>
                  <a:cubicBezTo>
                    <a:pt x="295" y="38"/>
                    <a:pt x="295" y="38"/>
                    <a:pt x="295" y="38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73" y="175"/>
                    <a:pt x="73" y="175"/>
                    <a:pt x="73" y="175"/>
                  </a:cubicBezTo>
                  <a:moveTo>
                    <a:pt x="89" y="185"/>
                  </a:moveTo>
                  <a:cubicBezTo>
                    <a:pt x="319" y="52"/>
                    <a:pt x="319" y="52"/>
                    <a:pt x="319" y="52"/>
                  </a:cubicBezTo>
                  <a:cubicBezTo>
                    <a:pt x="311" y="47"/>
                    <a:pt x="311" y="47"/>
                    <a:pt x="311" y="47"/>
                  </a:cubicBezTo>
                  <a:cubicBezTo>
                    <a:pt x="82" y="180"/>
                    <a:pt x="82" y="180"/>
                    <a:pt x="82" y="180"/>
                  </a:cubicBezTo>
                  <a:cubicBezTo>
                    <a:pt x="89" y="185"/>
                    <a:pt x="89" y="185"/>
                    <a:pt x="89" y="185"/>
                  </a:cubicBezTo>
                  <a:moveTo>
                    <a:pt x="122" y="204"/>
                  </a:moveTo>
                  <a:cubicBezTo>
                    <a:pt x="352" y="71"/>
                    <a:pt x="352" y="71"/>
                    <a:pt x="352" y="71"/>
                  </a:cubicBezTo>
                  <a:cubicBezTo>
                    <a:pt x="344" y="66"/>
                    <a:pt x="344" y="66"/>
                    <a:pt x="344" y="66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122" y="204"/>
                    <a:pt x="122" y="204"/>
                    <a:pt x="122" y="204"/>
                  </a:cubicBezTo>
                  <a:moveTo>
                    <a:pt x="281" y="296"/>
                  </a:moveTo>
                  <a:cubicBezTo>
                    <a:pt x="511" y="164"/>
                    <a:pt x="511" y="164"/>
                    <a:pt x="511" y="164"/>
                  </a:cubicBezTo>
                  <a:cubicBezTo>
                    <a:pt x="504" y="159"/>
                    <a:pt x="504" y="159"/>
                    <a:pt x="504" y="159"/>
                  </a:cubicBezTo>
                  <a:cubicBezTo>
                    <a:pt x="274" y="292"/>
                    <a:pt x="274" y="292"/>
                    <a:pt x="274" y="292"/>
                  </a:cubicBezTo>
                  <a:cubicBezTo>
                    <a:pt x="281" y="296"/>
                    <a:pt x="281" y="296"/>
                    <a:pt x="281" y="296"/>
                  </a:cubicBezTo>
                  <a:moveTo>
                    <a:pt x="260" y="284"/>
                  </a:moveTo>
                  <a:cubicBezTo>
                    <a:pt x="490" y="151"/>
                    <a:pt x="490" y="151"/>
                    <a:pt x="490" y="151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252" y="279"/>
                    <a:pt x="252" y="279"/>
                    <a:pt x="252" y="279"/>
                  </a:cubicBezTo>
                  <a:cubicBezTo>
                    <a:pt x="260" y="284"/>
                    <a:pt x="260" y="284"/>
                    <a:pt x="260" y="284"/>
                  </a:cubicBezTo>
                  <a:moveTo>
                    <a:pt x="237" y="270"/>
                  </a:moveTo>
                  <a:cubicBezTo>
                    <a:pt x="467" y="138"/>
                    <a:pt x="467" y="138"/>
                    <a:pt x="467" y="138"/>
                  </a:cubicBezTo>
                  <a:cubicBezTo>
                    <a:pt x="459" y="133"/>
                    <a:pt x="459" y="133"/>
                    <a:pt x="459" y="133"/>
                  </a:cubicBezTo>
                  <a:cubicBezTo>
                    <a:pt x="229" y="266"/>
                    <a:pt x="229" y="266"/>
                    <a:pt x="229" y="266"/>
                  </a:cubicBezTo>
                  <a:cubicBezTo>
                    <a:pt x="237" y="270"/>
                    <a:pt x="237" y="270"/>
                    <a:pt x="237" y="270"/>
                  </a:cubicBezTo>
                  <a:moveTo>
                    <a:pt x="574" y="225"/>
                  </a:moveTo>
                  <a:cubicBezTo>
                    <a:pt x="596" y="212"/>
                    <a:pt x="596" y="212"/>
                    <a:pt x="596" y="212"/>
                  </a:cubicBezTo>
                  <a:cubicBezTo>
                    <a:pt x="520" y="168"/>
                    <a:pt x="520" y="168"/>
                    <a:pt x="520" y="168"/>
                  </a:cubicBezTo>
                  <a:cubicBezTo>
                    <a:pt x="499" y="181"/>
                    <a:pt x="499" y="181"/>
                    <a:pt x="499" y="181"/>
                  </a:cubicBezTo>
                  <a:cubicBezTo>
                    <a:pt x="574" y="225"/>
                    <a:pt x="574" y="225"/>
                    <a:pt x="574" y="225"/>
                  </a:cubicBezTo>
                  <a:moveTo>
                    <a:pt x="526" y="252"/>
                  </a:moveTo>
                  <a:cubicBezTo>
                    <a:pt x="548" y="240"/>
                    <a:pt x="548" y="240"/>
                    <a:pt x="548" y="240"/>
                  </a:cubicBezTo>
                  <a:cubicBezTo>
                    <a:pt x="491" y="207"/>
                    <a:pt x="491" y="207"/>
                    <a:pt x="491" y="207"/>
                  </a:cubicBezTo>
                  <a:cubicBezTo>
                    <a:pt x="469" y="219"/>
                    <a:pt x="469" y="219"/>
                    <a:pt x="469" y="219"/>
                  </a:cubicBezTo>
                  <a:cubicBezTo>
                    <a:pt x="526" y="252"/>
                    <a:pt x="526" y="252"/>
                    <a:pt x="526" y="252"/>
                  </a:cubicBezTo>
                  <a:moveTo>
                    <a:pt x="550" y="239"/>
                  </a:moveTo>
                  <a:cubicBezTo>
                    <a:pt x="572" y="226"/>
                    <a:pt x="572" y="226"/>
                    <a:pt x="572" y="226"/>
                  </a:cubicBezTo>
                  <a:cubicBezTo>
                    <a:pt x="533" y="204"/>
                    <a:pt x="533" y="204"/>
                    <a:pt x="533" y="204"/>
                  </a:cubicBezTo>
                  <a:cubicBezTo>
                    <a:pt x="512" y="216"/>
                    <a:pt x="512" y="216"/>
                    <a:pt x="512" y="216"/>
                  </a:cubicBezTo>
                  <a:cubicBezTo>
                    <a:pt x="550" y="239"/>
                    <a:pt x="550" y="239"/>
                    <a:pt x="550" y="239"/>
                  </a:cubicBezTo>
                  <a:moveTo>
                    <a:pt x="342" y="318"/>
                  </a:moveTo>
                  <a:cubicBezTo>
                    <a:pt x="450" y="255"/>
                    <a:pt x="450" y="255"/>
                    <a:pt x="450" y="255"/>
                  </a:cubicBezTo>
                  <a:cubicBezTo>
                    <a:pt x="443" y="251"/>
                    <a:pt x="443" y="251"/>
                    <a:pt x="443" y="251"/>
                  </a:cubicBezTo>
                  <a:cubicBezTo>
                    <a:pt x="335" y="313"/>
                    <a:pt x="335" y="313"/>
                    <a:pt x="335" y="313"/>
                  </a:cubicBezTo>
                  <a:cubicBezTo>
                    <a:pt x="342" y="318"/>
                    <a:pt x="342" y="318"/>
                    <a:pt x="342" y="318"/>
                  </a:cubicBezTo>
                  <a:moveTo>
                    <a:pt x="324" y="307"/>
                  </a:moveTo>
                  <a:cubicBezTo>
                    <a:pt x="432" y="245"/>
                    <a:pt x="432" y="245"/>
                    <a:pt x="432" y="245"/>
                  </a:cubicBezTo>
                  <a:cubicBezTo>
                    <a:pt x="425" y="241"/>
                    <a:pt x="425" y="241"/>
                    <a:pt x="425" y="241"/>
                  </a:cubicBezTo>
                  <a:cubicBezTo>
                    <a:pt x="317" y="303"/>
                    <a:pt x="317" y="303"/>
                    <a:pt x="317" y="303"/>
                  </a:cubicBezTo>
                  <a:cubicBezTo>
                    <a:pt x="324" y="307"/>
                    <a:pt x="324" y="307"/>
                    <a:pt x="324" y="307"/>
                  </a:cubicBezTo>
                  <a:moveTo>
                    <a:pt x="360" y="328"/>
                  </a:moveTo>
                  <a:cubicBezTo>
                    <a:pt x="468" y="266"/>
                    <a:pt x="468" y="266"/>
                    <a:pt x="468" y="266"/>
                  </a:cubicBezTo>
                  <a:cubicBezTo>
                    <a:pt x="461" y="262"/>
                    <a:pt x="461" y="262"/>
                    <a:pt x="461" y="262"/>
                  </a:cubicBezTo>
                  <a:cubicBezTo>
                    <a:pt x="353" y="324"/>
                    <a:pt x="353" y="324"/>
                    <a:pt x="353" y="324"/>
                  </a:cubicBezTo>
                  <a:cubicBezTo>
                    <a:pt x="360" y="328"/>
                    <a:pt x="360" y="328"/>
                    <a:pt x="360" y="328"/>
                  </a:cubicBezTo>
                  <a:moveTo>
                    <a:pt x="376" y="337"/>
                  </a:moveTo>
                  <a:cubicBezTo>
                    <a:pt x="484" y="275"/>
                    <a:pt x="484" y="275"/>
                    <a:pt x="484" y="275"/>
                  </a:cubicBezTo>
                  <a:cubicBezTo>
                    <a:pt x="476" y="270"/>
                    <a:pt x="476" y="270"/>
                    <a:pt x="476" y="270"/>
                  </a:cubicBezTo>
                  <a:cubicBezTo>
                    <a:pt x="368" y="333"/>
                    <a:pt x="368" y="333"/>
                    <a:pt x="368" y="333"/>
                  </a:cubicBezTo>
                  <a:cubicBezTo>
                    <a:pt x="376" y="337"/>
                    <a:pt x="376" y="337"/>
                    <a:pt x="376" y="337"/>
                  </a:cubicBezTo>
                  <a:moveTo>
                    <a:pt x="502" y="266"/>
                  </a:moveTo>
                  <a:cubicBezTo>
                    <a:pt x="524" y="254"/>
                    <a:pt x="524" y="254"/>
                    <a:pt x="524" y="254"/>
                  </a:cubicBezTo>
                  <a:cubicBezTo>
                    <a:pt x="495" y="237"/>
                    <a:pt x="495" y="237"/>
                    <a:pt x="495" y="237"/>
                  </a:cubicBezTo>
                  <a:cubicBezTo>
                    <a:pt x="473" y="249"/>
                    <a:pt x="473" y="249"/>
                    <a:pt x="473" y="249"/>
                  </a:cubicBezTo>
                  <a:cubicBezTo>
                    <a:pt x="502" y="266"/>
                    <a:pt x="502" y="266"/>
                    <a:pt x="502" y="266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2" name="iśḷíḋe">
              <a:extLst>
                <a:ext uri="{FF2B5EF4-FFF2-40B4-BE49-F238E27FC236}">
                  <a16:creationId xmlns:a16="http://schemas.microsoft.com/office/drawing/2014/main" xmlns="" id="{16AD1EB4-ADEA-431E-B007-04566F996865}"/>
                </a:ext>
              </a:extLst>
            </p:cNvPr>
            <p:cNvSpPr/>
            <p:nvPr userDrawn="1"/>
          </p:nvSpPr>
          <p:spPr bwMode="auto">
            <a:xfrm>
              <a:off x="1829706" y="4402138"/>
              <a:ext cx="69850" cy="123825"/>
            </a:xfrm>
            <a:custGeom>
              <a:avLst/>
              <a:gdLst>
                <a:gd name="T0" fmla="*/ 14 w 21"/>
                <a:gd name="T1" fmla="*/ 0 h 38"/>
                <a:gd name="T2" fmla="*/ 0 w 21"/>
                <a:gd name="T3" fmla="*/ 18 h 38"/>
                <a:gd name="T4" fmla="*/ 14 w 21"/>
                <a:gd name="T5" fmla="*/ 38 h 38"/>
                <a:gd name="T6" fmla="*/ 20 w 21"/>
                <a:gd name="T7" fmla="*/ 34 h 38"/>
                <a:gd name="T8" fmla="*/ 9 w 21"/>
                <a:gd name="T9" fmla="*/ 18 h 38"/>
                <a:gd name="T10" fmla="*/ 21 w 21"/>
                <a:gd name="T11" fmla="*/ 3 h 38"/>
                <a:gd name="T12" fmla="*/ 14 w 21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8">
                  <a:moveTo>
                    <a:pt x="14" y="0"/>
                  </a:moveTo>
                  <a:cubicBezTo>
                    <a:pt x="6" y="5"/>
                    <a:pt x="1" y="11"/>
                    <a:pt x="0" y="18"/>
                  </a:cubicBezTo>
                  <a:cubicBezTo>
                    <a:pt x="0" y="26"/>
                    <a:pt x="5" y="33"/>
                    <a:pt x="14" y="38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3" y="30"/>
                    <a:pt x="9" y="24"/>
                    <a:pt x="9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3" name="îŝḷíḍe">
              <a:extLst>
                <a:ext uri="{FF2B5EF4-FFF2-40B4-BE49-F238E27FC236}">
                  <a16:creationId xmlns:a16="http://schemas.microsoft.com/office/drawing/2014/main" xmlns="" id="{C72FA68D-6282-44AF-922F-E7528F394C6D}"/>
                </a:ext>
              </a:extLst>
            </p:cNvPr>
            <p:cNvSpPr/>
            <p:nvPr userDrawn="1"/>
          </p:nvSpPr>
          <p:spPr bwMode="auto">
            <a:xfrm>
              <a:off x="1859868" y="4391025"/>
              <a:ext cx="250825" cy="146050"/>
            </a:xfrm>
            <a:custGeom>
              <a:avLst/>
              <a:gdLst>
                <a:gd name="T0" fmla="*/ 76 w 76"/>
                <a:gd name="T1" fmla="*/ 22 h 44"/>
                <a:gd name="T2" fmla="*/ 65 w 76"/>
                <a:gd name="T3" fmla="*/ 6 h 44"/>
                <a:gd name="T4" fmla="*/ 38 w 76"/>
                <a:gd name="T5" fmla="*/ 0 h 44"/>
                <a:gd name="T6" fmla="*/ 12 w 76"/>
                <a:gd name="T7" fmla="*/ 6 h 44"/>
                <a:gd name="T8" fmla="*/ 0 w 76"/>
                <a:gd name="T9" fmla="*/ 21 h 44"/>
                <a:gd name="T10" fmla="*/ 11 w 76"/>
                <a:gd name="T11" fmla="*/ 37 h 44"/>
                <a:gd name="T12" fmla="*/ 38 w 76"/>
                <a:gd name="T13" fmla="*/ 44 h 44"/>
                <a:gd name="T14" fmla="*/ 65 w 76"/>
                <a:gd name="T15" fmla="*/ 37 h 44"/>
                <a:gd name="T16" fmla="*/ 76 w 76"/>
                <a:gd name="T17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76" y="22"/>
                  </a:moveTo>
                  <a:cubicBezTo>
                    <a:pt x="76" y="16"/>
                    <a:pt x="72" y="11"/>
                    <a:pt x="65" y="6"/>
                  </a:cubicBezTo>
                  <a:cubicBezTo>
                    <a:pt x="58" y="2"/>
                    <a:pt x="48" y="0"/>
                    <a:pt x="38" y="0"/>
                  </a:cubicBezTo>
                  <a:cubicBezTo>
                    <a:pt x="28" y="0"/>
                    <a:pt x="19" y="2"/>
                    <a:pt x="12" y="6"/>
                  </a:cubicBezTo>
                  <a:cubicBezTo>
                    <a:pt x="5" y="10"/>
                    <a:pt x="1" y="16"/>
                    <a:pt x="0" y="21"/>
                  </a:cubicBezTo>
                  <a:cubicBezTo>
                    <a:pt x="0" y="27"/>
                    <a:pt x="4" y="33"/>
                    <a:pt x="11" y="37"/>
                  </a:cubicBezTo>
                  <a:cubicBezTo>
                    <a:pt x="18" y="41"/>
                    <a:pt x="28" y="44"/>
                    <a:pt x="38" y="44"/>
                  </a:cubicBezTo>
                  <a:cubicBezTo>
                    <a:pt x="48" y="44"/>
                    <a:pt x="58" y="41"/>
                    <a:pt x="65" y="37"/>
                  </a:cubicBezTo>
                  <a:cubicBezTo>
                    <a:pt x="72" y="33"/>
                    <a:pt x="76" y="28"/>
                    <a:pt x="76" y="22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4" name="ïs1îḋé">
              <a:extLst>
                <a:ext uri="{FF2B5EF4-FFF2-40B4-BE49-F238E27FC236}">
                  <a16:creationId xmlns:a16="http://schemas.microsoft.com/office/drawing/2014/main" xmlns="" id="{AE6E7B74-89EA-4663-B271-FD5BFF64E6FA}"/>
                </a:ext>
              </a:extLst>
            </p:cNvPr>
            <p:cNvSpPr/>
            <p:nvPr userDrawn="1"/>
          </p:nvSpPr>
          <p:spPr bwMode="auto">
            <a:xfrm>
              <a:off x="988331" y="4183063"/>
              <a:ext cx="785813" cy="452438"/>
            </a:xfrm>
            <a:custGeom>
              <a:avLst/>
              <a:gdLst>
                <a:gd name="T0" fmla="*/ 0 w 495"/>
                <a:gd name="T1" fmla="*/ 277 h 285"/>
                <a:gd name="T2" fmla="*/ 17 w 495"/>
                <a:gd name="T3" fmla="*/ 285 h 285"/>
                <a:gd name="T4" fmla="*/ 495 w 495"/>
                <a:gd name="T5" fmla="*/ 9 h 285"/>
                <a:gd name="T6" fmla="*/ 478 w 495"/>
                <a:gd name="T7" fmla="*/ 0 h 285"/>
                <a:gd name="T8" fmla="*/ 0 w 495"/>
                <a:gd name="T9" fmla="*/ 27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5">
                  <a:moveTo>
                    <a:pt x="0" y="277"/>
                  </a:moveTo>
                  <a:lnTo>
                    <a:pt x="17" y="285"/>
                  </a:lnTo>
                  <a:lnTo>
                    <a:pt x="495" y="9"/>
                  </a:lnTo>
                  <a:lnTo>
                    <a:pt x="478" y="0"/>
                  </a:lnTo>
                  <a:lnTo>
                    <a:pt x="0" y="27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5" name="íṣľídè">
              <a:extLst>
                <a:ext uri="{FF2B5EF4-FFF2-40B4-BE49-F238E27FC236}">
                  <a16:creationId xmlns:a16="http://schemas.microsoft.com/office/drawing/2014/main" xmlns="" id="{D9087482-A264-4311-ADCC-A37B974DC28B}"/>
                </a:ext>
              </a:extLst>
            </p:cNvPr>
            <p:cNvSpPr/>
            <p:nvPr userDrawn="1"/>
          </p:nvSpPr>
          <p:spPr bwMode="auto">
            <a:xfrm>
              <a:off x="1318531" y="4694238"/>
              <a:ext cx="311150" cy="155575"/>
            </a:xfrm>
            <a:custGeom>
              <a:avLst/>
              <a:gdLst>
                <a:gd name="T0" fmla="*/ 14 w 94"/>
                <a:gd name="T1" fmla="*/ 0 h 47"/>
                <a:gd name="T2" fmla="*/ 0 w 94"/>
                <a:gd name="T3" fmla="*/ 19 h 47"/>
                <a:gd name="T4" fmla="*/ 14 w 94"/>
                <a:gd name="T5" fmla="*/ 39 h 47"/>
                <a:gd name="T6" fmla="*/ 47 w 94"/>
                <a:gd name="T7" fmla="*/ 47 h 47"/>
                <a:gd name="T8" fmla="*/ 80 w 94"/>
                <a:gd name="T9" fmla="*/ 39 h 47"/>
                <a:gd name="T10" fmla="*/ 93 w 94"/>
                <a:gd name="T11" fmla="*/ 20 h 47"/>
                <a:gd name="T12" fmla="*/ 80 w 94"/>
                <a:gd name="T13" fmla="*/ 0 h 47"/>
                <a:gd name="T14" fmla="*/ 74 w 94"/>
                <a:gd name="T15" fmla="*/ 4 h 47"/>
                <a:gd name="T16" fmla="*/ 85 w 94"/>
                <a:gd name="T17" fmla="*/ 20 h 47"/>
                <a:gd name="T18" fmla="*/ 73 w 94"/>
                <a:gd name="T19" fmla="*/ 35 h 47"/>
                <a:gd name="T20" fmla="*/ 47 w 94"/>
                <a:gd name="T21" fmla="*/ 41 h 47"/>
                <a:gd name="T22" fmla="*/ 20 w 94"/>
                <a:gd name="T23" fmla="*/ 35 h 47"/>
                <a:gd name="T24" fmla="*/ 9 w 94"/>
                <a:gd name="T25" fmla="*/ 19 h 47"/>
                <a:gd name="T26" fmla="*/ 20 w 94"/>
                <a:gd name="T27" fmla="*/ 4 h 47"/>
                <a:gd name="T28" fmla="*/ 14 w 94"/>
                <a:gd name="T2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47">
                  <a:moveTo>
                    <a:pt x="14" y="0"/>
                  </a:moveTo>
                  <a:cubicBezTo>
                    <a:pt x="5" y="5"/>
                    <a:pt x="1" y="12"/>
                    <a:pt x="0" y="19"/>
                  </a:cubicBezTo>
                  <a:cubicBezTo>
                    <a:pt x="0" y="26"/>
                    <a:pt x="5" y="33"/>
                    <a:pt x="14" y="39"/>
                  </a:cubicBezTo>
                  <a:cubicBezTo>
                    <a:pt x="22" y="44"/>
                    <a:pt x="34" y="47"/>
                    <a:pt x="47" y="47"/>
                  </a:cubicBezTo>
                  <a:cubicBezTo>
                    <a:pt x="59" y="47"/>
                    <a:pt x="71" y="44"/>
                    <a:pt x="80" y="39"/>
                  </a:cubicBezTo>
                  <a:cubicBezTo>
                    <a:pt x="89" y="34"/>
                    <a:pt x="93" y="27"/>
                    <a:pt x="93" y="20"/>
                  </a:cubicBezTo>
                  <a:cubicBezTo>
                    <a:pt x="94" y="12"/>
                    <a:pt x="89" y="6"/>
                    <a:pt x="80" y="0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81" y="8"/>
                    <a:pt x="85" y="14"/>
                    <a:pt x="85" y="20"/>
                  </a:cubicBezTo>
                  <a:cubicBezTo>
                    <a:pt x="85" y="25"/>
                    <a:pt x="81" y="31"/>
                    <a:pt x="73" y="35"/>
                  </a:cubicBezTo>
                  <a:cubicBezTo>
                    <a:pt x="66" y="39"/>
                    <a:pt x="57" y="41"/>
                    <a:pt x="47" y="41"/>
                  </a:cubicBezTo>
                  <a:cubicBezTo>
                    <a:pt x="37" y="41"/>
                    <a:pt x="27" y="39"/>
                    <a:pt x="20" y="35"/>
                  </a:cubicBezTo>
                  <a:cubicBezTo>
                    <a:pt x="13" y="31"/>
                    <a:pt x="9" y="25"/>
                    <a:pt x="9" y="19"/>
                  </a:cubicBezTo>
                  <a:cubicBezTo>
                    <a:pt x="9" y="13"/>
                    <a:pt x="13" y="8"/>
                    <a:pt x="20" y="4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6" name="iṥļïḑé">
              <a:extLst>
                <a:ext uri="{FF2B5EF4-FFF2-40B4-BE49-F238E27FC236}">
                  <a16:creationId xmlns:a16="http://schemas.microsoft.com/office/drawing/2014/main" xmlns="" id="{9028E693-A12E-4659-985A-2090EB611B8A}"/>
                </a:ext>
              </a:extLst>
            </p:cNvPr>
            <p:cNvSpPr/>
            <p:nvPr userDrawn="1"/>
          </p:nvSpPr>
          <p:spPr bwMode="auto">
            <a:xfrm>
              <a:off x="2321831" y="4740275"/>
              <a:ext cx="260350" cy="149225"/>
            </a:xfrm>
            <a:custGeom>
              <a:avLst/>
              <a:gdLst>
                <a:gd name="T0" fmla="*/ 0 w 164"/>
                <a:gd name="T1" fmla="*/ 25 h 94"/>
                <a:gd name="T2" fmla="*/ 119 w 164"/>
                <a:gd name="T3" fmla="*/ 94 h 94"/>
                <a:gd name="T4" fmla="*/ 164 w 164"/>
                <a:gd name="T5" fmla="*/ 69 h 94"/>
                <a:gd name="T6" fmla="*/ 46 w 164"/>
                <a:gd name="T7" fmla="*/ 0 h 94"/>
                <a:gd name="T8" fmla="*/ 0 w 164"/>
                <a:gd name="T9" fmla="*/ 2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94">
                  <a:moveTo>
                    <a:pt x="0" y="25"/>
                  </a:moveTo>
                  <a:lnTo>
                    <a:pt x="119" y="94"/>
                  </a:lnTo>
                  <a:lnTo>
                    <a:pt x="164" y="69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7" name="işḷîḓê">
              <a:extLst>
                <a:ext uri="{FF2B5EF4-FFF2-40B4-BE49-F238E27FC236}">
                  <a16:creationId xmlns:a16="http://schemas.microsoft.com/office/drawing/2014/main" xmlns="" id="{ED4F16E1-1913-4A1D-AE2F-6312792C7EC9}"/>
                </a:ext>
              </a:extLst>
            </p:cNvPr>
            <p:cNvSpPr/>
            <p:nvPr userDrawn="1"/>
          </p:nvSpPr>
          <p:spPr bwMode="auto">
            <a:xfrm>
              <a:off x="1529668" y="4497388"/>
              <a:ext cx="785813" cy="450850"/>
            </a:xfrm>
            <a:custGeom>
              <a:avLst/>
              <a:gdLst>
                <a:gd name="T0" fmla="*/ 0 w 495"/>
                <a:gd name="T1" fmla="*/ 276 h 284"/>
                <a:gd name="T2" fmla="*/ 17 w 495"/>
                <a:gd name="T3" fmla="*/ 284 h 284"/>
                <a:gd name="T4" fmla="*/ 495 w 495"/>
                <a:gd name="T5" fmla="*/ 10 h 284"/>
                <a:gd name="T6" fmla="*/ 478 w 495"/>
                <a:gd name="T7" fmla="*/ 0 h 284"/>
                <a:gd name="T8" fmla="*/ 0 w 495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6"/>
                  </a:moveTo>
                  <a:lnTo>
                    <a:pt x="17" y="284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8" name="íṣ1íḓe">
              <a:extLst>
                <a:ext uri="{FF2B5EF4-FFF2-40B4-BE49-F238E27FC236}">
                  <a16:creationId xmlns:a16="http://schemas.microsoft.com/office/drawing/2014/main" xmlns="" id="{A55DBA50-3F45-4C4A-AD51-3A641E9BB7AA}"/>
                </a:ext>
              </a:extLst>
            </p:cNvPr>
            <p:cNvSpPr/>
            <p:nvPr userDrawn="1"/>
          </p:nvSpPr>
          <p:spPr bwMode="auto">
            <a:xfrm>
              <a:off x="1728106" y="3419475"/>
              <a:ext cx="1122363" cy="800100"/>
            </a:xfrm>
            <a:custGeom>
              <a:avLst/>
              <a:gdLst>
                <a:gd name="T0" fmla="*/ 82 w 340"/>
                <a:gd name="T1" fmla="*/ 0 h 243"/>
                <a:gd name="T2" fmla="*/ 0 w 340"/>
                <a:gd name="T3" fmla="*/ 45 h 243"/>
                <a:gd name="T4" fmla="*/ 32 w 340"/>
                <a:gd name="T5" fmla="*/ 79 h 243"/>
                <a:gd name="T6" fmla="*/ 18 w 340"/>
                <a:gd name="T7" fmla="*/ 102 h 243"/>
                <a:gd name="T8" fmla="*/ 340 w 340"/>
                <a:gd name="T9" fmla="*/ 243 h 243"/>
                <a:gd name="T10" fmla="*/ 89 w 340"/>
                <a:gd name="T11" fmla="*/ 98 h 243"/>
                <a:gd name="T12" fmla="*/ 83 w 340"/>
                <a:gd name="T13" fmla="*/ 87 h 243"/>
                <a:gd name="T14" fmla="*/ 82 w 340"/>
                <a:gd name="T1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0" h="243">
                  <a:moveTo>
                    <a:pt x="82" y="0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20" y="54"/>
                    <a:pt x="32" y="66"/>
                    <a:pt x="32" y="79"/>
                  </a:cubicBezTo>
                  <a:cubicBezTo>
                    <a:pt x="32" y="87"/>
                    <a:pt x="27" y="95"/>
                    <a:pt x="18" y="102"/>
                  </a:cubicBezTo>
                  <a:cubicBezTo>
                    <a:pt x="340" y="243"/>
                    <a:pt x="340" y="243"/>
                    <a:pt x="340" y="243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5" y="95"/>
                    <a:pt x="83" y="91"/>
                    <a:pt x="83" y="87"/>
                  </a:cubicBezTo>
                  <a:cubicBezTo>
                    <a:pt x="82" y="0"/>
                    <a:pt x="82" y="0"/>
                    <a:pt x="82" y="0"/>
                  </a:cubicBezTo>
                </a:path>
              </a:pathLst>
            </a:custGeom>
            <a:solidFill>
              <a:srgbClr val="1A7CE8">
                <a:alpha val="54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9" name="îṡľíḑè">
              <a:extLst>
                <a:ext uri="{FF2B5EF4-FFF2-40B4-BE49-F238E27FC236}">
                  <a16:creationId xmlns:a16="http://schemas.microsoft.com/office/drawing/2014/main" xmlns="" id="{6A4D12EF-A3C3-48D2-A2A8-951C0E27672F}"/>
                </a:ext>
              </a:extLst>
            </p:cNvPr>
            <p:cNvSpPr/>
            <p:nvPr userDrawn="1"/>
          </p:nvSpPr>
          <p:spPr bwMode="auto">
            <a:xfrm>
              <a:off x="3817256" y="2690813"/>
              <a:ext cx="709613" cy="288925"/>
            </a:xfrm>
            <a:custGeom>
              <a:avLst/>
              <a:gdLst>
                <a:gd name="T0" fmla="*/ 107 w 215"/>
                <a:gd name="T1" fmla="*/ 0 h 88"/>
                <a:gd name="T2" fmla="*/ 0 w 215"/>
                <a:gd name="T3" fmla="*/ 44 h 88"/>
                <a:gd name="T4" fmla="*/ 0 w 215"/>
                <a:gd name="T5" fmla="*/ 49 h 88"/>
                <a:gd name="T6" fmla="*/ 60 w 215"/>
                <a:gd name="T7" fmla="*/ 83 h 88"/>
                <a:gd name="T8" fmla="*/ 107 w 215"/>
                <a:gd name="T9" fmla="*/ 88 h 88"/>
                <a:gd name="T10" fmla="*/ 215 w 215"/>
                <a:gd name="T11" fmla="*/ 44 h 88"/>
                <a:gd name="T12" fmla="*/ 107 w 215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88">
                  <a:moveTo>
                    <a:pt x="107" y="0"/>
                  </a:moveTo>
                  <a:cubicBezTo>
                    <a:pt x="48" y="0"/>
                    <a:pt x="0" y="19"/>
                    <a:pt x="0" y="44"/>
                  </a:cubicBezTo>
                  <a:cubicBezTo>
                    <a:pt x="0" y="45"/>
                    <a:pt x="0" y="47"/>
                    <a:pt x="0" y="49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74" y="86"/>
                    <a:pt x="90" y="88"/>
                    <a:pt x="107" y="88"/>
                  </a:cubicBezTo>
                  <a:cubicBezTo>
                    <a:pt x="166" y="88"/>
                    <a:pt x="215" y="68"/>
                    <a:pt x="215" y="44"/>
                  </a:cubicBezTo>
                  <a:cubicBezTo>
                    <a:pt x="215" y="19"/>
                    <a:pt x="166" y="0"/>
                    <a:pt x="107" y="0"/>
                  </a:cubicBezTo>
                </a:path>
              </a:pathLst>
            </a:custGeom>
            <a:solidFill>
              <a:srgbClr val="1A7CE8">
                <a:alpha val="54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0" name="íŝľiḓê">
              <a:extLst>
                <a:ext uri="{FF2B5EF4-FFF2-40B4-BE49-F238E27FC236}">
                  <a16:creationId xmlns:a16="http://schemas.microsoft.com/office/drawing/2014/main" xmlns="" id="{65D755AB-2408-4AB0-8C15-2032679B6FCB}"/>
                </a:ext>
              </a:extLst>
            </p:cNvPr>
            <p:cNvSpPr/>
            <p:nvPr userDrawn="1"/>
          </p:nvSpPr>
          <p:spPr bwMode="auto">
            <a:xfrm>
              <a:off x="1031193" y="3514725"/>
              <a:ext cx="755650" cy="328613"/>
            </a:xfrm>
            <a:custGeom>
              <a:avLst/>
              <a:gdLst>
                <a:gd name="T0" fmla="*/ 122 w 229"/>
                <a:gd name="T1" fmla="*/ 0 h 100"/>
                <a:gd name="T2" fmla="*/ 0 w 229"/>
                <a:gd name="T3" fmla="*/ 50 h 100"/>
                <a:gd name="T4" fmla="*/ 122 w 229"/>
                <a:gd name="T5" fmla="*/ 100 h 100"/>
                <a:gd name="T6" fmla="*/ 229 w 229"/>
                <a:gd name="T7" fmla="*/ 73 h 100"/>
                <a:gd name="T8" fmla="*/ 161 w 229"/>
                <a:gd name="T9" fmla="*/ 44 h 100"/>
                <a:gd name="T10" fmla="*/ 211 w 229"/>
                <a:gd name="T11" fmla="*/ 16 h 100"/>
                <a:gd name="T12" fmla="*/ 122 w 229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0">
                  <a:moveTo>
                    <a:pt x="122" y="0"/>
                  </a:moveTo>
                  <a:cubicBezTo>
                    <a:pt x="54" y="0"/>
                    <a:pt x="0" y="22"/>
                    <a:pt x="0" y="50"/>
                  </a:cubicBezTo>
                  <a:cubicBezTo>
                    <a:pt x="0" y="77"/>
                    <a:pt x="54" y="100"/>
                    <a:pt x="122" y="100"/>
                  </a:cubicBezTo>
                  <a:cubicBezTo>
                    <a:pt x="168" y="100"/>
                    <a:pt x="208" y="89"/>
                    <a:pt x="229" y="73"/>
                  </a:cubicBezTo>
                  <a:cubicBezTo>
                    <a:pt x="161" y="44"/>
                    <a:pt x="161" y="44"/>
                    <a:pt x="161" y="44"/>
                  </a:cubicBezTo>
                  <a:cubicBezTo>
                    <a:pt x="211" y="16"/>
                    <a:pt x="211" y="16"/>
                    <a:pt x="211" y="16"/>
                  </a:cubicBezTo>
                  <a:cubicBezTo>
                    <a:pt x="189" y="6"/>
                    <a:pt x="157" y="0"/>
                    <a:pt x="122" y="0"/>
                  </a:cubicBezTo>
                </a:path>
              </a:pathLst>
            </a:custGeom>
            <a:solidFill>
              <a:srgbClr val="1A7CE8">
                <a:alpha val="54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1" name="íṧlíḋé">
              <a:extLst>
                <a:ext uri="{FF2B5EF4-FFF2-40B4-BE49-F238E27FC236}">
                  <a16:creationId xmlns:a16="http://schemas.microsoft.com/office/drawing/2014/main" xmlns="" id="{579CC49D-E50F-4832-8E0B-8E53792C3F86}"/>
                </a:ext>
              </a:extLst>
            </p:cNvPr>
            <p:cNvSpPr/>
            <p:nvPr userDrawn="1"/>
          </p:nvSpPr>
          <p:spPr bwMode="auto">
            <a:xfrm>
              <a:off x="1563006" y="3567113"/>
              <a:ext cx="269875" cy="187325"/>
            </a:xfrm>
            <a:custGeom>
              <a:avLst/>
              <a:gdLst>
                <a:gd name="T0" fmla="*/ 50 w 82"/>
                <a:gd name="T1" fmla="*/ 0 h 57"/>
                <a:gd name="T2" fmla="*/ 0 w 82"/>
                <a:gd name="T3" fmla="*/ 28 h 57"/>
                <a:gd name="T4" fmla="*/ 68 w 82"/>
                <a:gd name="T5" fmla="*/ 57 h 57"/>
                <a:gd name="T6" fmla="*/ 82 w 82"/>
                <a:gd name="T7" fmla="*/ 34 h 57"/>
                <a:gd name="T8" fmla="*/ 50 w 82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7">
                  <a:moveTo>
                    <a:pt x="5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77" y="50"/>
                    <a:pt x="82" y="42"/>
                    <a:pt x="82" y="34"/>
                  </a:cubicBezTo>
                  <a:cubicBezTo>
                    <a:pt x="82" y="21"/>
                    <a:pt x="70" y="9"/>
                    <a:pt x="50" y="0"/>
                  </a:cubicBezTo>
                </a:path>
              </a:pathLst>
            </a:custGeom>
            <a:solidFill>
              <a:srgbClr val="8A9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2" name="íš1iḍè">
              <a:extLst>
                <a:ext uri="{FF2B5EF4-FFF2-40B4-BE49-F238E27FC236}">
                  <a16:creationId xmlns:a16="http://schemas.microsoft.com/office/drawing/2014/main" xmlns="" id="{A71658AB-45F7-4EFC-A572-4D6ED2CF94B9}"/>
                </a:ext>
              </a:extLst>
            </p:cNvPr>
            <p:cNvSpPr/>
            <p:nvPr userDrawn="1"/>
          </p:nvSpPr>
          <p:spPr bwMode="auto">
            <a:xfrm>
              <a:off x="1321706" y="3141663"/>
              <a:ext cx="495300" cy="673100"/>
            </a:xfrm>
            <a:custGeom>
              <a:avLst/>
              <a:gdLst>
                <a:gd name="T0" fmla="*/ 99 w 150"/>
                <a:gd name="T1" fmla="*/ 0 h 204"/>
                <a:gd name="T2" fmla="*/ 0 w 150"/>
                <a:gd name="T3" fmla="*/ 33 h 204"/>
                <a:gd name="T4" fmla="*/ 0 w 150"/>
                <a:gd name="T5" fmla="*/ 158 h 204"/>
                <a:gd name="T6" fmla="*/ 75 w 150"/>
                <a:gd name="T7" fmla="*/ 204 h 204"/>
                <a:gd name="T8" fmla="*/ 150 w 150"/>
                <a:gd name="T9" fmla="*/ 158 h 204"/>
                <a:gd name="T10" fmla="*/ 150 w 150"/>
                <a:gd name="T11" fmla="*/ 33 h 204"/>
                <a:gd name="T12" fmla="*/ 99 w 150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4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3" y="204"/>
                    <a:pt x="75" y="204"/>
                  </a:cubicBezTo>
                  <a:cubicBezTo>
                    <a:pt x="116" y="204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3" name="i$lídé">
              <a:extLst>
                <a:ext uri="{FF2B5EF4-FFF2-40B4-BE49-F238E27FC236}">
                  <a16:creationId xmlns:a16="http://schemas.microsoft.com/office/drawing/2014/main" xmlns="" id="{A753D9C5-97C5-4F53-B1EF-3C569AF59060}"/>
                </a:ext>
              </a:extLst>
            </p:cNvPr>
            <p:cNvSpPr/>
            <p:nvPr userDrawn="1"/>
          </p:nvSpPr>
          <p:spPr bwMode="auto">
            <a:xfrm>
              <a:off x="1321706" y="3101975"/>
              <a:ext cx="495300" cy="300038"/>
            </a:xfrm>
            <a:prstGeom prst="ellipse">
              <a:avLst/>
            </a:prstGeom>
            <a:solidFill>
              <a:srgbClr val="D3B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4" name="îsḻíḓé">
              <a:extLst>
                <a:ext uri="{FF2B5EF4-FFF2-40B4-BE49-F238E27FC236}">
                  <a16:creationId xmlns:a16="http://schemas.microsoft.com/office/drawing/2014/main" xmlns="" id="{3A3ADB74-7A3E-4516-9330-53ABA43CF3AC}"/>
                </a:ext>
              </a:extLst>
            </p:cNvPr>
            <p:cNvSpPr/>
            <p:nvPr userDrawn="1"/>
          </p:nvSpPr>
          <p:spPr bwMode="auto">
            <a:xfrm>
              <a:off x="1351868" y="3171825"/>
              <a:ext cx="431800" cy="230188"/>
            </a:xfrm>
            <a:custGeom>
              <a:avLst/>
              <a:gdLst>
                <a:gd name="T0" fmla="*/ 2 w 131"/>
                <a:gd name="T1" fmla="*/ 48 h 70"/>
                <a:gd name="T2" fmla="*/ 66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6 w 131"/>
                <a:gd name="T9" fmla="*/ 0 h 70"/>
                <a:gd name="T10" fmla="*/ 0 w 131"/>
                <a:gd name="T11" fmla="*/ 40 h 70"/>
                <a:gd name="T12" fmla="*/ 2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2" y="48"/>
                  </a:moveTo>
                  <a:cubicBezTo>
                    <a:pt x="15" y="61"/>
                    <a:pt x="39" y="70"/>
                    <a:pt x="66" y="70"/>
                  </a:cubicBezTo>
                  <a:cubicBezTo>
                    <a:pt x="93" y="70"/>
                    <a:pt x="116" y="61"/>
                    <a:pt x="129" y="48"/>
                  </a:cubicBezTo>
                  <a:cubicBezTo>
                    <a:pt x="130" y="46"/>
                    <a:pt x="131" y="43"/>
                    <a:pt x="131" y="40"/>
                  </a:cubicBezTo>
                  <a:cubicBezTo>
                    <a:pt x="131" y="18"/>
                    <a:pt x="102" y="0"/>
                    <a:pt x="66" y="0"/>
                  </a:cubicBezTo>
                  <a:cubicBezTo>
                    <a:pt x="30" y="0"/>
                    <a:pt x="0" y="18"/>
                    <a:pt x="0" y="40"/>
                  </a:cubicBezTo>
                  <a:cubicBezTo>
                    <a:pt x="0" y="43"/>
                    <a:pt x="1" y="46"/>
                    <a:pt x="2" y="48"/>
                  </a:cubicBezTo>
                  <a:close/>
                </a:path>
              </a:pathLst>
            </a:custGeom>
            <a:solidFill>
              <a:srgbClr val="752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5" name="ïŝḻiḍê">
              <a:extLst>
                <a:ext uri="{FF2B5EF4-FFF2-40B4-BE49-F238E27FC236}">
                  <a16:creationId xmlns:a16="http://schemas.microsoft.com/office/drawing/2014/main" xmlns="" id="{2C1A2F72-096E-4002-8926-9AF0B206F8EA}"/>
                </a:ext>
              </a:extLst>
            </p:cNvPr>
            <p:cNvSpPr/>
            <p:nvPr userDrawn="1"/>
          </p:nvSpPr>
          <p:spPr bwMode="auto">
            <a:xfrm>
              <a:off x="1321706" y="3101975"/>
              <a:ext cx="495300" cy="300038"/>
            </a:xfrm>
            <a:custGeom>
              <a:avLst/>
              <a:gdLst>
                <a:gd name="T0" fmla="*/ 75 w 150"/>
                <a:gd name="T1" fmla="*/ 5 h 91"/>
                <a:gd name="T2" fmla="*/ 144 w 150"/>
                <a:gd name="T3" fmla="*/ 45 h 91"/>
                <a:gd name="T4" fmla="*/ 75 w 150"/>
                <a:gd name="T5" fmla="*/ 86 h 91"/>
                <a:gd name="T6" fmla="*/ 5 w 150"/>
                <a:gd name="T7" fmla="*/ 45 h 91"/>
                <a:gd name="T8" fmla="*/ 75 w 150"/>
                <a:gd name="T9" fmla="*/ 5 h 91"/>
                <a:gd name="T10" fmla="*/ 75 w 150"/>
                <a:gd name="T11" fmla="*/ 0 h 91"/>
                <a:gd name="T12" fmla="*/ 0 w 150"/>
                <a:gd name="T13" fmla="*/ 45 h 91"/>
                <a:gd name="T14" fmla="*/ 75 w 150"/>
                <a:gd name="T15" fmla="*/ 91 h 91"/>
                <a:gd name="T16" fmla="*/ 150 w 150"/>
                <a:gd name="T17" fmla="*/ 45 h 91"/>
                <a:gd name="T18" fmla="*/ 75 w 15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1">
                  <a:moveTo>
                    <a:pt x="75" y="5"/>
                  </a:moveTo>
                  <a:cubicBezTo>
                    <a:pt x="112" y="5"/>
                    <a:pt x="144" y="23"/>
                    <a:pt x="144" y="45"/>
                  </a:cubicBezTo>
                  <a:cubicBezTo>
                    <a:pt x="144" y="67"/>
                    <a:pt x="112" y="86"/>
                    <a:pt x="75" y="86"/>
                  </a:cubicBezTo>
                  <a:cubicBezTo>
                    <a:pt x="37" y="86"/>
                    <a:pt x="5" y="67"/>
                    <a:pt x="5" y="45"/>
                  </a:cubicBezTo>
                  <a:cubicBezTo>
                    <a:pt x="5" y="23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3" y="0"/>
                    <a:pt x="0" y="20"/>
                    <a:pt x="0" y="45"/>
                  </a:cubicBezTo>
                  <a:cubicBezTo>
                    <a:pt x="0" y="71"/>
                    <a:pt x="33" y="91"/>
                    <a:pt x="75" y="91"/>
                  </a:cubicBezTo>
                  <a:cubicBezTo>
                    <a:pt x="116" y="91"/>
                    <a:pt x="150" y="71"/>
                    <a:pt x="150" y="45"/>
                  </a:cubicBezTo>
                  <a:cubicBezTo>
                    <a:pt x="150" y="20"/>
                    <a:pt x="116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6" name="išlïde">
              <a:extLst>
                <a:ext uri="{FF2B5EF4-FFF2-40B4-BE49-F238E27FC236}">
                  <a16:creationId xmlns:a16="http://schemas.microsoft.com/office/drawing/2014/main" xmlns="" id="{C16BA0E0-9C17-4C4B-9A5E-27D34823B034}"/>
                </a:ext>
              </a:extLst>
            </p:cNvPr>
            <p:cNvSpPr/>
            <p:nvPr userDrawn="1"/>
          </p:nvSpPr>
          <p:spPr bwMode="auto">
            <a:xfrm>
              <a:off x="1453468" y="2557463"/>
              <a:ext cx="323850" cy="657225"/>
            </a:xfrm>
            <a:custGeom>
              <a:avLst/>
              <a:gdLst>
                <a:gd name="T0" fmla="*/ 98 w 98"/>
                <a:gd name="T1" fmla="*/ 0 h 199"/>
                <a:gd name="T2" fmla="*/ 92 w 98"/>
                <a:gd name="T3" fmla="*/ 43 h 199"/>
                <a:gd name="T4" fmla="*/ 92 w 98"/>
                <a:gd name="T5" fmla="*/ 93 h 199"/>
                <a:gd name="T6" fmla="*/ 87 w 98"/>
                <a:gd name="T7" fmla="*/ 149 h 199"/>
                <a:gd name="T8" fmla="*/ 54 w 98"/>
                <a:gd name="T9" fmla="*/ 193 h 199"/>
                <a:gd name="T10" fmla="*/ 27 w 98"/>
                <a:gd name="T11" fmla="*/ 194 h 199"/>
                <a:gd name="T12" fmla="*/ 19 w 98"/>
                <a:gd name="T13" fmla="*/ 185 h 199"/>
                <a:gd name="T14" fmla="*/ 31 w 98"/>
                <a:gd name="T15" fmla="*/ 86 h 199"/>
                <a:gd name="T16" fmla="*/ 98 w 98"/>
                <a:gd name="T17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199">
                  <a:moveTo>
                    <a:pt x="98" y="0"/>
                  </a:moveTo>
                  <a:cubicBezTo>
                    <a:pt x="92" y="13"/>
                    <a:pt x="92" y="29"/>
                    <a:pt x="92" y="43"/>
                  </a:cubicBezTo>
                  <a:cubicBezTo>
                    <a:pt x="92" y="60"/>
                    <a:pt x="92" y="76"/>
                    <a:pt x="92" y="93"/>
                  </a:cubicBezTo>
                  <a:cubicBezTo>
                    <a:pt x="92" y="112"/>
                    <a:pt x="92" y="131"/>
                    <a:pt x="87" y="149"/>
                  </a:cubicBezTo>
                  <a:cubicBezTo>
                    <a:pt x="82" y="167"/>
                    <a:pt x="71" y="185"/>
                    <a:pt x="54" y="193"/>
                  </a:cubicBezTo>
                  <a:cubicBezTo>
                    <a:pt x="46" y="197"/>
                    <a:pt x="35" y="199"/>
                    <a:pt x="27" y="194"/>
                  </a:cubicBezTo>
                  <a:cubicBezTo>
                    <a:pt x="24" y="192"/>
                    <a:pt x="21" y="188"/>
                    <a:pt x="19" y="185"/>
                  </a:cubicBezTo>
                  <a:cubicBezTo>
                    <a:pt x="0" y="155"/>
                    <a:pt x="17" y="115"/>
                    <a:pt x="31" y="86"/>
                  </a:cubicBezTo>
                  <a:cubicBezTo>
                    <a:pt x="47" y="53"/>
                    <a:pt x="70" y="23"/>
                    <a:pt x="98" y="0"/>
                  </a:cubicBezTo>
                  <a:close/>
                </a:path>
              </a:pathLst>
            </a:custGeom>
            <a:solidFill>
              <a:srgbClr val="1A68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7" name="îşlíďê">
              <a:extLst>
                <a:ext uri="{FF2B5EF4-FFF2-40B4-BE49-F238E27FC236}">
                  <a16:creationId xmlns:a16="http://schemas.microsoft.com/office/drawing/2014/main" xmlns="" id="{1B756473-8A0A-4846-9E50-1A3766F95E03}"/>
                </a:ext>
              </a:extLst>
            </p:cNvPr>
            <p:cNvSpPr/>
            <p:nvPr userDrawn="1"/>
          </p:nvSpPr>
          <p:spPr bwMode="auto">
            <a:xfrm>
              <a:off x="1253443" y="2327275"/>
              <a:ext cx="646113" cy="1049338"/>
            </a:xfrm>
            <a:custGeom>
              <a:avLst/>
              <a:gdLst>
                <a:gd name="T0" fmla="*/ 17 w 196"/>
                <a:gd name="T1" fmla="*/ 206 h 318"/>
                <a:gd name="T2" fmla="*/ 0 w 196"/>
                <a:gd name="T3" fmla="*/ 21 h 318"/>
                <a:gd name="T4" fmla="*/ 55 w 196"/>
                <a:gd name="T5" fmla="*/ 203 h 318"/>
                <a:gd name="T6" fmla="*/ 82 w 196"/>
                <a:gd name="T7" fmla="*/ 72 h 318"/>
                <a:gd name="T8" fmla="*/ 95 w 196"/>
                <a:gd name="T9" fmla="*/ 0 h 318"/>
                <a:gd name="T10" fmla="*/ 110 w 196"/>
                <a:gd name="T11" fmla="*/ 72 h 318"/>
                <a:gd name="T12" fmla="*/ 117 w 196"/>
                <a:gd name="T13" fmla="*/ 122 h 318"/>
                <a:gd name="T14" fmla="*/ 121 w 196"/>
                <a:gd name="T15" fmla="*/ 195 h 318"/>
                <a:gd name="T16" fmla="*/ 196 w 196"/>
                <a:gd name="T17" fmla="*/ 49 h 318"/>
                <a:gd name="T18" fmla="*/ 165 w 196"/>
                <a:gd name="T19" fmla="*/ 247 h 318"/>
                <a:gd name="T20" fmla="*/ 69 w 196"/>
                <a:gd name="T21" fmla="*/ 308 h 318"/>
                <a:gd name="T22" fmla="*/ 17 w 196"/>
                <a:gd name="T23" fmla="*/ 206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318">
                  <a:moveTo>
                    <a:pt x="17" y="206"/>
                  </a:moveTo>
                  <a:cubicBezTo>
                    <a:pt x="12" y="144"/>
                    <a:pt x="15" y="81"/>
                    <a:pt x="0" y="21"/>
                  </a:cubicBezTo>
                  <a:cubicBezTo>
                    <a:pt x="42" y="71"/>
                    <a:pt x="62" y="139"/>
                    <a:pt x="55" y="203"/>
                  </a:cubicBezTo>
                  <a:cubicBezTo>
                    <a:pt x="69" y="161"/>
                    <a:pt x="82" y="117"/>
                    <a:pt x="82" y="72"/>
                  </a:cubicBezTo>
                  <a:cubicBezTo>
                    <a:pt x="82" y="51"/>
                    <a:pt x="95" y="0"/>
                    <a:pt x="95" y="0"/>
                  </a:cubicBezTo>
                  <a:cubicBezTo>
                    <a:pt x="95" y="0"/>
                    <a:pt x="103" y="48"/>
                    <a:pt x="110" y="72"/>
                  </a:cubicBezTo>
                  <a:cubicBezTo>
                    <a:pt x="115" y="88"/>
                    <a:pt x="116" y="105"/>
                    <a:pt x="117" y="122"/>
                  </a:cubicBezTo>
                  <a:cubicBezTo>
                    <a:pt x="118" y="146"/>
                    <a:pt x="120" y="171"/>
                    <a:pt x="121" y="195"/>
                  </a:cubicBezTo>
                  <a:cubicBezTo>
                    <a:pt x="142" y="134"/>
                    <a:pt x="196" y="49"/>
                    <a:pt x="196" y="49"/>
                  </a:cubicBezTo>
                  <a:cubicBezTo>
                    <a:pt x="196" y="49"/>
                    <a:pt x="176" y="210"/>
                    <a:pt x="165" y="247"/>
                  </a:cubicBezTo>
                  <a:cubicBezTo>
                    <a:pt x="153" y="289"/>
                    <a:pt x="114" y="318"/>
                    <a:pt x="69" y="308"/>
                  </a:cubicBezTo>
                  <a:cubicBezTo>
                    <a:pt x="28" y="299"/>
                    <a:pt x="20" y="240"/>
                    <a:pt x="17" y="206"/>
                  </a:cubicBezTo>
                  <a:close/>
                </a:path>
              </a:pathLst>
            </a:custGeom>
            <a:solidFill>
              <a:srgbClr val="409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8" name="ïṣḻiḋè">
              <a:extLst>
                <a:ext uri="{FF2B5EF4-FFF2-40B4-BE49-F238E27FC236}">
                  <a16:creationId xmlns:a16="http://schemas.microsoft.com/office/drawing/2014/main" xmlns="" id="{82914E17-B0C2-4487-8D7A-76A7CC2EF1D8}"/>
                </a:ext>
              </a:extLst>
            </p:cNvPr>
            <p:cNvSpPr/>
            <p:nvPr userDrawn="1"/>
          </p:nvSpPr>
          <p:spPr bwMode="auto">
            <a:xfrm>
              <a:off x="1385206" y="2673350"/>
              <a:ext cx="266700" cy="692150"/>
            </a:xfrm>
            <a:custGeom>
              <a:avLst/>
              <a:gdLst>
                <a:gd name="T0" fmla="*/ 9 w 81"/>
                <a:gd name="T1" fmla="*/ 162 h 210"/>
                <a:gd name="T2" fmla="*/ 14 w 81"/>
                <a:gd name="T3" fmla="*/ 88 h 210"/>
                <a:gd name="T4" fmla="*/ 16 w 81"/>
                <a:gd name="T5" fmla="*/ 0 h 210"/>
                <a:gd name="T6" fmla="*/ 73 w 81"/>
                <a:gd name="T7" fmla="*/ 139 h 210"/>
                <a:gd name="T8" fmla="*/ 77 w 81"/>
                <a:gd name="T9" fmla="*/ 177 h 210"/>
                <a:gd name="T10" fmla="*/ 38 w 81"/>
                <a:gd name="T11" fmla="*/ 206 h 210"/>
                <a:gd name="T12" fmla="*/ 9 w 81"/>
                <a:gd name="T13" fmla="*/ 1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210">
                  <a:moveTo>
                    <a:pt x="9" y="162"/>
                  </a:moveTo>
                  <a:cubicBezTo>
                    <a:pt x="0" y="139"/>
                    <a:pt x="8" y="113"/>
                    <a:pt x="14" y="88"/>
                  </a:cubicBezTo>
                  <a:cubicBezTo>
                    <a:pt x="20" y="59"/>
                    <a:pt x="22" y="29"/>
                    <a:pt x="16" y="0"/>
                  </a:cubicBezTo>
                  <a:cubicBezTo>
                    <a:pt x="38" y="45"/>
                    <a:pt x="56" y="92"/>
                    <a:pt x="73" y="139"/>
                  </a:cubicBezTo>
                  <a:cubicBezTo>
                    <a:pt x="77" y="152"/>
                    <a:pt x="81" y="165"/>
                    <a:pt x="77" y="177"/>
                  </a:cubicBezTo>
                  <a:cubicBezTo>
                    <a:pt x="73" y="189"/>
                    <a:pt x="52" y="210"/>
                    <a:pt x="38" y="206"/>
                  </a:cubicBezTo>
                  <a:cubicBezTo>
                    <a:pt x="27" y="203"/>
                    <a:pt x="13" y="172"/>
                    <a:pt x="9" y="162"/>
                  </a:cubicBezTo>
                  <a:close/>
                </a:path>
              </a:pathLst>
            </a:custGeom>
            <a:solidFill>
              <a:srgbClr val="4EAF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9" name="iSļïḍé">
              <a:extLst>
                <a:ext uri="{FF2B5EF4-FFF2-40B4-BE49-F238E27FC236}">
                  <a16:creationId xmlns:a16="http://schemas.microsoft.com/office/drawing/2014/main" xmlns="" id="{59BA0C1F-2E38-4F5E-9240-D58CF54B6259}"/>
                </a:ext>
              </a:extLst>
            </p:cNvPr>
            <p:cNvSpPr/>
            <p:nvPr userDrawn="1"/>
          </p:nvSpPr>
          <p:spPr bwMode="auto">
            <a:xfrm>
              <a:off x="4034743" y="2262188"/>
              <a:ext cx="495300" cy="668338"/>
            </a:xfrm>
            <a:custGeom>
              <a:avLst/>
              <a:gdLst>
                <a:gd name="T0" fmla="*/ 99 w 150"/>
                <a:gd name="T1" fmla="*/ 0 h 203"/>
                <a:gd name="T2" fmla="*/ 0 w 150"/>
                <a:gd name="T3" fmla="*/ 33 h 203"/>
                <a:gd name="T4" fmla="*/ 0 w 150"/>
                <a:gd name="T5" fmla="*/ 158 h 203"/>
                <a:gd name="T6" fmla="*/ 75 w 150"/>
                <a:gd name="T7" fmla="*/ 203 h 203"/>
                <a:gd name="T8" fmla="*/ 150 w 150"/>
                <a:gd name="T9" fmla="*/ 158 h 203"/>
                <a:gd name="T10" fmla="*/ 150 w 150"/>
                <a:gd name="T11" fmla="*/ 33 h 203"/>
                <a:gd name="T12" fmla="*/ 99 w 150"/>
                <a:gd name="T13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3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4" y="203"/>
                    <a:pt x="75" y="203"/>
                  </a:cubicBezTo>
                  <a:cubicBezTo>
                    <a:pt x="117" y="203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0" name="ïS1îḑé">
              <a:extLst>
                <a:ext uri="{FF2B5EF4-FFF2-40B4-BE49-F238E27FC236}">
                  <a16:creationId xmlns:a16="http://schemas.microsoft.com/office/drawing/2014/main" xmlns="" id="{C712C409-F4D8-43DA-ADAD-E982492C7356}"/>
                </a:ext>
              </a:extLst>
            </p:cNvPr>
            <p:cNvSpPr/>
            <p:nvPr userDrawn="1"/>
          </p:nvSpPr>
          <p:spPr bwMode="auto">
            <a:xfrm>
              <a:off x="4034743" y="2219325"/>
              <a:ext cx="495300" cy="303213"/>
            </a:xfrm>
            <a:prstGeom prst="ellipse">
              <a:avLst/>
            </a:pr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1" name="ï$ľíďé">
              <a:extLst>
                <a:ext uri="{FF2B5EF4-FFF2-40B4-BE49-F238E27FC236}">
                  <a16:creationId xmlns:a16="http://schemas.microsoft.com/office/drawing/2014/main" xmlns="" id="{6C772227-57EF-4498-BDB8-911F9B963112}"/>
                </a:ext>
              </a:extLst>
            </p:cNvPr>
            <p:cNvSpPr/>
            <p:nvPr userDrawn="1"/>
          </p:nvSpPr>
          <p:spPr bwMode="auto">
            <a:xfrm>
              <a:off x="4068081" y="2290763"/>
              <a:ext cx="431800" cy="231775"/>
            </a:xfrm>
            <a:custGeom>
              <a:avLst/>
              <a:gdLst>
                <a:gd name="T0" fmla="*/ 1 w 131"/>
                <a:gd name="T1" fmla="*/ 48 h 70"/>
                <a:gd name="T2" fmla="*/ 65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5 w 131"/>
                <a:gd name="T9" fmla="*/ 0 h 70"/>
                <a:gd name="T10" fmla="*/ 0 w 131"/>
                <a:gd name="T11" fmla="*/ 40 h 70"/>
                <a:gd name="T12" fmla="*/ 1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1" y="48"/>
                  </a:moveTo>
                  <a:cubicBezTo>
                    <a:pt x="15" y="61"/>
                    <a:pt x="38" y="70"/>
                    <a:pt x="65" y="70"/>
                  </a:cubicBezTo>
                  <a:cubicBezTo>
                    <a:pt x="92" y="70"/>
                    <a:pt x="116" y="61"/>
                    <a:pt x="129" y="48"/>
                  </a:cubicBezTo>
                  <a:cubicBezTo>
                    <a:pt x="130" y="45"/>
                    <a:pt x="131" y="42"/>
                    <a:pt x="131" y="40"/>
                  </a:cubicBezTo>
                  <a:cubicBezTo>
                    <a:pt x="131" y="18"/>
                    <a:pt x="101" y="0"/>
                    <a:pt x="65" y="0"/>
                  </a:cubicBezTo>
                  <a:cubicBezTo>
                    <a:pt x="29" y="0"/>
                    <a:pt x="0" y="18"/>
                    <a:pt x="0" y="40"/>
                  </a:cubicBezTo>
                  <a:cubicBezTo>
                    <a:pt x="0" y="42"/>
                    <a:pt x="0" y="45"/>
                    <a:pt x="1" y="48"/>
                  </a:cubicBezTo>
                  <a:close/>
                </a:path>
              </a:pathLst>
            </a:custGeom>
            <a:solidFill>
              <a:srgbClr val="A04A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2" name="i$1íḓe">
              <a:extLst>
                <a:ext uri="{FF2B5EF4-FFF2-40B4-BE49-F238E27FC236}">
                  <a16:creationId xmlns:a16="http://schemas.microsoft.com/office/drawing/2014/main" xmlns="" id="{73713242-E59E-4FC7-9DEC-B99218E24384}"/>
                </a:ext>
              </a:extLst>
            </p:cNvPr>
            <p:cNvSpPr/>
            <p:nvPr userDrawn="1"/>
          </p:nvSpPr>
          <p:spPr bwMode="auto">
            <a:xfrm>
              <a:off x="4034743" y="2219325"/>
              <a:ext cx="495300" cy="303213"/>
            </a:xfrm>
            <a:custGeom>
              <a:avLst/>
              <a:gdLst>
                <a:gd name="T0" fmla="*/ 75 w 150"/>
                <a:gd name="T1" fmla="*/ 5 h 92"/>
                <a:gd name="T2" fmla="*/ 145 w 150"/>
                <a:gd name="T3" fmla="*/ 46 h 92"/>
                <a:gd name="T4" fmla="*/ 75 w 150"/>
                <a:gd name="T5" fmla="*/ 86 h 92"/>
                <a:gd name="T6" fmla="*/ 5 w 150"/>
                <a:gd name="T7" fmla="*/ 46 h 92"/>
                <a:gd name="T8" fmla="*/ 75 w 150"/>
                <a:gd name="T9" fmla="*/ 5 h 92"/>
                <a:gd name="T10" fmla="*/ 75 w 150"/>
                <a:gd name="T11" fmla="*/ 0 h 92"/>
                <a:gd name="T12" fmla="*/ 0 w 150"/>
                <a:gd name="T13" fmla="*/ 46 h 92"/>
                <a:gd name="T14" fmla="*/ 75 w 150"/>
                <a:gd name="T15" fmla="*/ 92 h 92"/>
                <a:gd name="T16" fmla="*/ 150 w 150"/>
                <a:gd name="T17" fmla="*/ 46 h 92"/>
                <a:gd name="T18" fmla="*/ 75 w 150"/>
                <a:gd name="T1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2">
                  <a:moveTo>
                    <a:pt x="75" y="5"/>
                  </a:moveTo>
                  <a:cubicBezTo>
                    <a:pt x="113" y="5"/>
                    <a:pt x="145" y="24"/>
                    <a:pt x="145" y="46"/>
                  </a:cubicBezTo>
                  <a:cubicBezTo>
                    <a:pt x="145" y="68"/>
                    <a:pt x="113" y="86"/>
                    <a:pt x="75" y="86"/>
                  </a:cubicBezTo>
                  <a:cubicBezTo>
                    <a:pt x="37" y="86"/>
                    <a:pt x="5" y="68"/>
                    <a:pt x="5" y="46"/>
                  </a:cubicBezTo>
                  <a:cubicBezTo>
                    <a:pt x="5" y="24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4" y="0"/>
                    <a:pt x="0" y="21"/>
                    <a:pt x="0" y="46"/>
                  </a:cubicBezTo>
                  <a:cubicBezTo>
                    <a:pt x="0" y="71"/>
                    <a:pt x="34" y="92"/>
                    <a:pt x="75" y="92"/>
                  </a:cubicBezTo>
                  <a:cubicBezTo>
                    <a:pt x="117" y="92"/>
                    <a:pt x="150" y="71"/>
                    <a:pt x="150" y="46"/>
                  </a:cubicBezTo>
                  <a:cubicBezTo>
                    <a:pt x="150" y="21"/>
                    <a:pt x="117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5" name="iṡľîdê">
              <a:extLst>
                <a:ext uri="{FF2B5EF4-FFF2-40B4-BE49-F238E27FC236}">
                  <a16:creationId xmlns:a16="http://schemas.microsoft.com/office/drawing/2014/main" xmlns="" id="{2DA1D48A-E380-4B7E-96CB-3DD0DF01E012}"/>
                </a:ext>
              </a:extLst>
            </p:cNvPr>
            <p:cNvSpPr/>
            <p:nvPr userDrawn="1"/>
          </p:nvSpPr>
          <p:spPr bwMode="auto">
            <a:xfrm>
              <a:off x="1997981" y="1374775"/>
              <a:ext cx="2847975" cy="3079750"/>
            </a:xfrm>
            <a:custGeom>
              <a:avLst/>
              <a:gdLst>
                <a:gd name="T0" fmla="*/ 20 w 863"/>
                <a:gd name="T1" fmla="*/ 255 h 934"/>
                <a:gd name="T2" fmla="*/ 454 w 863"/>
                <a:gd name="T3" fmla="*/ 6 h 934"/>
                <a:gd name="T4" fmla="*/ 481 w 863"/>
                <a:gd name="T5" fmla="*/ 2 h 934"/>
                <a:gd name="T6" fmla="*/ 505 w 863"/>
                <a:gd name="T7" fmla="*/ 19 h 934"/>
                <a:gd name="T8" fmla="*/ 506 w 863"/>
                <a:gd name="T9" fmla="*/ 423 h 934"/>
                <a:gd name="T10" fmla="*/ 467 w 863"/>
                <a:gd name="T11" fmla="*/ 445 h 934"/>
                <a:gd name="T12" fmla="*/ 862 w 863"/>
                <a:gd name="T13" fmla="*/ 637 h 934"/>
                <a:gd name="T14" fmla="*/ 863 w 863"/>
                <a:gd name="T15" fmla="*/ 653 h 934"/>
                <a:gd name="T16" fmla="*/ 853 w 863"/>
                <a:gd name="T17" fmla="*/ 669 h 934"/>
                <a:gd name="T18" fmla="*/ 408 w 863"/>
                <a:gd name="T19" fmla="*/ 926 h 934"/>
                <a:gd name="T20" fmla="*/ 368 w 863"/>
                <a:gd name="T21" fmla="*/ 926 h 934"/>
                <a:gd name="T22" fmla="*/ 7 w 863"/>
                <a:gd name="T23" fmla="*/ 718 h 934"/>
                <a:gd name="T24" fmla="*/ 1 w 863"/>
                <a:gd name="T25" fmla="*/ 707 h 934"/>
                <a:gd name="T26" fmla="*/ 0 w 863"/>
                <a:gd name="T27" fmla="*/ 290 h 934"/>
                <a:gd name="T28" fmla="*/ 20 w 863"/>
                <a:gd name="T29" fmla="*/ 255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3" h="934">
                  <a:moveTo>
                    <a:pt x="20" y="255"/>
                  </a:moveTo>
                  <a:cubicBezTo>
                    <a:pt x="454" y="6"/>
                    <a:pt x="454" y="6"/>
                    <a:pt x="454" y="6"/>
                  </a:cubicBezTo>
                  <a:cubicBezTo>
                    <a:pt x="462" y="2"/>
                    <a:pt x="472" y="0"/>
                    <a:pt x="481" y="2"/>
                  </a:cubicBezTo>
                  <a:cubicBezTo>
                    <a:pt x="493" y="5"/>
                    <a:pt x="505" y="8"/>
                    <a:pt x="505" y="19"/>
                  </a:cubicBezTo>
                  <a:cubicBezTo>
                    <a:pt x="506" y="423"/>
                    <a:pt x="506" y="423"/>
                    <a:pt x="506" y="423"/>
                  </a:cubicBezTo>
                  <a:cubicBezTo>
                    <a:pt x="467" y="445"/>
                    <a:pt x="467" y="445"/>
                    <a:pt x="467" y="445"/>
                  </a:cubicBezTo>
                  <a:cubicBezTo>
                    <a:pt x="480" y="451"/>
                    <a:pt x="861" y="637"/>
                    <a:pt x="862" y="637"/>
                  </a:cubicBezTo>
                  <a:cubicBezTo>
                    <a:pt x="863" y="653"/>
                    <a:pt x="863" y="653"/>
                    <a:pt x="863" y="653"/>
                  </a:cubicBezTo>
                  <a:cubicBezTo>
                    <a:pt x="863" y="660"/>
                    <a:pt x="859" y="666"/>
                    <a:pt x="853" y="669"/>
                  </a:cubicBezTo>
                  <a:cubicBezTo>
                    <a:pt x="788" y="707"/>
                    <a:pt x="408" y="926"/>
                    <a:pt x="408" y="926"/>
                  </a:cubicBezTo>
                  <a:cubicBezTo>
                    <a:pt x="396" y="934"/>
                    <a:pt x="380" y="934"/>
                    <a:pt x="368" y="926"/>
                  </a:cubicBezTo>
                  <a:cubicBezTo>
                    <a:pt x="7" y="718"/>
                    <a:pt x="7" y="718"/>
                    <a:pt x="7" y="718"/>
                  </a:cubicBezTo>
                  <a:cubicBezTo>
                    <a:pt x="3" y="715"/>
                    <a:pt x="1" y="711"/>
                    <a:pt x="1" y="707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0" y="276"/>
                    <a:pt x="8" y="262"/>
                    <a:pt x="20" y="255"/>
                  </a:cubicBezTo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6" name="ïSľîḑé">
              <a:extLst>
                <a:ext uri="{FF2B5EF4-FFF2-40B4-BE49-F238E27FC236}">
                  <a16:creationId xmlns:a16="http://schemas.microsoft.com/office/drawing/2014/main" xmlns="" id="{9C3C3E10-795A-4E12-82D8-B4EDD450DD6C}"/>
                </a:ext>
              </a:extLst>
            </p:cNvPr>
            <p:cNvSpPr/>
            <p:nvPr userDrawn="1"/>
          </p:nvSpPr>
          <p:spPr bwMode="auto">
            <a:xfrm>
              <a:off x="2040843" y="1384300"/>
              <a:ext cx="1630363" cy="2317750"/>
            </a:xfrm>
            <a:custGeom>
              <a:avLst/>
              <a:gdLst>
                <a:gd name="T0" fmla="*/ 0 w 494"/>
                <a:gd name="T1" fmla="*/ 703 h 703"/>
                <a:gd name="T2" fmla="*/ 493 w 494"/>
                <a:gd name="T3" fmla="*/ 421 h 703"/>
                <a:gd name="T4" fmla="*/ 494 w 494"/>
                <a:gd name="T5" fmla="*/ 19 h 703"/>
                <a:gd name="T6" fmla="*/ 471 w 494"/>
                <a:gd name="T7" fmla="*/ 6 h 703"/>
                <a:gd name="T8" fmla="*/ 17 w 494"/>
                <a:gd name="T9" fmla="*/ 266 h 703"/>
                <a:gd name="T10" fmla="*/ 1 w 494"/>
                <a:gd name="T11" fmla="*/ 294 h 703"/>
                <a:gd name="T12" fmla="*/ 0 w 494"/>
                <a:gd name="T13" fmla="*/ 703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4" h="703">
                  <a:moveTo>
                    <a:pt x="0" y="703"/>
                  </a:moveTo>
                  <a:cubicBezTo>
                    <a:pt x="493" y="421"/>
                    <a:pt x="493" y="421"/>
                    <a:pt x="493" y="421"/>
                  </a:cubicBezTo>
                  <a:cubicBezTo>
                    <a:pt x="494" y="19"/>
                    <a:pt x="494" y="19"/>
                    <a:pt x="494" y="19"/>
                  </a:cubicBezTo>
                  <a:cubicBezTo>
                    <a:pt x="494" y="7"/>
                    <a:pt x="481" y="0"/>
                    <a:pt x="471" y="6"/>
                  </a:cubicBezTo>
                  <a:cubicBezTo>
                    <a:pt x="17" y="266"/>
                    <a:pt x="17" y="266"/>
                    <a:pt x="17" y="266"/>
                  </a:cubicBezTo>
                  <a:cubicBezTo>
                    <a:pt x="7" y="272"/>
                    <a:pt x="1" y="282"/>
                    <a:pt x="1" y="294"/>
                  </a:cubicBezTo>
                  <a:cubicBezTo>
                    <a:pt x="0" y="703"/>
                    <a:pt x="0" y="703"/>
                    <a:pt x="0" y="703"/>
                  </a:cubicBezTo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7" name="íṣļíďê">
              <a:extLst>
                <a:ext uri="{FF2B5EF4-FFF2-40B4-BE49-F238E27FC236}">
                  <a16:creationId xmlns:a16="http://schemas.microsoft.com/office/drawing/2014/main" xmlns="" id="{E2574749-1204-4C51-924F-33B90213A6D8}"/>
                </a:ext>
              </a:extLst>
            </p:cNvPr>
            <p:cNvSpPr/>
            <p:nvPr userDrawn="1"/>
          </p:nvSpPr>
          <p:spPr bwMode="auto">
            <a:xfrm>
              <a:off x="2110693" y="1479550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8" name="išľíḍe">
              <a:extLst>
                <a:ext uri="{FF2B5EF4-FFF2-40B4-BE49-F238E27FC236}">
                  <a16:creationId xmlns:a16="http://schemas.microsoft.com/office/drawing/2014/main" xmlns="" id="{D99373F3-FEF3-4ACD-81D8-C5CCA6FE1ECD}"/>
                </a:ext>
              </a:extLst>
            </p:cNvPr>
            <p:cNvSpPr/>
            <p:nvPr userDrawn="1"/>
          </p:nvSpPr>
          <p:spPr bwMode="auto">
            <a:xfrm>
              <a:off x="2110693" y="1479550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9" name="íšļïḓé">
              <a:extLst>
                <a:ext uri="{FF2B5EF4-FFF2-40B4-BE49-F238E27FC236}">
                  <a16:creationId xmlns:a16="http://schemas.microsoft.com/office/drawing/2014/main" xmlns="" id="{92CAFAA4-6BA1-4F3B-8C72-AEEDE70DDD83}"/>
                </a:ext>
              </a:extLst>
            </p:cNvPr>
            <p:cNvSpPr/>
            <p:nvPr userDrawn="1"/>
          </p:nvSpPr>
          <p:spPr bwMode="auto">
            <a:xfrm>
              <a:off x="2040843" y="2762250"/>
              <a:ext cx="2811463" cy="1635125"/>
            </a:xfrm>
            <a:custGeom>
              <a:avLst/>
              <a:gdLst>
                <a:gd name="T0" fmla="*/ 0 w 852"/>
                <a:gd name="T1" fmla="*/ 285 h 496"/>
                <a:gd name="T2" fmla="*/ 493 w 852"/>
                <a:gd name="T3" fmla="*/ 0 h 496"/>
                <a:gd name="T4" fmla="*/ 842 w 852"/>
                <a:gd name="T5" fmla="*/ 202 h 496"/>
                <a:gd name="T6" fmla="*/ 842 w 852"/>
                <a:gd name="T7" fmla="*/ 228 h 496"/>
                <a:gd name="T8" fmla="*/ 388 w 852"/>
                <a:gd name="T9" fmla="*/ 490 h 496"/>
                <a:gd name="T10" fmla="*/ 356 w 852"/>
                <a:gd name="T11" fmla="*/ 490 h 496"/>
                <a:gd name="T12" fmla="*/ 0 w 852"/>
                <a:gd name="T13" fmla="*/ 28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2" h="496">
                  <a:moveTo>
                    <a:pt x="0" y="285"/>
                  </a:moveTo>
                  <a:cubicBezTo>
                    <a:pt x="493" y="0"/>
                    <a:pt x="493" y="0"/>
                    <a:pt x="493" y="0"/>
                  </a:cubicBezTo>
                  <a:cubicBezTo>
                    <a:pt x="842" y="202"/>
                    <a:pt x="842" y="202"/>
                    <a:pt x="842" y="202"/>
                  </a:cubicBezTo>
                  <a:cubicBezTo>
                    <a:pt x="852" y="208"/>
                    <a:pt x="852" y="222"/>
                    <a:pt x="842" y="228"/>
                  </a:cubicBezTo>
                  <a:cubicBezTo>
                    <a:pt x="388" y="490"/>
                    <a:pt x="388" y="490"/>
                    <a:pt x="388" y="490"/>
                  </a:cubicBezTo>
                  <a:cubicBezTo>
                    <a:pt x="378" y="496"/>
                    <a:pt x="366" y="496"/>
                    <a:pt x="356" y="490"/>
                  </a:cubicBezTo>
                  <a:cubicBezTo>
                    <a:pt x="0" y="285"/>
                    <a:pt x="0" y="285"/>
                    <a:pt x="0" y="285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0" name="islidé">
              <a:extLst>
                <a:ext uri="{FF2B5EF4-FFF2-40B4-BE49-F238E27FC236}">
                  <a16:creationId xmlns:a16="http://schemas.microsoft.com/office/drawing/2014/main" xmlns="" id="{DD00CB4E-A57F-4096-B9DE-1B50784A989C}"/>
                </a:ext>
              </a:extLst>
            </p:cNvPr>
            <p:cNvSpPr/>
            <p:nvPr userDrawn="1"/>
          </p:nvSpPr>
          <p:spPr bwMode="auto">
            <a:xfrm>
              <a:off x="2328181" y="3683000"/>
              <a:ext cx="161925" cy="95250"/>
            </a:xfrm>
            <a:custGeom>
              <a:avLst/>
              <a:gdLst>
                <a:gd name="T0" fmla="*/ 49 w 49"/>
                <a:gd name="T1" fmla="*/ 14 h 29"/>
                <a:gd name="T2" fmla="*/ 25 w 49"/>
                <a:gd name="T3" fmla="*/ 29 h 29"/>
                <a:gd name="T4" fmla="*/ 0 w 49"/>
                <a:gd name="T5" fmla="*/ 15 h 29"/>
                <a:gd name="T6" fmla="*/ 25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1" name="iṩliḋé">
              <a:extLst>
                <a:ext uri="{FF2B5EF4-FFF2-40B4-BE49-F238E27FC236}">
                  <a16:creationId xmlns:a16="http://schemas.microsoft.com/office/drawing/2014/main" xmlns="" id="{128D3324-E74E-44D5-AEAC-820406C2C698}"/>
                </a:ext>
              </a:extLst>
            </p:cNvPr>
            <p:cNvSpPr/>
            <p:nvPr userDrawn="1"/>
          </p:nvSpPr>
          <p:spPr bwMode="auto">
            <a:xfrm>
              <a:off x="2447243" y="3616325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2" name="îṣḷîḓê">
              <a:extLst>
                <a:ext uri="{FF2B5EF4-FFF2-40B4-BE49-F238E27FC236}">
                  <a16:creationId xmlns:a16="http://schemas.microsoft.com/office/drawing/2014/main" xmlns="" id="{267FD6A0-6836-4F06-9773-2FED642392CB}"/>
                </a:ext>
              </a:extLst>
            </p:cNvPr>
            <p:cNvSpPr/>
            <p:nvPr userDrawn="1"/>
          </p:nvSpPr>
          <p:spPr bwMode="auto">
            <a:xfrm>
              <a:off x="2569481" y="35480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10" y="20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3" name="íṩ1îḍe">
              <a:extLst>
                <a:ext uri="{FF2B5EF4-FFF2-40B4-BE49-F238E27FC236}">
                  <a16:creationId xmlns:a16="http://schemas.microsoft.com/office/drawing/2014/main" xmlns="" id="{E867EF68-0BA7-44F6-A5A7-47E27C823290}"/>
                </a:ext>
              </a:extLst>
            </p:cNvPr>
            <p:cNvSpPr/>
            <p:nvPr userDrawn="1"/>
          </p:nvSpPr>
          <p:spPr bwMode="auto">
            <a:xfrm>
              <a:off x="2688543" y="347821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4" name="ïṧḻiḍe">
              <a:extLst>
                <a:ext uri="{FF2B5EF4-FFF2-40B4-BE49-F238E27FC236}">
                  <a16:creationId xmlns:a16="http://schemas.microsoft.com/office/drawing/2014/main" xmlns="" id="{7E4AE1BF-7E42-43AB-8213-4DCB0B706C93}"/>
                </a:ext>
              </a:extLst>
            </p:cNvPr>
            <p:cNvSpPr/>
            <p:nvPr userDrawn="1"/>
          </p:nvSpPr>
          <p:spPr bwMode="auto">
            <a:xfrm>
              <a:off x="2807606" y="3408363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5" name="íşlïḑè">
              <a:extLst>
                <a:ext uri="{FF2B5EF4-FFF2-40B4-BE49-F238E27FC236}">
                  <a16:creationId xmlns:a16="http://schemas.microsoft.com/office/drawing/2014/main" xmlns="" id="{2D66E887-A5E1-44DE-906C-D6BC093C81FC}"/>
                </a:ext>
              </a:extLst>
            </p:cNvPr>
            <p:cNvSpPr/>
            <p:nvPr userDrawn="1"/>
          </p:nvSpPr>
          <p:spPr bwMode="auto">
            <a:xfrm>
              <a:off x="2925081" y="3340100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6" name="íśļiḋè">
              <a:extLst>
                <a:ext uri="{FF2B5EF4-FFF2-40B4-BE49-F238E27FC236}">
                  <a16:creationId xmlns:a16="http://schemas.microsoft.com/office/drawing/2014/main" xmlns="" id="{7DBFC5F9-F20C-413F-95C0-D9DBED2C41E9}"/>
                </a:ext>
              </a:extLst>
            </p:cNvPr>
            <p:cNvSpPr/>
            <p:nvPr userDrawn="1"/>
          </p:nvSpPr>
          <p:spPr bwMode="auto">
            <a:xfrm>
              <a:off x="3044143" y="3273425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7" name="îSļîḓê">
              <a:extLst>
                <a:ext uri="{FF2B5EF4-FFF2-40B4-BE49-F238E27FC236}">
                  <a16:creationId xmlns:a16="http://schemas.microsoft.com/office/drawing/2014/main" xmlns="" id="{FB4DCBC2-6227-49FA-9E21-507358DB357B}"/>
                </a:ext>
              </a:extLst>
            </p:cNvPr>
            <p:cNvSpPr/>
            <p:nvPr userDrawn="1"/>
          </p:nvSpPr>
          <p:spPr bwMode="auto">
            <a:xfrm>
              <a:off x="3166381" y="32051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8" name="íṧ1îḑè">
              <a:extLst>
                <a:ext uri="{FF2B5EF4-FFF2-40B4-BE49-F238E27FC236}">
                  <a16:creationId xmlns:a16="http://schemas.microsoft.com/office/drawing/2014/main" xmlns="" id="{A39271E0-3413-4ADC-B24E-1D9E0578AFE9}"/>
                </a:ext>
              </a:extLst>
            </p:cNvPr>
            <p:cNvSpPr/>
            <p:nvPr userDrawn="1"/>
          </p:nvSpPr>
          <p:spPr bwMode="auto">
            <a:xfrm>
              <a:off x="3285443" y="313531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9" name="îṥḷide">
              <a:extLst>
                <a:ext uri="{FF2B5EF4-FFF2-40B4-BE49-F238E27FC236}">
                  <a16:creationId xmlns:a16="http://schemas.microsoft.com/office/drawing/2014/main" xmlns="" id="{B196654D-A160-4A01-8F0D-6CB813038DA4}"/>
                </a:ext>
              </a:extLst>
            </p:cNvPr>
            <p:cNvSpPr/>
            <p:nvPr userDrawn="1"/>
          </p:nvSpPr>
          <p:spPr bwMode="auto">
            <a:xfrm>
              <a:off x="3404506" y="30654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0" name="îş1iḓè">
              <a:extLst>
                <a:ext uri="{FF2B5EF4-FFF2-40B4-BE49-F238E27FC236}">
                  <a16:creationId xmlns:a16="http://schemas.microsoft.com/office/drawing/2014/main" xmlns="" id="{886841F7-DF6A-4E13-85F1-FA127766D54D}"/>
                </a:ext>
              </a:extLst>
            </p:cNvPr>
            <p:cNvSpPr/>
            <p:nvPr userDrawn="1"/>
          </p:nvSpPr>
          <p:spPr bwMode="auto">
            <a:xfrm>
              <a:off x="3523568" y="2997200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1" name="íšḻidè">
              <a:extLst>
                <a:ext uri="{FF2B5EF4-FFF2-40B4-BE49-F238E27FC236}">
                  <a16:creationId xmlns:a16="http://schemas.microsoft.com/office/drawing/2014/main" xmlns="" id="{CBE932F1-BFCB-4069-9D79-A82858465DAB}"/>
                </a:ext>
              </a:extLst>
            </p:cNvPr>
            <p:cNvSpPr/>
            <p:nvPr userDrawn="1"/>
          </p:nvSpPr>
          <p:spPr bwMode="auto">
            <a:xfrm>
              <a:off x="3645806" y="2930525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2" name="íślîḓè">
              <a:extLst>
                <a:ext uri="{FF2B5EF4-FFF2-40B4-BE49-F238E27FC236}">
                  <a16:creationId xmlns:a16="http://schemas.microsoft.com/office/drawing/2014/main" xmlns="" id="{BCE7B0AA-7299-45A5-A78B-CACC140EE6AA}"/>
                </a:ext>
              </a:extLst>
            </p:cNvPr>
            <p:cNvSpPr/>
            <p:nvPr userDrawn="1"/>
          </p:nvSpPr>
          <p:spPr bwMode="auto">
            <a:xfrm>
              <a:off x="2444068" y="37480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3" name="î$1iḓé">
              <a:extLst>
                <a:ext uri="{FF2B5EF4-FFF2-40B4-BE49-F238E27FC236}">
                  <a16:creationId xmlns:a16="http://schemas.microsoft.com/office/drawing/2014/main" xmlns="" id="{0E04D928-6BF4-4F27-BB5E-F50BC30B1ABE}"/>
                </a:ext>
              </a:extLst>
            </p:cNvPr>
            <p:cNvSpPr/>
            <p:nvPr userDrawn="1"/>
          </p:nvSpPr>
          <p:spPr bwMode="auto">
            <a:xfrm>
              <a:off x="2563131" y="3679825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4" name="išľïḋe">
              <a:extLst>
                <a:ext uri="{FF2B5EF4-FFF2-40B4-BE49-F238E27FC236}">
                  <a16:creationId xmlns:a16="http://schemas.microsoft.com/office/drawing/2014/main" xmlns="" id="{031AA8D5-E13D-4C41-83C0-58D78F49F4B4}"/>
                </a:ext>
              </a:extLst>
            </p:cNvPr>
            <p:cNvSpPr/>
            <p:nvPr userDrawn="1"/>
          </p:nvSpPr>
          <p:spPr bwMode="auto">
            <a:xfrm>
              <a:off x="2682193" y="3613150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5" name="îṡlíḍè">
              <a:extLst>
                <a:ext uri="{FF2B5EF4-FFF2-40B4-BE49-F238E27FC236}">
                  <a16:creationId xmlns:a16="http://schemas.microsoft.com/office/drawing/2014/main" xmlns="" id="{DBAF0029-EE03-4563-A86B-D399E0D67E67}"/>
                </a:ext>
              </a:extLst>
            </p:cNvPr>
            <p:cNvSpPr/>
            <p:nvPr userDrawn="1"/>
          </p:nvSpPr>
          <p:spPr bwMode="auto">
            <a:xfrm>
              <a:off x="2804431" y="3543300"/>
              <a:ext cx="160338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6" name="íŝľíḋê">
              <a:extLst>
                <a:ext uri="{FF2B5EF4-FFF2-40B4-BE49-F238E27FC236}">
                  <a16:creationId xmlns:a16="http://schemas.microsoft.com/office/drawing/2014/main" xmlns="" id="{C8EDD0DC-D645-44AA-B854-E4CCF1A2F8A8}"/>
                </a:ext>
              </a:extLst>
            </p:cNvPr>
            <p:cNvSpPr/>
            <p:nvPr userDrawn="1"/>
          </p:nvSpPr>
          <p:spPr bwMode="auto">
            <a:xfrm>
              <a:off x="2921906" y="347503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7" name="ïśḷîḋè">
              <a:extLst>
                <a:ext uri="{FF2B5EF4-FFF2-40B4-BE49-F238E27FC236}">
                  <a16:creationId xmlns:a16="http://schemas.microsoft.com/office/drawing/2014/main" xmlns="" id="{AE7BA111-8F61-4565-A5E7-DBDC3505BF63}"/>
                </a:ext>
              </a:extLst>
            </p:cNvPr>
            <p:cNvSpPr/>
            <p:nvPr userDrawn="1"/>
          </p:nvSpPr>
          <p:spPr bwMode="auto">
            <a:xfrm>
              <a:off x="3040968" y="34051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8" name="iSḷíḍê">
              <a:extLst>
                <a:ext uri="{FF2B5EF4-FFF2-40B4-BE49-F238E27FC236}">
                  <a16:creationId xmlns:a16="http://schemas.microsoft.com/office/drawing/2014/main" xmlns="" id="{EA4DB33E-3C21-497F-91BC-CBBC54D3596A}"/>
                </a:ext>
              </a:extLst>
            </p:cNvPr>
            <p:cNvSpPr/>
            <p:nvPr userDrawn="1"/>
          </p:nvSpPr>
          <p:spPr bwMode="auto">
            <a:xfrm>
              <a:off x="3160031" y="3336925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9" name="iŝlîďê">
              <a:extLst>
                <a:ext uri="{FF2B5EF4-FFF2-40B4-BE49-F238E27FC236}">
                  <a16:creationId xmlns:a16="http://schemas.microsoft.com/office/drawing/2014/main" xmlns="" id="{65A00103-D748-4E67-A4E0-94657CE17CC7}"/>
                </a:ext>
              </a:extLst>
            </p:cNvPr>
            <p:cNvSpPr/>
            <p:nvPr userDrawn="1"/>
          </p:nvSpPr>
          <p:spPr bwMode="auto">
            <a:xfrm>
              <a:off x="3282268" y="3270250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9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0" name="ïṥḷïḑé">
              <a:extLst>
                <a:ext uri="{FF2B5EF4-FFF2-40B4-BE49-F238E27FC236}">
                  <a16:creationId xmlns:a16="http://schemas.microsoft.com/office/drawing/2014/main" xmlns="" id="{9C625C8F-449C-4A2B-8A0E-A6159DCB4228}"/>
                </a:ext>
              </a:extLst>
            </p:cNvPr>
            <p:cNvSpPr/>
            <p:nvPr userDrawn="1"/>
          </p:nvSpPr>
          <p:spPr bwMode="auto">
            <a:xfrm>
              <a:off x="3401331" y="3200400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1" name="íSḻïḋe">
              <a:extLst>
                <a:ext uri="{FF2B5EF4-FFF2-40B4-BE49-F238E27FC236}">
                  <a16:creationId xmlns:a16="http://schemas.microsoft.com/office/drawing/2014/main" xmlns="" id="{F4D13833-DB9A-4A4F-8848-947885486BAB}"/>
                </a:ext>
              </a:extLst>
            </p:cNvPr>
            <p:cNvSpPr/>
            <p:nvPr userDrawn="1"/>
          </p:nvSpPr>
          <p:spPr bwMode="auto">
            <a:xfrm>
              <a:off x="3520393" y="3132138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2" name="iśḻídè">
              <a:extLst>
                <a:ext uri="{FF2B5EF4-FFF2-40B4-BE49-F238E27FC236}">
                  <a16:creationId xmlns:a16="http://schemas.microsoft.com/office/drawing/2014/main" xmlns="" id="{A914FFBF-AC2B-4A38-BF81-603708EE6183}"/>
                </a:ext>
              </a:extLst>
            </p:cNvPr>
            <p:cNvSpPr/>
            <p:nvPr userDrawn="1"/>
          </p:nvSpPr>
          <p:spPr bwMode="auto">
            <a:xfrm>
              <a:off x="3637868" y="30622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3" name="ïṥḷiḓe">
              <a:extLst>
                <a:ext uri="{FF2B5EF4-FFF2-40B4-BE49-F238E27FC236}">
                  <a16:creationId xmlns:a16="http://schemas.microsoft.com/office/drawing/2014/main" xmlns="" id="{AFA4B1D7-B8B6-4EE6-9EF4-EEC2F1A2D374}"/>
                </a:ext>
              </a:extLst>
            </p:cNvPr>
            <p:cNvSpPr/>
            <p:nvPr userDrawn="1"/>
          </p:nvSpPr>
          <p:spPr bwMode="auto">
            <a:xfrm>
              <a:off x="3704543" y="2994025"/>
              <a:ext cx="217488" cy="125413"/>
            </a:xfrm>
            <a:custGeom>
              <a:avLst/>
              <a:gdLst>
                <a:gd name="T0" fmla="*/ 66 w 66"/>
                <a:gd name="T1" fmla="*/ 14 h 38"/>
                <a:gd name="T2" fmla="*/ 25 w 66"/>
                <a:gd name="T3" fmla="*/ 38 h 38"/>
                <a:gd name="T4" fmla="*/ 0 w 66"/>
                <a:gd name="T5" fmla="*/ 24 h 38"/>
                <a:gd name="T6" fmla="*/ 41 w 66"/>
                <a:gd name="T7" fmla="*/ 0 h 38"/>
                <a:gd name="T8" fmla="*/ 66 w 66"/>
                <a:gd name="T9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8">
                  <a:moveTo>
                    <a:pt x="66" y="14"/>
                  </a:moveTo>
                  <a:cubicBezTo>
                    <a:pt x="49" y="24"/>
                    <a:pt x="41" y="29"/>
                    <a:pt x="25" y="38"/>
                  </a:cubicBezTo>
                  <a:cubicBezTo>
                    <a:pt x="15" y="32"/>
                    <a:pt x="10" y="30"/>
                    <a:pt x="0" y="24"/>
                  </a:cubicBezTo>
                  <a:cubicBezTo>
                    <a:pt x="16" y="14"/>
                    <a:pt x="25" y="10"/>
                    <a:pt x="41" y="0"/>
                  </a:cubicBezTo>
                  <a:cubicBezTo>
                    <a:pt x="51" y="6"/>
                    <a:pt x="56" y="9"/>
                    <a:pt x="66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4" name="íśḻíḋé">
              <a:extLst>
                <a:ext uri="{FF2B5EF4-FFF2-40B4-BE49-F238E27FC236}">
                  <a16:creationId xmlns:a16="http://schemas.microsoft.com/office/drawing/2014/main" xmlns="" id="{F9F0B388-B105-467D-9DD5-BF3BADCA6983}"/>
                </a:ext>
              </a:extLst>
            </p:cNvPr>
            <p:cNvSpPr/>
            <p:nvPr userDrawn="1"/>
          </p:nvSpPr>
          <p:spPr bwMode="auto">
            <a:xfrm>
              <a:off x="2559956" y="3784600"/>
              <a:ext cx="214313" cy="122238"/>
            </a:xfrm>
            <a:custGeom>
              <a:avLst/>
              <a:gdLst>
                <a:gd name="T0" fmla="*/ 65 w 65"/>
                <a:gd name="T1" fmla="*/ 14 h 37"/>
                <a:gd name="T2" fmla="*/ 25 w 65"/>
                <a:gd name="T3" fmla="*/ 37 h 37"/>
                <a:gd name="T4" fmla="*/ 0 w 65"/>
                <a:gd name="T5" fmla="*/ 23 h 37"/>
                <a:gd name="T6" fmla="*/ 41 w 65"/>
                <a:gd name="T7" fmla="*/ 0 h 37"/>
                <a:gd name="T8" fmla="*/ 65 w 65"/>
                <a:gd name="T9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7">
                  <a:moveTo>
                    <a:pt x="65" y="14"/>
                  </a:moveTo>
                  <a:cubicBezTo>
                    <a:pt x="49" y="23"/>
                    <a:pt x="41" y="28"/>
                    <a:pt x="25" y="37"/>
                  </a:cubicBezTo>
                  <a:cubicBezTo>
                    <a:pt x="15" y="31"/>
                    <a:pt x="10" y="29"/>
                    <a:pt x="0" y="23"/>
                  </a:cubicBezTo>
                  <a:cubicBezTo>
                    <a:pt x="16" y="14"/>
                    <a:pt x="24" y="9"/>
                    <a:pt x="41" y="0"/>
                  </a:cubicBezTo>
                  <a:cubicBezTo>
                    <a:pt x="50" y="5"/>
                    <a:pt x="55" y="8"/>
                    <a:pt x="65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5" name="iṧḷîḍê">
              <a:extLst>
                <a:ext uri="{FF2B5EF4-FFF2-40B4-BE49-F238E27FC236}">
                  <a16:creationId xmlns:a16="http://schemas.microsoft.com/office/drawing/2014/main" xmlns="" id="{40B6A503-6660-49C5-9BF6-B8EF48F43D11}"/>
                </a:ext>
              </a:extLst>
            </p:cNvPr>
            <p:cNvSpPr/>
            <p:nvPr userDrawn="1"/>
          </p:nvSpPr>
          <p:spPr bwMode="auto">
            <a:xfrm>
              <a:off x="2679018" y="3744913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6" name="iSḷiḋe">
              <a:extLst>
                <a:ext uri="{FF2B5EF4-FFF2-40B4-BE49-F238E27FC236}">
                  <a16:creationId xmlns:a16="http://schemas.microsoft.com/office/drawing/2014/main" xmlns="" id="{31A0B82F-C1ED-44B5-8E44-1EE529B828AD}"/>
                </a:ext>
              </a:extLst>
            </p:cNvPr>
            <p:cNvSpPr/>
            <p:nvPr userDrawn="1"/>
          </p:nvSpPr>
          <p:spPr bwMode="auto">
            <a:xfrm>
              <a:off x="2796493" y="3676650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7" name="í$ḷîḍe">
              <a:extLst>
                <a:ext uri="{FF2B5EF4-FFF2-40B4-BE49-F238E27FC236}">
                  <a16:creationId xmlns:a16="http://schemas.microsoft.com/office/drawing/2014/main" xmlns="" id="{3575373C-208F-46D3-B1AB-0BDB0F246209}"/>
                </a:ext>
              </a:extLst>
            </p:cNvPr>
            <p:cNvSpPr/>
            <p:nvPr userDrawn="1"/>
          </p:nvSpPr>
          <p:spPr bwMode="auto">
            <a:xfrm>
              <a:off x="2915556" y="3606800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8" name="ïṧļîḑè">
              <a:extLst>
                <a:ext uri="{FF2B5EF4-FFF2-40B4-BE49-F238E27FC236}">
                  <a16:creationId xmlns:a16="http://schemas.microsoft.com/office/drawing/2014/main" xmlns="" id="{B82AD7A8-8D7F-4015-9273-EF9056075CC2}"/>
                </a:ext>
              </a:extLst>
            </p:cNvPr>
            <p:cNvSpPr/>
            <p:nvPr userDrawn="1"/>
          </p:nvSpPr>
          <p:spPr bwMode="auto">
            <a:xfrm>
              <a:off x="3037793" y="3540125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9" name="iṧḷîḑè">
              <a:extLst>
                <a:ext uri="{FF2B5EF4-FFF2-40B4-BE49-F238E27FC236}">
                  <a16:creationId xmlns:a16="http://schemas.microsoft.com/office/drawing/2014/main" xmlns="" id="{5CB43041-08EC-4D97-9640-7E106AA72EED}"/>
                </a:ext>
              </a:extLst>
            </p:cNvPr>
            <p:cNvSpPr/>
            <p:nvPr userDrawn="1"/>
          </p:nvSpPr>
          <p:spPr bwMode="auto">
            <a:xfrm>
              <a:off x="3156856" y="34718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0" name="îSḷíďè">
              <a:extLst>
                <a:ext uri="{FF2B5EF4-FFF2-40B4-BE49-F238E27FC236}">
                  <a16:creationId xmlns:a16="http://schemas.microsoft.com/office/drawing/2014/main" xmlns="" id="{8251293D-FE11-4327-8053-1A15C0715C4E}"/>
                </a:ext>
              </a:extLst>
            </p:cNvPr>
            <p:cNvSpPr/>
            <p:nvPr userDrawn="1"/>
          </p:nvSpPr>
          <p:spPr bwMode="auto">
            <a:xfrm>
              <a:off x="3275918" y="340201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1" name="íṩḻiḋe">
              <a:extLst>
                <a:ext uri="{FF2B5EF4-FFF2-40B4-BE49-F238E27FC236}">
                  <a16:creationId xmlns:a16="http://schemas.microsoft.com/office/drawing/2014/main" xmlns="" id="{04AD4F57-3BFB-4823-9C84-4C96A7CB134A}"/>
                </a:ext>
              </a:extLst>
            </p:cNvPr>
            <p:cNvSpPr/>
            <p:nvPr userDrawn="1"/>
          </p:nvSpPr>
          <p:spPr bwMode="auto">
            <a:xfrm>
              <a:off x="3394981" y="3333750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2" name="ïšlîďé">
              <a:extLst>
                <a:ext uri="{FF2B5EF4-FFF2-40B4-BE49-F238E27FC236}">
                  <a16:creationId xmlns:a16="http://schemas.microsoft.com/office/drawing/2014/main" xmlns="" id="{F30EF4F8-00DE-44B5-9A9C-9BF5DAE25CE1}"/>
                </a:ext>
              </a:extLst>
            </p:cNvPr>
            <p:cNvSpPr/>
            <p:nvPr userDrawn="1"/>
          </p:nvSpPr>
          <p:spPr bwMode="auto">
            <a:xfrm>
              <a:off x="3517218" y="3263900"/>
              <a:ext cx="160338" cy="95250"/>
            </a:xfrm>
            <a:custGeom>
              <a:avLst/>
              <a:gdLst>
                <a:gd name="T0" fmla="*/ 49 w 49"/>
                <a:gd name="T1" fmla="*/ 14 h 29"/>
                <a:gd name="T2" fmla="*/ 24 w 49"/>
                <a:gd name="T3" fmla="*/ 29 h 29"/>
                <a:gd name="T4" fmla="*/ 0 w 49"/>
                <a:gd name="T5" fmla="*/ 14 h 29"/>
                <a:gd name="T6" fmla="*/ 24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39" y="20"/>
                    <a:pt x="34" y="23"/>
                    <a:pt x="24" y="29"/>
                  </a:cubicBezTo>
                  <a:cubicBezTo>
                    <a:pt x="14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3" name="íŝḻïḍè">
              <a:extLst>
                <a:ext uri="{FF2B5EF4-FFF2-40B4-BE49-F238E27FC236}">
                  <a16:creationId xmlns:a16="http://schemas.microsoft.com/office/drawing/2014/main" xmlns="" id="{82DB9277-828C-4574-A883-0FAD24DFDD03}"/>
                </a:ext>
              </a:extLst>
            </p:cNvPr>
            <p:cNvSpPr/>
            <p:nvPr userDrawn="1"/>
          </p:nvSpPr>
          <p:spPr bwMode="auto">
            <a:xfrm>
              <a:off x="3634693" y="3197225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4" name="iṡlíḍé">
              <a:extLst>
                <a:ext uri="{FF2B5EF4-FFF2-40B4-BE49-F238E27FC236}">
                  <a16:creationId xmlns:a16="http://schemas.microsoft.com/office/drawing/2014/main" xmlns="" id="{E63EDFEF-0FD3-453B-8AD8-25C6BC1ADDCB}"/>
                </a:ext>
              </a:extLst>
            </p:cNvPr>
            <p:cNvSpPr/>
            <p:nvPr userDrawn="1"/>
          </p:nvSpPr>
          <p:spPr bwMode="auto">
            <a:xfrm>
              <a:off x="3753756" y="31289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5" name="ïṥļíḋe">
              <a:extLst>
                <a:ext uri="{FF2B5EF4-FFF2-40B4-BE49-F238E27FC236}">
                  <a16:creationId xmlns:a16="http://schemas.microsoft.com/office/drawing/2014/main" xmlns="" id="{94BED78E-FC4E-46D1-8B68-F8CDDB4A8428}"/>
                </a:ext>
              </a:extLst>
            </p:cNvPr>
            <p:cNvSpPr/>
            <p:nvPr userDrawn="1"/>
          </p:nvSpPr>
          <p:spPr bwMode="auto">
            <a:xfrm>
              <a:off x="3872818" y="305911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6" name="íşlíḋê">
              <a:extLst>
                <a:ext uri="{FF2B5EF4-FFF2-40B4-BE49-F238E27FC236}">
                  <a16:creationId xmlns:a16="http://schemas.microsoft.com/office/drawing/2014/main" xmlns="" id="{1E6AB73E-9DEF-4C9B-B938-33634CEC1416}"/>
                </a:ext>
              </a:extLst>
            </p:cNvPr>
            <p:cNvSpPr/>
            <p:nvPr userDrawn="1"/>
          </p:nvSpPr>
          <p:spPr bwMode="auto">
            <a:xfrm>
              <a:off x="2674256" y="3879850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7" name="iṧļíďê">
              <a:extLst>
                <a:ext uri="{FF2B5EF4-FFF2-40B4-BE49-F238E27FC236}">
                  <a16:creationId xmlns:a16="http://schemas.microsoft.com/office/drawing/2014/main" xmlns="" id="{35500064-2969-4A8B-935C-682DDFE8D83A}"/>
                </a:ext>
              </a:extLst>
            </p:cNvPr>
            <p:cNvSpPr/>
            <p:nvPr userDrawn="1"/>
          </p:nvSpPr>
          <p:spPr bwMode="auto">
            <a:xfrm>
              <a:off x="2793318" y="38115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8" name="iṩḻídê">
              <a:extLst>
                <a:ext uri="{FF2B5EF4-FFF2-40B4-BE49-F238E27FC236}">
                  <a16:creationId xmlns:a16="http://schemas.microsoft.com/office/drawing/2014/main" xmlns="" id="{30F066E6-D3B6-4A7E-915B-AA8A9F9EEF66}"/>
                </a:ext>
              </a:extLst>
            </p:cNvPr>
            <p:cNvSpPr/>
            <p:nvPr userDrawn="1"/>
          </p:nvSpPr>
          <p:spPr bwMode="auto">
            <a:xfrm>
              <a:off x="2912381" y="374173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9" name="íşḷíḋé">
              <a:extLst>
                <a:ext uri="{FF2B5EF4-FFF2-40B4-BE49-F238E27FC236}">
                  <a16:creationId xmlns:a16="http://schemas.microsoft.com/office/drawing/2014/main" xmlns="" id="{43885054-AAD7-437D-AEDF-F0EC86E091CB}"/>
                </a:ext>
              </a:extLst>
            </p:cNvPr>
            <p:cNvSpPr/>
            <p:nvPr userDrawn="1"/>
          </p:nvSpPr>
          <p:spPr bwMode="auto">
            <a:xfrm>
              <a:off x="3031443" y="3671888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0" name="íşḻíḋé">
              <a:extLst>
                <a:ext uri="{FF2B5EF4-FFF2-40B4-BE49-F238E27FC236}">
                  <a16:creationId xmlns:a16="http://schemas.microsoft.com/office/drawing/2014/main" xmlns="" id="{C061AFF0-53B1-4650-9727-7B2DC3E77E02}"/>
                </a:ext>
              </a:extLst>
            </p:cNvPr>
            <p:cNvSpPr/>
            <p:nvPr userDrawn="1"/>
          </p:nvSpPr>
          <p:spPr bwMode="auto">
            <a:xfrm>
              <a:off x="3153681" y="3603625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4" y="23"/>
                    <a:pt x="9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1" name="îśļiḋê">
              <a:extLst>
                <a:ext uri="{FF2B5EF4-FFF2-40B4-BE49-F238E27FC236}">
                  <a16:creationId xmlns:a16="http://schemas.microsoft.com/office/drawing/2014/main" xmlns="" id="{9025A250-C3F1-4CF7-B610-C8868B89B05D}"/>
                </a:ext>
              </a:extLst>
            </p:cNvPr>
            <p:cNvSpPr/>
            <p:nvPr userDrawn="1"/>
          </p:nvSpPr>
          <p:spPr bwMode="auto">
            <a:xfrm>
              <a:off x="3272743" y="3533775"/>
              <a:ext cx="161925" cy="95250"/>
            </a:xfrm>
            <a:custGeom>
              <a:avLst/>
              <a:gdLst>
                <a:gd name="T0" fmla="*/ 49 w 49"/>
                <a:gd name="T1" fmla="*/ 15 h 29"/>
                <a:gd name="T2" fmla="*/ 25 w 49"/>
                <a:gd name="T3" fmla="*/ 29 h 29"/>
                <a:gd name="T4" fmla="*/ 0 w 49"/>
                <a:gd name="T5" fmla="*/ 15 h 29"/>
                <a:gd name="T6" fmla="*/ 24 w 49"/>
                <a:gd name="T7" fmla="*/ 0 h 29"/>
                <a:gd name="T8" fmla="*/ 49 w 49"/>
                <a:gd name="T9" fmla="*/ 1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5"/>
                  </a:moveTo>
                  <a:cubicBezTo>
                    <a:pt x="39" y="20"/>
                    <a:pt x="34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2" name="ísľïḑé">
              <a:extLst>
                <a:ext uri="{FF2B5EF4-FFF2-40B4-BE49-F238E27FC236}">
                  <a16:creationId xmlns:a16="http://schemas.microsoft.com/office/drawing/2014/main" xmlns="" id="{1948F16C-C9DE-498B-B5BC-1AD3F280C28C}"/>
                </a:ext>
              </a:extLst>
            </p:cNvPr>
            <p:cNvSpPr/>
            <p:nvPr userDrawn="1"/>
          </p:nvSpPr>
          <p:spPr bwMode="auto">
            <a:xfrm>
              <a:off x="3391806" y="3468688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3" name="ïṣľíḋe">
              <a:extLst>
                <a:ext uri="{FF2B5EF4-FFF2-40B4-BE49-F238E27FC236}">
                  <a16:creationId xmlns:a16="http://schemas.microsoft.com/office/drawing/2014/main" xmlns="" id="{E264DC8B-631F-4A70-BC0A-8480ED132847}"/>
                </a:ext>
              </a:extLst>
            </p:cNvPr>
            <p:cNvSpPr/>
            <p:nvPr userDrawn="1"/>
          </p:nvSpPr>
          <p:spPr bwMode="auto">
            <a:xfrm>
              <a:off x="3509281" y="339883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4" name="îṣľîdè">
              <a:extLst>
                <a:ext uri="{FF2B5EF4-FFF2-40B4-BE49-F238E27FC236}">
                  <a16:creationId xmlns:a16="http://schemas.microsoft.com/office/drawing/2014/main" xmlns="" id="{E63E7573-8EE7-4AB5-BF2A-7DF4D8DEFFBB}"/>
                </a:ext>
              </a:extLst>
            </p:cNvPr>
            <p:cNvSpPr/>
            <p:nvPr userDrawn="1"/>
          </p:nvSpPr>
          <p:spPr bwMode="auto">
            <a:xfrm>
              <a:off x="3628343" y="3328988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5" name="îşḷîdè">
              <a:extLst>
                <a:ext uri="{FF2B5EF4-FFF2-40B4-BE49-F238E27FC236}">
                  <a16:creationId xmlns:a16="http://schemas.microsoft.com/office/drawing/2014/main" xmlns="" id="{575EC150-3F11-488A-B125-108D9B7D809D}"/>
                </a:ext>
              </a:extLst>
            </p:cNvPr>
            <p:cNvSpPr/>
            <p:nvPr userDrawn="1"/>
          </p:nvSpPr>
          <p:spPr bwMode="auto">
            <a:xfrm>
              <a:off x="3750581" y="3260725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6" name="iŝļïďé">
              <a:extLst>
                <a:ext uri="{FF2B5EF4-FFF2-40B4-BE49-F238E27FC236}">
                  <a16:creationId xmlns:a16="http://schemas.microsoft.com/office/drawing/2014/main" xmlns="" id="{E1C555F0-851F-444E-8CD1-0D32130F67C7}"/>
                </a:ext>
              </a:extLst>
            </p:cNvPr>
            <p:cNvSpPr/>
            <p:nvPr userDrawn="1"/>
          </p:nvSpPr>
          <p:spPr bwMode="auto">
            <a:xfrm>
              <a:off x="3869643" y="3162300"/>
              <a:ext cx="214313" cy="123825"/>
            </a:xfrm>
            <a:custGeom>
              <a:avLst/>
              <a:gdLst>
                <a:gd name="T0" fmla="*/ 65 w 65"/>
                <a:gd name="T1" fmla="*/ 15 h 38"/>
                <a:gd name="T2" fmla="*/ 25 w 65"/>
                <a:gd name="T3" fmla="*/ 38 h 38"/>
                <a:gd name="T4" fmla="*/ 0 w 65"/>
                <a:gd name="T5" fmla="*/ 24 h 38"/>
                <a:gd name="T6" fmla="*/ 40 w 65"/>
                <a:gd name="T7" fmla="*/ 0 h 38"/>
                <a:gd name="T8" fmla="*/ 65 w 65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8">
                  <a:moveTo>
                    <a:pt x="65" y="15"/>
                  </a:moveTo>
                  <a:cubicBezTo>
                    <a:pt x="49" y="24"/>
                    <a:pt x="41" y="28"/>
                    <a:pt x="25" y="38"/>
                  </a:cubicBezTo>
                  <a:cubicBezTo>
                    <a:pt x="15" y="32"/>
                    <a:pt x="10" y="29"/>
                    <a:pt x="0" y="24"/>
                  </a:cubicBezTo>
                  <a:cubicBezTo>
                    <a:pt x="16" y="14"/>
                    <a:pt x="24" y="10"/>
                    <a:pt x="40" y="0"/>
                  </a:cubicBezTo>
                  <a:cubicBezTo>
                    <a:pt x="50" y="6"/>
                    <a:pt x="55" y="9"/>
                    <a:pt x="65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7" name="isliďê">
              <a:extLst>
                <a:ext uri="{FF2B5EF4-FFF2-40B4-BE49-F238E27FC236}">
                  <a16:creationId xmlns:a16="http://schemas.microsoft.com/office/drawing/2014/main" xmlns="" id="{6445EA84-0CF3-45B1-96D3-2BB703383E67}"/>
                </a:ext>
              </a:extLst>
            </p:cNvPr>
            <p:cNvSpPr/>
            <p:nvPr userDrawn="1"/>
          </p:nvSpPr>
          <p:spPr bwMode="auto">
            <a:xfrm>
              <a:off x="3988706" y="31257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8" name="íṩliḍé">
              <a:extLst>
                <a:ext uri="{FF2B5EF4-FFF2-40B4-BE49-F238E27FC236}">
                  <a16:creationId xmlns:a16="http://schemas.microsoft.com/office/drawing/2014/main" xmlns="" id="{38C12D8B-015F-446E-93DD-E101E2590130}"/>
                </a:ext>
              </a:extLst>
            </p:cNvPr>
            <p:cNvSpPr/>
            <p:nvPr userDrawn="1"/>
          </p:nvSpPr>
          <p:spPr bwMode="auto">
            <a:xfrm>
              <a:off x="2804431" y="3952875"/>
              <a:ext cx="163513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9" name="išḷïḓé">
              <a:extLst>
                <a:ext uri="{FF2B5EF4-FFF2-40B4-BE49-F238E27FC236}">
                  <a16:creationId xmlns:a16="http://schemas.microsoft.com/office/drawing/2014/main" xmlns="" id="{E5F7991A-7A27-4577-BB93-E3AD0DE4D309}"/>
                </a:ext>
              </a:extLst>
            </p:cNvPr>
            <p:cNvSpPr/>
            <p:nvPr userDrawn="1"/>
          </p:nvSpPr>
          <p:spPr bwMode="auto">
            <a:xfrm>
              <a:off x="2921906" y="3883025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0" name="íšliḍè">
              <a:extLst>
                <a:ext uri="{FF2B5EF4-FFF2-40B4-BE49-F238E27FC236}">
                  <a16:creationId xmlns:a16="http://schemas.microsoft.com/office/drawing/2014/main" xmlns="" id="{30774154-BF00-4F9E-9330-BFAA97630553}"/>
                </a:ext>
              </a:extLst>
            </p:cNvPr>
            <p:cNvSpPr/>
            <p:nvPr userDrawn="1"/>
          </p:nvSpPr>
          <p:spPr bwMode="auto">
            <a:xfrm>
              <a:off x="3044143" y="38147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1" name="iṥ1iďê">
              <a:extLst>
                <a:ext uri="{FF2B5EF4-FFF2-40B4-BE49-F238E27FC236}">
                  <a16:creationId xmlns:a16="http://schemas.microsoft.com/office/drawing/2014/main" xmlns="" id="{D7D56A1B-C83F-4A82-AE9B-6F9FC08747A4}"/>
                </a:ext>
              </a:extLst>
            </p:cNvPr>
            <p:cNvSpPr/>
            <p:nvPr userDrawn="1"/>
          </p:nvSpPr>
          <p:spPr bwMode="auto">
            <a:xfrm>
              <a:off x="3163206" y="3402013"/>
              <a:ext cx="758825" cy="438150"/>
            </a:xfrm>
            <a:custGeom>
              <a:avLst/>
              <a:gdLst>
                <a:gd name="T0" fmla="*/ 230 w 230"/>
                <a:gd name="T1" fmla="*/ 15 h 133"/>
                <a:gd name="T2" fmla="*/ 25 w 230"/>
                <a:gd name="T3" fmla="*/ 133 h 133"/>
                <a:gd name="T4" fmla="*/ 0 w 230"/>
                <a:gd name="T5" fmla="*/ 119 h 133"/>
                <a:gd name="T6" fmla="*/ 206 w 230"/>
                <a:gd name="T7" fmla="*/ 0 h 133"/>
                <a:gd name="T8" fmla="*/ 230 w 230"/>
                <a:gd name="T9" fmla="*/ 1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133">
                  <a:moveTo>
                    <a:pt x="230" y="15"/>
                  </a:moveTo>
                  <a:cubicBezTo>
                    <a:pt x="162" y="54"/>
                    <a:pt x="93" y="93"/>
                    <a:pt x="25" y="133"/>
                  </a:cubicBezTo>
                  <a:cubicBezTo>
                    <a:pt x="15" y="127"/>
                    <a:pt x="10" y="124"/>
                    <a:pt x="0" y="119"/>
                  </a:cubicBezTo>
                  <a:cubicBezTo>
                    <a:pt x="68" y="79"/>
                    <a:pt x="137" y="40"/>
                    <a:pt x="206" y="0"/>
                  </a:cubicBezTo>
                  <a:cubicBezTo>
                    <a:pt x="216" y="6"/>
                    <a:pt x="221" y="9"/>
                    <a:pt x="230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2" name="iSḷîḋe">
              <a:extLst>
                <a:ext uri="{FF2B5EF4-FFF2-40B4-BE49-F238E27FC236}">
                  <a16:creationId xmlns:a16="http://schemas.microsoft.com/office/drawing/2014/main" xmlns="" id="{D3802C82-C123-4497-AF2E-9BB51D859CF9}"/>
                </a:ext>
              </a:extLst>
            </p:cNvPr>
            <p:cNvSpPr/>
            <p:nvPr userDrawn="1"/>
          </p:nvSpPr>
          <p:spPr bwMode="auto">
            <a:xfrm>
              <a:off x="3879168" y="3336925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3" name="ïṥḷíḍé">
              <a:extLst>
                <a:ext uri="{FF2B5EF4-FFF2-40B4-BE49-F238E27FC236}">
                  <a16:creationId xmlns:a16="http://schemas.microsoft.com/office/drawing/2014/main" xmlns="" id="{1EC464A0-3871-43D1-B21A-689427D85938}"/>
                </a:ext>
              </a:extLst>
            </p:cNvPr>
            <p:cNvSpPr/>
            <p:nvPr userDrawn="1"/>
          </p:nvSpPr>
          <p:spPr bwMode="auto">
            <a:xfrm>
              <a:off x="4001406" y="3267075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2"/>
                    <a:pt x="24" y="28"/>
                  </a:cubicBezTo>
                  <a:cubicBezTo>
                    <a:pt x="14" y="22"/>
                    <a:pt x="9" y="20"/>
                    <a:pt x="0" y="14"/>
                  </a:cubicBezTo>
                  <a:cubicBezTo>
                    <a:pt x="9" y="8"/>
                    <a:pt x="14" y="6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4" name="iṩļiḑe">
              <a:extLst>
                <a:ext uri="{FF2B5EF4-FFF2-40B4-BE49-F238E27FC236}">
                  <a16:creationId xmlns:a16="http://schemas.microsoft.com/office/drawing/2014/main" xmlns="" id="{D3A0CA8F-5595-4F46-971A-99A5F372D05F}"/>
                </a:ext>
              </a:extLst>
            </p:cNvPr>
            <p:cNvSpPr/>
            <p:nvPr userDrawn="1"/>
          </p:nvSpPr>
          <p:spPr bwMode="auto">
            <a:xfrm>
              <a:off x="4120468" y="3197225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5" name="ísḻïḑe">
              <a:extLst>
                <a:ext uri="{FF2B5EF4-FFF2-40B4-BE49-F238E27FC236}">
                  <a16:creationId xmlns:a16="http://schemas.microsoft.com/office/drawing/2014/main" xmlns="" id="{769EB3F9-9C97-4529-8E4A-23B8210F0DEB}"/>
                </a:ext>
              </a:extLst>
            </p:cNvPr>
            <p:cNvSpPr/>
            <p:nvPr userDrawn="1"/>
          </p:nvSpPr>
          <p:spPr bwMode="auto">
            <a:xfrm>
              <a:off x="3367993" y="3551238"/>
              <a:ext cx="877888" cy="517525"/>
            </a:xfrm>
            <a:custGeom>
              <a:avLst/>
              <a:gdLst>
                <a:gd name="T0" fmla="*/ 0 w 553"/>
                <a:gd name="T1" fmla="*/ 203 h 326"/>
                <a:gd name="T2" fmla="*/ 353 w 553"/>
                <a:gd name="T3" fmla="*/ 0 h 326"/>
                <a:gd name="T4" fmla="*/ 553 w 553"/>
                <a:gd name="T5" fmla="*/ 124 h 326"/>
                <a:gd name="T6" fmla="*/ 202 w 553"/>
                <a:gd name="T7" fmla="*/ 326 h 326"/>
                <a:gd name="T8" fmla="*/ 0 w 553"/>
                <a:gd name="T9" fmla="*/ 20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3" h="326">
                  <a:moveTo>
                    <a:pt x="0" y="203"/>
                  </a:moveTo>
                  <a:lnTo>
                    <a:pt x="353" y="0"/>
                  </a:lnTo>
                  <a:lnTo>
                    <a:pt x="553" y="124"/>
                  </a:lnTo>
                  <a:lnTo>
                    <a:pt x="202" y="326"/>
                  </a:lnTo>
                  <a:lnTo>
                    <a:pt x="0" y="203"/>
                  </a:ln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6" name="îşļïdè">
              <a:extLst>
                <a:ext uri="{FF2B5EF4-FFF2-40B4-BE49-F238E27FC236}">
                  <a16:creationId xmlns:a16="http://schemas.microsoft.com/office/drawing/2014/main" xmlns="" id="{03CCC757-E984-4ABA-B87D-6F0764CC1D91}"/>
                </a:ext>
              </a:extLst>
            </p:cNvPr>
            <p:cNvSpPr/>
            <p:nvPr userDrawn="1"/>
          </p:nvSpPr>
          <p:spPr bwMode="auto">
            <a:xfrm>
              <a:off x="3374343" y="2235200"/>
              <a:ext cx="95250" cy="58738"/>
            </a:xfrm>
            <a:custGeom>
              <a:avLst/>
              <a:gdLst>
                <a:gd name="T0" fmla="*/ 0 w 60"/>
                <a:gd name="T1" fmla="*/ 35 h 37"/>
                <a:gd name="T2" fmla="*/ 60 w 60"/>
                <a:gd name="T3" fmla="*/ 0 h 37"/>
                <a:gd name="T4" fmla="*/ 60 w 60"/>
                <a:gd name="T5" fmla="*/ 2 h 37"/>
                <a:gd name="T6" fmla="*/ 0 w 60"/>
                <a:gd name="T7" fmla="*/ 37 h 37"/>
                <a:gd name="T8" fmla="*/ 0 w 60"/>
                <a:gd name="T9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37">
                  <a:moveTo>
                    <a:pt x="0" y="35"/>
                  </a:moveTo>
                  <a:lnTo>
                    <a:pt x="60" y="0"/>
                  </a:lnTo>
                  <a:lnTo>
                    <a:pt x="60" y="2"/>
                  </a:lnTo>
                  <a:lnTo>
                    <a:pt x="0" y="37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7" name="ïsļídè">
              <a:extLst>
                <a:ext uri="{FF2B5EF4-FFF2-40B4-BE49-F238E27FC236}">
                  <a16:creationId xmlns:a16="http://schemas.microsoft.com/office/drawing/2014/main" xmlns="" id="{59E1B2ED-67AB-4640-865A-BA10859F09EE}"/>
                </a:ext>
              </a:extLst>
            </p:cNvPr>
            <p:cNvSpPr/>
            <p:nvPr userDrawn="1"/>
          </p:nvSpPr>
          <p:spPr bwMode="auto">
            <a:xfrm>
              <a:off x="3298143" y="2311400"/>
              <a:ext cx="36513" cy="25400"/>
            </a:xfrm>
            <a:custGeom>
              <a:avLst/>
              <a:gdLst>
                <a:gd name="T0" fmla="*/ 0 w 23"/>
                <a:gd name="T1" fmla="*/ 16 h 16"/>
                <a:gd name="T2" fmla="*/ 0 w 23"/>
                <a:gd name="T3" fmla="*/ 14 h 16"/>
                <a:gd name="T4" fmla="*/ 23 w 23"/>
                <a:gd name="T5" fmla="*/ 0 h 16"/>
                <a:gd name="T6" fmla="*/ 21 w 23"/>
                <a:gd name="T7" fmla="*/ 4 h 16"/>
                <a:gd name="T8" fmla="*/ 0 w 2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6">
                  <a:moveTo>
                    <a:pt x="0" y="16"/>
                  </a:moveTo>
                  <a:lnTo>
                    <a:pt x="0" y="14"/>
                  </a:lnTo>
                  <a:lnTo>
                    <a:pt x="23" y="0"/>
                  </a:lnTo>
                  <a:lnTo>
                    <a:pt x="21" y="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8" name="ïṩļîdè">
              <a:extLst>
                <a:ext uri="{FF2B5EF4-FFF2-40B4-BE49-F238E27FC236}">
                  <a16:creationId xmlns:a16="http://schemas.microsoft.com/office/drawing/2014/main" xmlns="" id="{7ED7E0B4-7622-4AAC-B70C-786119F3B993}"/>
                </a:ext>
              </a:extLst>
            </p:cNvPr>
            <p:cNvSpPr/>
            <p:nvPr userDrawn="1"/>
          </p:nvSpPr>
          <p:spPr bwMode="auto">
            <a:xfrm>
              <a:off x="3417206" y="2339975"/>
              <a:ext cx="52388" cy="36513"/>
            </a:xfrm>
            <a:custGeom>
              <a:avLst/>
              <a:gdLst>
                <a:gd name="T0" fmla="*/ 0 w 33"/>
                <a:gd name="T1" fmla="*/ 21 h 23"/>
                <a:gd name="T2" fmla="*/ 33 w 33"/>
                <a:gd name="T3" fmla="*/ 0 h 23"/>
                <a:gd name="T4" fmla="*/ 33 w 33"/>
                <a:gd name="T5" fmla="*/ 5 h 23"/>
                <a:gd name="T6" fmla="*/ 2 w 33"/>
                <a:gd name="T7" fmla="*/ 23 h 23"/>
                <a:gd name="T8" fmla="*/ 0 w 3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0" y="21"/>
                  </a:moveTo>
                  <a:lnTo>
                    <a:pt x="33" y="0"/>
                  </a:lnTo>
                  <a:lnTo>
                    <a:pt x="33" y="5"/>
                  </a:lnTo>
                  <a:lnTo>
                    <a:pt x="2" y="23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9" name="ïṧľîḋe">
              <a:extLst>
                <a:ext uri="{FF2B5EF4-FFF2-40B4-BE49-F238E27FC236}">
                  <a16:creationId xmlns:a16="http://schemas.microsoft.com/office/drawing/2014/main" xmlns="" id="{EF9FF9C5-C0C3-4463-803E-F1ABA534C854}"/>
                </a:ext>
              </a:extLst>
            </p:cNvPr>
            <p:cNvSpPr/>
            <p:nvPr userDrawn="1"/>
          </p:nvSpPr>
          <p:spPr bwMode="auto">
            <a:xfrm>
              <a:off x="3229881" y="2254250"/>
              <a:ext cx="239713" cy="357188"/>
            </a:xfrm>
            <a:custGeom>
              <a:avLst/>
              <a:gdLst>
                <a:gd name="T0" fmla="*/ 120 w 151"/>
                <a:gd name="T1" fmla="*/ 77 h 225"/>
                <a:gd name="T2" fmla="*/ 151 w 151"/>
                <a:gd name="T3" fmla="*/ 137 h 225"/>
                <a:gd name="T4" fmla="*/ 112 w 151"/>
                <a:gd name="T5" fmla="*/ 160 h 225"/>
                <a:gd name="T6" fmla="*/ 0 w 151"/>
                <a:gd name="T7" fmla="*/ 225 h 225"/>
                <a:gd name="T8" fmla="*/ 54 w 151"/>
                <a:gd name="T9" fmla="*/ 69 h 225"/>
                <a:gd name="T10" fmla="*/ 64 w 151"/>
                <a:gd name="T11" fmla="*/ 40 h 225"/>
                <a:gd name="T12" fmla="*/ 66 w 151"/>
                <a:gd name="T13" fmla="*/ 36 h 225"/>
                <a:gd name="T14" fmla="*/ 79 w 151"/>
                <a:gd name="T15" fmla="*/ 0 h 225"/>
                <a:gd name="T16" fmla="*/ 91 w 151"/>
                <a:gd name="T17" fmla="*/ 23 h 225"/>
                <a:gd name="T18" fmla="*/ 91 w 151"/>
                <a:gd name="T19" fmla="*/ 25 h 225"/>
                <a:gd name="T20" fmla="*/ 118 w 151"/>
                <a:gd name="T21" fmla="*/ 75 h 225"/>
                <a:gd name="T22" fmla="*/ 120 w 151"/>
                <a:gd name="T23" fmla="*/ 7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1" h="225">
                  <a:moveTo>
                    <a:pt x="120" y="77"/>
                  </a:moveTo>
                  <a:lnTo>
                    <a:pt x="151" y="137"/>
                  </a:lnTo>
                  <a:lnTo>
                    <a:pt x="112" y="160"/>
                  </a:lnTo>
                  <a:lnTo>
                    <a:pt x="0" y="225"/>
                  </a:lnTo>
                  <a:lnTo>
                    <a:pt x="54" y="69"/>
                  </a:lnTo>
                  <a:lnTo>
                    <a:pt x="64" y="40"/>
                  </a:lnTo>
                  <a:lnTo>
                    <a:pt x="66" y="36"/>
                  </a:lnTo>
                  <a:lnTo>
                    <a:pt x="79" y="0"/>
                  </a:lnTo>
                  <a:lnTo>
                    <a:pt x="91" y="23"/>
                  </a:lnTo>
                  <a:lnTo>
                    <a:pt x="91" y="25"/>
                  </a:lnTo>
                  <a:lnTo>
                    <a:pt x="118" y="75"/>
                  </a:lnTo>
                  <a:lnTo>
                    <a:pt x="120" y="7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0" name="îş1iḓê">
              <a:extLst>
                <a:ext uri="{FF2B5EF4-FFF2-40B4-BE49-F238E27FC236}">
                  <a16:creationId xmlns:a16="http://schemas.microsoft.com/office/drawing/2014/main" xmlns="" id="{A5D93AA5-4067-46D6-B2FD-E15D25E32DD3}"/>
                </a:ext>
              </a:extLst>
            </p:cNvPr>
            <p:cNvSpPr/>
            <p:nvPr userDrawn="1"/>
          </p:nvSpPr>
          <p:spPr bwMode="auto">
            <a:xfrm>
              <a:off x="3163206" y="2297113"/>
              <a:ext cx="152400" cy="314325"/>
            </a:xfrm>
            <a:custGeom>
              <a:avLst/>
              <a:gdLst>
                <a:gd name="T0" fmla="*/ 85 w 96"/>
                <a:gd name="T1" fmla="*/ 25 h 198"/>
                <a:gd name="T2" fmla="*/ 96 w 96"/>
                <a:gd name="T3" fmla="*/ 42 h 198"/>
                <a:gd name="T4" fmla="*/ 42 w 96"/>
                <a:gd name="T5" fmla="*/ 198 h 198"/>
                <a:gd name="T6" fmla="*/ 0 w 96"/>
                <a:gd name="T7" fmla="*/ 181 h 198"/>
                <a:gd name="T8" fmla="*/ 21 w 96"/>
                <a:gd name="T9" fmla="*/ 131 h 198"/>
                <a:gd name="T10" fmla="*/ 21 w 96"/>
                <a:gd name="T11" fmla="*/ 127 h 198"/>
                <a:gd name="T12" fmla="*/ 54 w 96"/>
                <a:gd name="T13" fmla="*/ 44 h 198"/>
                <a:gd name="T14" fmla="*/ 54 w 96"/>
                <a:gd name="T15" fmla="*/ 40 h 198"/>
                <a:gd name="T16" fmla="*/ 71 w 96"/>
                <a:gd name="T17" fmla="*/ 0 h 198"/>
                <a:gd name="T18" fmla="*/ 85 w 96"/>
                <a:gd name="T19" fmla="*/ 23 h 198"/>
                <a:gd name="T20" fmla="*/ 85 w 96"/>
                <a:gd name="T21" fmla="*/ 25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198">
                  <a:moveTo>
                    <a:pt x="85" y="25"/>
                  </a:moveTo>
                  <a:lnTo>
                    <a:pt x="96" y="42"/>
                  </a:lnTo>
                  <a:lnTo>
                    <a:pt x="42" y="198"/>
                  </a:lnTo>
                  <a:lnTo>
                    <a:pt x="0" y="181"/>
                  </a:lnTo>
                  <a:lnTo>
                    <a:pt x="21" y="131"/>
                  </a:lnTo>
                  <a:lnTo>
                    <a:pt x="21" y="127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71" y="0"/>
                  </a:lnTo>
                  <a:lnTo>
                    <a:pt x="85" y="23"/>
                  </a:lnTo>
                  <a:lnTo>
                    <a:pt x="85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1" name="ïSľîḋe">
              <a:extLst>
                <a:ext uri="{FF2B5EF4-FFF2-40B4-BE49-F238E27FC236}">
                  <a16:creationId xmlns:a16="http://schemas.microsoft.com/office/drawing/2014/main" xmlns="" id="{5F4C3055-70AF-41BC-B4DC-0A0661A70D89}"/>
                </a:ext>
              </a:extLst>
            </p:cNvPr>
            <p:cNvSpPr/>
            <p:nvPr userDrawn="1"/>
          </p:nvSpPr>
          <p:spPr bwMode="auto">
            <a:xfrm>
              <a:off x="2967943" y="2562225"/>
              <a:ext cx="261938" cy="200025"/>
            </a:xfrm>
            <a:custGeom>
              <a:avLst/>
              <a:gdLst>
                <a:gd name="T0" fmla="*/ 82 w 165"/>
                <a:gd name="T1" fmla="*/ 0 h 126"/>
                <a:gd name="T2" fmla="*/ 123 w 165"/>
                <a:gd name="T3" fmla="*/ 14 h 126"/>
                <a:gd name="T4" fmla="*/ 165 w 165"/>
                <a:gd name="T5" fmla="*/ 31 h 126"/>
                <a:gd name="T6" fmla="*/ 104 w 165"/>
                <a:gd name="T7" fmla="*/ 66 h 126"/>
                <a:gd name="T8" fmla="*/ 0 w 165"/>
                <a:gd name="T9" fmla="*/ 126 h 126"/>
                <a:gd name="T10" fmla="*/ 67 w 165"/>
                <a:gd name="T11" fmla="*/ 18 h 126"/>
                <a:gd name="T12" fmla="*/ 79 w 165"/>
                <a:gd name="T13" fmla="*/ 0 h 126"/>
                <a:gd name="T14" fmla="*/ 82 w 165"/>
                <a:gd name="T15" fmla="*/ 0 h 126"/>
                <a:gd name="T16" fmla="*/ 82 w 165"/>
                <a:gd name="T1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26">
                  <a:moveTo>
                    <a:pt x="82" y="0"/>
                  </a:moveTo>
                  <a:lnTo>
                    <a:pt x="123" y="14"/>
                  </a:lnTo>
                  <a:lnTo>
                    <a:pt x="165" y="31"/>
                  </a:lnTo>
                  <a:lnTo>
                    <a:pt x="104" y="66"/>
                  </a:lnTo>
                  <a:lnTo>
                    <a:pt x="0" y="126"/>
                  </a:lnTo>
                  <a:lnTo>
                    <a:pt x="67" y="18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2" name="íṧľiḓè">
              <a:extLst>
                <a:ext uri="{FF2B5EF4-FFF2-40B4-BE49-F238E27FC236}">
                  <a16:creationId xmlns:a16="http://schemas.microsoft.com/office/drawing/2014/main" xmlns="" id="{BAB43E20-8E7C-4B8E-B43F-0BA16D746EF7}"/>
                </a:ext>
              </a:extLst>
            </p:cNvPr>
            <p:cNvSpPr/>
            <p:nvPr userDrawn="1"/>
          </p:nvSpPr>
          <p:spPr bwMode="auto">
            <a:xfrm>
              <a:off x="3064781" y="2498725"/>
              <a:ext cx="131763" cy="79375"/>
            </a:xfrm>
            <a:custGeom>
              <a:avLst/>
              <a:gdLst>
                <a:gd name="T0" fmla="*/ 0 w 83"/>
                <a:gd name="T1" fmla="*/ 50 h 50"/>
                <a:gd name="T2" fmla="*/ 0 w 83"/>
                <a:gd name="T3" fmla="*/ 50 h 50"/>
                <a:gd name="T4" fmla="*/ 83 w 83"/>
                <a:gd name="T5" fmla="*/ 0 h 50"/>
                <a:gd name="T6" fmla="*/ 83 w 83"/>
                <a:gd name="T7" fmla="*/ 4 h 50"/>
                <a:gd name="T8" fmla="*/ 21 w 83"/>
                <a:gd name="T9" fmla="*/ 40 h 50"/>
                <a:gd name="T10" fmla="*/ 21 w 83"/>
                <a:gd name="T11" fmla="*/ 40 h 50"/>
                <a:gd name="T12" fmla="*/ 18 w 83"/>
                <a:gd name="T13" fmla="*/ 40 h 50"/>
                <a:gd name="T14" fmla="*/ 0 w 83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50">
                  <a:moveTo>
                    <a:pt x="0" y="50"/>
                  </a:moveTo>
                  <a:lnTo>
                    <a:pt x="0" y="50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8" y="4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3" name="iṥľiḋe">
              <a:extLst>
                <a:ext uri="{FF2B5EF4-FFF2-40B4-BE49-F238E27FC236}">
                  <a16:creationId xmlns:a16="http://schemas.microsoft.com/office/drawing/2014/main" xmlns="" id="{C3B4051E-E88D-4586-A9A9-7EC4AFF98850}"/>
                </a:ext>
              </a:extLst>
            </p:cNvPr>
            <p:cNvSpPr/>
            <p:nvPr userDrawn="1"/>
          </p:nvSpPr>
          <p:spPr bwMode="auto">
            <a:xfrm>
              <a:off x="2942543" y="2522538"/>
              <a:ext cx="131763" cy="239713"/>
            </a:xfrm>
            <a:custGeom>
              <a:avLst/>
              <a:gdLst>
                <a:gd name="T0" fmla="*/ 77 w 83"/>
                <a:gd name="T1" fmla="*/ 35 h 151"/>
                <a:gd name="T2" fmla="*/ 83 w 83"/>
                <a:gd name="T3" fmla="*/ 43 h 151"/>
                <a:gd name="T4" fmla="*/ 16 w 83"/>
                <a:gd name="T5" fmla="*/ 151 h 151"/>
                <a:gd name="T6" fmla="*/ 0 w 83"/>
                <a:gd name="T7" fmla="*/ 120 h 151"/>
                <a:gd name="T8" fmla="*/ 21 w 83"/>
                <a:gd name="T9" fmla="*/ 68 h 151"/>
                <a:gd name="T10" fmla="*/ 23 w 83"/>
                <a:gd name="T11" fmla="*/ 66 h 151"/>
                <a:gd name="T12" fmla="*/ 50 w 83"/>
                <a:gd name="T13" fmla="*/ 0 h 151"/>
                <a:gd name="T14" fmla="*/ 77 w 83"/>
                <a:gd name="T15" fmla="*/ 35 h 151"/>
                <a:gd name="T16" fmla="*/ 77 w 83"/>
                <a:gd name="T17" fmla="*/ 3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51">
                  <a:moveTo>
                    <a:pt x="77" y="35"/>
                  </a:moveTo>
                  <a:lnTo>
                    <a:pt x="83" y="43"/>
                  </a:lnTo>
                  <a:lnTo>
                    <a:pt x="16" y="151"/>
                  </a:lnTo>
                  <a:lnTo>
                    <a:pt x="0" y="120"/>
                  </a:lnTo>
                  <a:lnTo>
                    <a:pt x="21" y="68"/>
                  </a:lnTo>
                  <a:lnTo>
                    <a:pt x="23" y="66"/>
                  </a:lnTo>
                  <a:lnTo>
                    <a:pt x="50" y="0"/>
                  </a:lnTo>
                  <a:lnTo>
                    <a:pt x="77" y="35"/>
                  </a:lnTo>
                  <a:lnTo>
                    <a:pt x="77" y="3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4" name="îṧḻîdê">
              <a:extLst>
                <a:ext uri="{FF2B5EF4-FFF2-40B4-BE49-F238E27FC236}">
                  <a16:creationId xmlns:a16="http://schemas.microsoft.com/office/drawing/2014/main" xmlns="" id="{F92AB470-F261-447D-A721-5F83DE681E1D}"/>
                </a:ext>
              </a:extLst>
            </p:cNvPr>
            <p:cNvSpPr/>
            <p:nvPr userDrawn="1"/>
          </p:nvSpPr>
          <p:spPr bwMode="auto">
            <a:xfrm>
              <a:off x="2915556" y="2627313"/>
              <a:ext cx="63500" cy="36513"/>
            </a:xfrm>
            <a:custGeom>
              <a:avLst/>
              <a:gdLst>
                <a:gd name="T0" fmla="*/ 0 w 40"/>
                <a:gd name="T1" fmla="*/ 23 h 23"/>
                <a:gd name="T2" fmla="*/ 0 w 40"/>
                <a:gd name="T3" fmla="*/ 21 h 23"/>
                <a:gd name="T4" fmla="*/ 40 w 40"/>
                <a:gd name="T5" fmla="*/ 0 h 23"/>
                <a:gd name="T6" fmla="*/ 38 w 40"/>
                <a:gd name="T7" fmla="*/ 2 h 23"/>
                <a:gd name="T8" fmla="*/ 0 w 40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0" y="23"/>
                  </a:moveTo>
                  <a:lnTo>
                    <a:pt x="0" y="21"/>
                  </a:lnTo>
                  <a:lnTo>
                    <a:pt x="40" y="0"/>
                  </a:lnTo>
                  <a:lnTo>
                    <a:pt x="38" y="2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5" name="îşḷîḋe">
              <a:extLst>
                <a:ext uri="{FF2B5EF4-FFF2-40B4-BE49-F238E27FC236}">
                  <a16:creationId xmlns:a16="http://schemas.microsoft.com/office/drawing/2014/main" xmlns="" id="{016AFBB4-642A-4B8D-AE69-107E983F2679}"/>
                </a:ext>
              </a:extLst>
            </p:cNvPr>
            <p:cNvSpPr/>
            <p:nvPr userDrawn="1"/>
          </p:nvSpPr>
          <p:spPr bwMode="auto">
            <a:xfrm>
              <a:off x="2872693" y="2360613"/>
              <a:ext cx="376238" cy="220663"/>
            </a:xfrm>
            <a:custGeom>
              <a:avLst/>
              <a:gdLst>
                <a:gd name="T0" fmla="*/ 2 w 237"/>
                <a:gd name="T1" fmla="*/ 139 h 139"/>
                <a:gd name="T2" fmla="*/ 0 w 237"/>
                <a:gd name="T3" fmla="*/ 137 h 139"/>
                <a:gd name="T4" fmla="*/ 237 w 237"/>
                <a:gd name="T5" fmla="*/ 0 h 139"/>
                <a:gd name="T6" fmla="*/ 237 w 237"/>
                <a:gd name="T7" fmla="*/ 4 h 139"/>
                <a:gd name="T8" fmla="*/ 2 w 237"/>
                <a:gd name="T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39">
                  <a:moveTo>
                    <a:pt x="2" y="139"/>
                  </a:moveTo>
                  <a:lnTo>
                    <a:pt x="0" y="137"/>
                  </a:lnTo>
                  <a:lnTo>
                    <a:pt x="237" y="0"/>
                  </a:lnTo>
                  <a:lnTo>
                    <a:pt x="237" y="4"/>
                  </a:lnTo>
                  <a:lnTo>
                    <a:pt x="2" y="13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6" name="íṧľïḍe">
              <a:extLst>
                <a:ext uri="{FF2B5EF4-FFF2-40B4-BE49-F238E27FC236}">
                  <a16:creationId xmlns:a16="http://schemas.microsoft.com/office/drawing/2014/main" xmlns="" id="{ACDABE15-2ACF-4EA7-8E29-A3F9EB2576D6}"/>
                </a:ext>
              </a:extLst>
            </p:cNvPr>
            <p:cNvSpPr/>
            <p:nvPr userDrawn="1"/>
          </p:nvSpPr>
          <p:spPr bwMode="auto">
            <a:xfrm>
              <a:off x="2747281" y="2544763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7" name="ïślíḋè">
              <a:extLst>
                <a:ext uri="{FF2B5EF4-FFF2-40B4-BE49-F238E27FC236}">
                  <a16:creationId xmlns:a16="http://schemas.microsoft.com/office/drawing/2014/main" xmlns="" id="{9377E741-4149-4E8D-8EBE-578E70182465}"/>
                </a:ext>
              </a:extLst>
            </p:cNvPr>
            <p:cNvSpPr/>
            <p:nvPr userDrawn="1"/>
          </p:nvSpPr>
          <p:spPr bwMode="auto">
            <a:xfrm>
              <a:off x="2747281" y="2544763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8" name="ïṣ1iḍé">
              <a:extLst>
                <a:ext uri="{FF2B5EF4-FFF2-40B4-BE49-F238E27FC236}">
                  <a16:creationId xmlns:a16="http://schemas.microsoft.com/office/drawing/2014/main" xmlns="" id="{342F894C-5039-459B-BB0D-6F05C770778B}"/>
                </a:ext>
              </a:extLst>
            </p:cNvPr>
            <p:cNvSpPr/>
            <p:nvPr userDrawn="1"/>
          </p:nvSpPr>
          <p:spPr bwMode="auto">
            <a:xfrm>
              <a:off x="2799668" y="2597150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9" name="îṩḷïḑê">
              <a:extLst>
                <a:ext uri="{FF2B5EF4-FFF2-40B4-BE49-F238E27FC236}">
                  <a16:creationId xmlns:a16="http://schemas.microsoft.com/office/drawing/2014/main" xmlns="" id="{74D9AA6D-EF85-413D-8B4B-A92D376DC0C6}"/>
                </a:ext>
              </a:extLst>
            </p:cNvPr>
            <p:cNvSpPr/>
            <p:nvPr userDrawn="1"/>
          </p:nvSpPr>
          <p:spPr bwMode="auto">
            <a:xfrm>
              <a:off x="2799668" y="2597150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0" name="ïṡ1îde">
              <a:extLst>
                <a:ext uri="{FF2B5EF4-FFF2-40B4-BE49-F238E27FC236}">
                  <a16:creationId xmlns:a16="http://schemas.microsoft.com/office/drawing/2014/main" xmlns="" id="{06B8A12B-6ABF-4F58-B2F8-08E1F24172A4}"/>
                </a:ext>
              </a:extLst>
            </p:cNvPr>
            <p:cNvSpPr/>
            <p:nvPr userDrawn="1"/>
          </p:nvSpPr>
          <p:spPr bwMode="auto">
            <a:xfrm>
              <a:off x="2750456" y="2119313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1" name="íṧļíďê">
              <a:extLst>
                <a:ext uri="{FF2B5EF4-FFF2-40B4-BE49-F238E27FC236}">
                  <a16:creationId xmlns:a16="http://schemas.microsoft.com/office/drawing/2014/main" xmlns="" id="{ED3178FC-24B0-4D8B-A67B-FC456A60D941}"/>
                </a:ext>
              </a:extLst>
            </p:cNvPr>
            <p:cNvSpPr/>
            <p:nvPr userDrawn="1"/>
          </p:nvSpPr>
          <p:spPr bwMode="auto">
            <a:xfrm>
              <a:off x="2750456" y="2119313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2" name="iś1íḍê">
              <a:extLst>
                <a:ext uri="{FF2B5EF4-FFF2-40B4-BE49-F238E27FC236}">
                  <a16:creationId xmlns:a16="http://schemas.microsoft.com/office/drawing/2014/main" xmlns="" id="{64E47A5B-7732-47AB-B411-B94C6DA45EEC}"/>
                </a:ext>
              </a:extLst>
            </p:cNvPr>
            <p:cNvSpPr/>
            <p:nvPr userDrawn="1"/>
          </p:nvSpPr>
          <p:spPr bwMode="auto">
            <a:xfrm>
              <a:off x="2256743" y="2014538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3" name="îSľîḓè">
              <a:extLst>
                <a:ext uri="{FF2B5EF4-FFF2-40B4-BE49-F238E27FC236}">
                  <a16:creationId xmlns:a16="http://schemas.microsoft.com/office/drawing/2014/main" xmlns="" id="{90C78F13-D185-4676-A008-5007EC752F71}"/>
                </a:ext>
              </a:extLst>
            </p:cNvPr>
            <p:cNvSpPr/>
            <p:nvPr userDrawn="1"/>
          </p:nvSpPr>
          <p:spPr bwMode="auto">
            <a:xfrm>
              <a:off x="2256743" y="2014538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4" name="ïṣľidé">
              <a:extLst>
                <a:ext uri="{FF2B5EF4-FFF2-40B4-BE49-F238E27FC236}">
                  <a16:creationId xmlns:a16="http://schemas.microsoft.com/office/drawing/2014/main" xmlns="" id="{C0E545BE-20F9-4416-95D4-2AB8D89DF800}"/>
                </a:ext>
              </a:extLst>
            </p:cNvPr>
            <p:cNvSpPr/>
            <p:nvPr userDrawn="1"/>
          </p:nvSpPr>
          <p:spPr bwMode="auto">
            <a:xfrm>
              <a:off x="2256743" y="2551113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5" name="íṩlíďe">
              <a:extLst>
                <a:ext uri="{FF2B5EF4-FFF2-40B4-BE49-F238E27FC236}">
                  <a16:creationId xmlns:a16="http://schemas.microsoft.com/office/drawing/2014/main" xmlns="" id="{BDD0C98C-3D19-4D7A-9B28-E1BCB57391A7}"/>
                </a:ext>
              </a:extLst>
            </p:cNvPr>
            <p:cNvSpPr/>
            <p:nvPr userDrawn="1"/>
          </p:nvSpPr>
          <p:spPr bwMode="auto">
            <a:xfrm>
              <a:off x="2256743" y="2551113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6" name="ï$lidè">
              <a:extLst>
                <a:ext uri="{FF2B5EF4-FFF2-40B4-BE49-F238E27FC236}">
                  <a16:creationId xmlns:a16="http://schemas.microsoft.com/office/drawing/2014/main" xmlns="" id="{975D5862-2491-422D-9818-92E52195A7A3}"/>
                </a:ext>
              </a:extLst>
            </p:cNvPr>
            <p:cNvSpPr/>
            <p:nvPr userDrawn="1"/>
          </p:nvSpPr>
          <p:spPr bwMode="auto">
            <a:xfrm>
              <a:off x="2621868" y="2700338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7" name="îṡḷide">
              <a:extLst>
                <a:ext uri="{FF2B5EF4-FFF2-40B4-BE49-F238E27FC236}">
                  <a16:creationId xmlns:a16="http://schemas.microsoft.com/office/drawing/2014/main" xmlns="" id="{1D11B301-814B-4C03-9BA8-F0164D21BC4F}"/>
                </a:ext>
              </a:extLst>
            </p:cNvPr>
            <p:cNvSpPr/>
            <p:nvPr userDrawn="1"/>
          </p:nvSpPr>
          <p:spPr bwMode="auto">
            <a:xfrm>
              <a:off x="2621868" y="2700338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8" name="î$1ïḋè">
              <a:extLst>
                <a:ext uri="{FF2B5EF4-FFF2-40B4-BE49-F238E27FC236}">
                  <a16:creationId xmlns:a16="http://schemas.microsoft.com/office/drawing/2014/main" xmlns="" id="{22C16BBA-8D2F-4A01-BB27-7D70B463C16B}"/>
                </a:ext>
              </a:extLst>
            </p:cNvPr>
            <p:cNvSpPr/>
            <p:nvPr userDrawn="1"/>
          </p:nvSpPr>
          <p:spPr bwMode="auto">
            <a:xfrm>
              <a:off x="2256743" y="2990850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9" name="íśļîďè">
              <a:extLst>
                <a:ext uri="{FF2B5EF4-FFF2-40B4-BE49-F238E27FC236}">
                  <a16:creationId xmlns:a16="http://schemas.microsoft.com/office/drawing/2014/main" xmlns="" id="{76A47D9D-6C62-49B5-95BF-DBD1F3263180}"/>
                </a:ext>
              </a:extLst>
            </p:cNvPr>
            <p:cNvSpPr/>
            <p:nvPr userDrawn="1"/>
          </p:nvSpPr>
          <p:spPr bwMode="auto">
            <a:xfrm>
              <a:off x="2256743" y="2990850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0" name="ïśḷïḋè">
              <a:extLst>
                <a:ext uri="{FF2B5EF4-FFF2-40B4-BE49-F238E27FC236}">
                  <a16:creationId xmlns:a16="http://schemas.microsoft.com/office/drawing/2014/main" xmlns="" id="{84B415B3-2B3A-44D0-AA7D-5AF21E461B49}"/>
                </a:ext>
              </a:extLst>
            </p:cNvPr>
            <p:cNvSpPr/>
            <p:nvPr userDrawn="1"/>
          </p:nvSpPr>
          <p:spPr bwMode="auto">
            <a:xfrm>
              <a:off x="2377393" y="2651125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1" name="îṣľïḍe">
              <a:extLst>
                <a:ext uri="{FF2B5EF4-FFF2-40B4-BE49-F238E27FC236}">
                  <a16:creationId xmlns:a16="http://schemas.microsoft.com/office/drawing/2014/main" xmlns="" id="{89F65B2C-F086-4F8F-9BC2-7E8F30AABD52}"/>
                </a:ext>
              </a:extLst>
            </p:cNvPr>
            <p:cNvSpPr/>
            <p:nvPr userDrawn="1"/>
          </p:nvSpPr>
          <p:spPr bwMode="auto">
            <a:xfrm>
              <a:off x="2377393" y="2651125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2" name="îṣ1iďè">
              <a:extLst>
                <a:ext uri="{FF2B5EF4-FFF2-40B4-BE49-F238E27FC236}">
                  <a16:creationId xmlns:a16="http://schemas.microsoft.com/office/drawing/2014/main" xmlns="" id="{0CB80795-FA34-4694-80D0-389A718336E7}"/>
                </a:ext>
              </a:extLst>
            </p:cNvPr>
            <p:cNvSpPr/>
            <p:nvPr userDrawn="1"/>
          </p:nvSpPr>
          <p:spPr bwMode="auto">
            <a:xfrm>
              <a:off x="2259918" y="2881313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3" name="îṣļíḑê">
              <a:extLst>
                <a:ext uri="{FF2B5EF4-FFF2-40B4-BE49-F238E27FC236}">
                  <a16:creationId xmlns:a16="http://schemas.microsoft.com/office/drawing/2014/main" xmlns="" id="{85717723-BF70-4167-8F7A-B226B4BAA4BC}"/>
                </a:ext>
              </a:extLst>
            </p:cNvPr>
            <p:cNvSpPr/>
            <p:nvPr userDrawn="1"/>
          </p:nvSpPr>
          <p:spPr bwMode="auto">
            <a:xfrm>
              <a:off x="2259918" y="2881313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4" name="îṩlïďé">
              <a:extLst>
                <a:ext uri="{FF2B5EF4-FFF2-40B4-BE49-F238E27FC236}">
                  <a16:creationId xmlns:a16="http://schemas.microsoft.com/office/drawing/2014/main" xmlns="" id="{565AF101-6FD8-4AE9-B12F-1303393CFD72}"/>
                </a:ext>
              </a:extLst>
            </p:cNvPr>
            <p:cNvSpPr/>
            <p:nvPr userDrawn="1"/>
          </p:nvSpPr>
          <p:spPr bwMode="auto">
            <a:xfrm>
              <a:off x="2256743" y="2792413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5" name="îṡlïḋê">
              <a:extLst>
                <a:ext uri="{FF2B5EF4-FFF2-40B4-BE49-F238E27FC236}">
                  <a16:creationId xmlns:a16="http://schemas.microsoft.com/office/drawing/2014/main" xmlns="" id="{FDA046F1-F3EF-4D3C-AFC0-4FFF05640ACF}"/>
                </a:ext>
              </a:extLst>
            </p:cNvPr>
            <p:cNvSpPr/>
            <p:nvPr userDrawn="1"/>
          </p:nvSpPr>
          <p:spPr bwMode="auto">
            <a:xfrm>
              <a:off x="2256743" y="2792413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6" name="îšlíḍè">
              <a:extLst>
                <a:ext uri="{FF2B5EF4-FFF2-40B4-BE49-F238E27FC236}">
                  <a16:creationId xmlns:a16="http://schemas.microsoft.com/office/drawing/2014/main" xmlns="" id="{3E74C97A-D274-4E30-8C3B-F852D2E750EC}"/>
                </a:ext>
              </a:extLst>
            </p:cNvPr>
            <p:cNvSpPr/>
            <p:nvPr userDrawn="1"/>
          </p:nvSpPr>
          <p:spPr bwMode="auto">
            <a:xfrm>
              <a:off x="2642506" y="2511425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7" name="ïṥḷïdé">
              <a:extLst>
                <a:ext uri="{FF2B5EF4-FFF2-40B4-BE49-F238E27FC236}">
                  <a16:creationId xmlns:a16="http://schemas.microsoft.com/office/drawing/2014/main" xmlns="" id="{A4C9A87B-4C5F-40A4-8D11-77BD7C49F86A}"/>
                </a:ext>
              </a:extLst>
            </p:cNvPr>
            <p:cNvSpPr/>
            <p:nvPr userDrawn="1"/>
          </p:nvSpPr>
          <p:spPr bwMode="auto">
            <a:xfrm>
              <a:off x="2642506" y="2511425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8" name="íṩľide">
              <a:extLst>
                <a:ext uri="{FF2B5EF4-FFF2-40B4-BE49-F238E27FC236}">
                  <a16:creationId xmlns:a16="http://schemas.microsoft.com/office/drawing/2014/main" xmlns="" id="{1285C48C-D89A-48AB-B8D4-22F8EDAC730E}"/>
                </a:ext>
              </a:extLst>
            </p:cNvPr>
            <p:cNvSpPr/>
            <p:nvPr userDrawn="1"/>
          </p:nvSpPr>
          <p:spPr bwMode="auto">
            <a:xfrm>
              <a:off x="2251981" y="1892300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9" name="ïṩļïḋé">
              <a:extLst>
                <a:ext uri="{FF2B5EF4-FFF2-40B4-BE49-F238E27FC236}">
                  <a16:creationId xmlns:a16="http://schemas.microsoft.com/office/drawing/2014/main" xmlns="" id="{60E2ABB0-7134-4A04-9F59-B03D2366AA06}"/>
                </a:ext>
              </a:extLst>
            </p:cNvPr>
            <p:cNvSpPr/>
            <p:nvPr userDrawn="1"/>
          </p:nvSpPr>
          <p:spPr bwMode="auto">
            <a:xfrm>
              <a:off x="2251981" y="1892300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0" name="iṧḷïḍe">
              <a:extLst>
                <a:ext uri="{FF2B5EF4-FFF2-40B4-BE49-F238E27FC236}">
                  <a16:creationId xmlns:a16="http://schemas.microsoft.com/office/drawing/2014/main" xmlns="" id="{B8ACD1FE-4EF7-4F9D-8631-E2A6A5A37F1D}"/>
                </a:ext>
              </a:extLst>
            </p:cNvPr>
            <p:cNvSpPr/>
            <p:nvPr userDrawn="1"/>
          </p:nvSpPr>
          <p:spPr bwMode="auto">
            <a:xfrm>
              <a:off x="2251981" y="2468563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1" name="ïšľíḍe">
              <a:extLst>
                <a:ext uri="{FF2B5EF4-FFF2-40B4-BE49-F238E27FC236}">
                  <a16:creationId xmlns:a16="http://schemas.microsoft.com/office/drawing/2014/main" xmlns="" id="{084F313F-E522-40EB-A2B7-36DF3AC9139B}"/>
                </a:ext>
              </a:extLst>
            </p:cNvPr>
            <p:cNvSpPr/>
            <p:nvPr userDrawn="1"/>
          </p:nvSpPr>
          <p:spPr bwMode="auto">
            <a:xfrm>
              <a:off x="2251981" y="2468563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2" name="isliḍe">
              <a:extLst>
                <a:ext uri="{FF2B5EF4-FFF2-40B4-BE49-F238E27FC236}">
                  <a16:creationId xmlns:a16="http://schemas.microsoft.com/office/drawing/2014/main" xmlns="" id="{B525E659-37A8-40DD-A394-166D45A98749}"/>
                </a:ext>
              </a:extLst>
            </p:cNvPr>
            <p:cNvSpPr/>
            <p:nvPr userDrawn="1"/>
          </p:nvSpPr>
          <p:spPr bwMode="auto">
            <a:xfrm>
              <a:off x="2040843" y="1400175"/>
              <a:ext cx="1557338" cy="2301875"/>
            </a:xfrm>
            <a:custGeom>
              <a:avLst/>
              <a:gdLst>
                <a:gd name="T0" fmla="*/ 15 w 472"/>
                <a:gd name="T1" fmla="*/ 689 h 698"/>
                <a:gd name="T2" fmla="*/ 0 w 472"/>
                <a:gd name="T3" fmla="*/ 698 h 698"/>
                <a:gd name="T4" fmla="*/ 15 w 472"/>
                <a:gd name="T5" fmla="*/ 689 h 698"/>
                <a:gd name="T6" fmla="*/ 15 w 472"/>
                <a:gd name="T7" fmla="*/ 689 h 698"/>
                <a:gd name="T8" fmla="*/ 472 w 472"/>
                <a:gd name="T9" fmla="*/ 0 h 698"/>
                <a:gd name="T10" fmla="*/ 471 w 472"/>
                <a:gd name="T11" fmla="*/ 1 h 698"/>
                <a:gd name="T12" fmla="*/ 17 w 472"/>
                <a:gd name="T13" fmla="*/ 261 h 698"/>
                <a:gd name="T14" fmla="*/ 1 w 472"/>
                <a:gd name="T15" fmla="*/ 289 h 698"/>
                <a:gd name="T16" fmla="*/ 0 w 472"/>
                <a:gd name="T17" fmla="*/ 698 h 698"/>
                <a:gd name="T18" fmla="*/ 1 w 472"/>
                <a:gd name="T19" fmla="*/ 289 h 698"/>
                <a:gd name="T20" fmla="*/ 17 w 472"/>
                <a:gd name="T21" fmla="*/ 261 h 698"/>
                <a:gd name="T22" fmla="*/ 471 w 472"/>
                <a:gd name="T23" fmla="*/ 1 h 698"/>
                <a:gd name="T24" fmla="*/ 472 w 472"/>
                <a:gd name="T2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698">
                  <a:moveTo>
                    <a:pt x="15" y="689"/>
                  </a:moveTo>
                  <a:cubicBezTo>
                    <a:pt x="0" y="698"/>
                    <a:pt x="0" y="698"/>
                    <a:pt x="0" y="698"/>
                  </a:cubicBezTo>
                  <a:cubicBezTo>
                    <a:pt x="15" y="689"/>
                    <a:pt x="15" y="689"/>
                    <a:pt x="15" y="689"/>
                  </a:cubicBezTo>
                  <a:cubicBezTo>
                    <a:pt x="15" y="689"/>
                    <a:pt x="15" y="689"/>
                    <a:pt x="15" y="689"/>
                  </a:cubicBezTo>
                  <a:moveTo>
                    <a:pt x="472" y="0"/>
                  </a:moveTo>
                  <a:cubicBezTo>
                    <a:pt x="471" y="0"/>
                    <a:pt x="471" y="1"/>
                    <a:pt x="471" y="1"/>
                  </a:cubicBezTo>
                  <a:cubicBezTo>
                    <a:pt x="17" y="261"/>
                    <a:pt x="17" y="261"/>
                    <a:pt x="17" y="261"/>
                  </a:cubicBezTo>
                  <a:cubicBezTo>
                    <a:pt x="7" y="267"/>
                    <a:pt x="1" y="277"/>
                    <a:pt x="1" y="289"/>
                  </a:cubicBezTo>
                  <a:cubicBezTo>
                    <a:pt x="0" y="698"/>
                    <a:pt x="0" y="698"/>
                    <a:pt x="0" y="698"/>
                  </a:cubicBezTo>
                  <a:cubicBezTo>
                    <a:pt x="1" y="289"/>
                    <a:pt x="1" y="289"/>
                    <a:pt x="1" y="289"/>
                  </a:cubicBezTo>
                  <a:cubicBezTo>
                    <a:pt x="1" y="277"/>
                    <a:pt x="7" y="267"/>
                    <a:pt x="17" y="261"/>
                  </a:cubicBezTo>
                  <a:cubicBezTo>
                    <a:pt x="471" y="1"/>
                    <a:pt x="471" y="1"/>
                    <a:pt x="471" y="1"/>
                  </a:cubicBezTo>
                  <a:cubicBezTo>
                    <a:pt x="471" y="1"/>
                    <a:pt x="471" y="0"/>
                    <a:pt x="472" y="0"/>
                  </a:cubicBezTo>
                </a:path>
              </a:pathLst>
            </a:custGeom>
            <a:solidFill>
              <a:srgbClr val="7967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3" name="ïṣľîḍè">
              <a:extLst>
                <a:ext uri="{FF2B5EF4-FFF2-40B4-BE49-F238E27FC236}">
                  <a16:creationId xmlns:a16="http://schemas.microsoft.com/office/drawing/2014/main" xmlns="" id="{84FA8D41-C717-4A93-AD9D-FB16FC675411}"/>
                </a:ext>
              </a:extLst>
            </p:cNvPr>
            <p:cNvSpPr/>
            <p:nvPr userDrawn="1"/>
          </p:nvSpPr>
          <p:spPr bwMode="auto">
            <a:xfrm>
              <a:off x="2040843" y="1397000"/>
              <a:ext cx="1584325" cy="2305050"/>
            </a:xfrm>
            <a:custGeom>
              <a:avLst/>
              <a:gdLst>
                <a:gd name="T0" fmla="*/ 479 w 480"/>
                <a:gd name="T1" fmla="*/ 0 h 699"/>
                <a:gd name="T2" fmla="*/ 472 w 480"/>
                <a:gd name="T3" fmla="*/ 1 h 699"/>
                <a:gd name="T4" fmla="*/ 471 w 480"/>
                <a:gd name="T5" fmla="*/ 2 h 699"/>
                <a:gd name="T6" fmla="*/ 17 w 480"/>
                <a:gd name="T7" fmla="*/ 262 h 699"/>
                <a:gd name="T8" fmla="*/ 1 w 480"/>
                <a:gd name="T9" fmla="*/ 290 h 699"/>
                <a:gd name="T10" fmla="*/ 0 w 480"/>
                <a:gd name="T11" fmla="*/ 699 h 699"/>
                <a:gd name="T12" fmla="*/ 15 w 480"/>
                <a:gd name="T13" fmla="*/ 690 h 699"/>
                <a:gd name="T14" fmla="*/ 40 w 480"/>
                <a:gd name="T15" fmla="*/ 652 h 699"/>
                <a:gd name="T16" fmla="*/ 21 w 480"/>
                <a:gd name="T17" fmla="*/ 663 h 699"/>
                <a:gd name="T18" fmla="*/ 22 w 480"/>
                <a:gd name="T19" fmla="*/ 284 h 699"/>
                <a:gd name="T20" fmla="*/ 457 w 480"/>
                <a:gd name="T21" fmla="*/ 35 h 699"/>
                <a:gd name="T22" fmla="*/ 480 w 480"/>
                <a:gd name="T23" fmla="*/ 0 h 699"/>
                <a:gd name="T24" fmla="*/ 479 w 480"/>
                <a:gd name="T25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0" h="699">
                  <a:moveTo>
                    <a:pt x="479" y="0"/>
                  </a:moveTo>
                  <a:cubicBezTo>
                    <a:pt x="476" y="0"/>
                    <a:pt x="474" y="0"/>
                    <a:pt x="472" y="1"/>
                  </a:cubicBezTo>
                  <a:cubicBezTo>
                    <a:pt x="471" y="1"/>
                    <a:pt x="471" y="2"/>
                    <a:pt x="471" y="2"/>
                  </a:cubicBezTo>
                  <a:cubicBezTo>
                    <a:pt x="17" y="262"/>
                    <a:pt x="17" y="262"/>
                    <a:pt x="17" y="262"/>
                  </a:cubicBezTo>
                  <a:cubicBezTo>
                    <a:pt x="7" y="268"/>
                    <a:pt x="1" y="278"/>
                    <a:pt x="1" y="290"/>
                  </a:cubicBezTo>
                  <a:cubicBezTo>
                    <a:pt x="0" y="699"/>
                    <a:pt x="0" y="699"/>
                    <a:pt x="0" y="699"/>
                  </a:cubicBezTo>
                  <a:cubicBezTo>
                    <a:pt x="15" y="690"/>
                    <a:pt x="15" y="690"/>
                    <a:pt x="15" y="690"/>
                  </a:cubicBezTo>
                  <a:cubicBezTo>
                    <a:pt x="22" y="680"/>
                    <a:pt x="30" y="667"/>
                    <a:pt x="40" y="652"/>
                  </a:cubicBezTo>
                  <a:cubicBezTo>
                    <a:pt x="21" y="663"/>
                    <a:pt x="21" y="663"/>
                    <a:pt x="21" y="663"/>
                  </a:cubicBezTo>
                  <a:cubicBezTo>
                    <a:pt x="22" y="284"/>
                    <a:pt x="22" y="284"/>
                    <a:pt x="22" y="284"/>
                  </a:cubicBezTo>
                  <a:cubicBezTo>
                    <a:pt x="457" y="35"/>
                    <a:pt x="457" y="35"/>
                    <a:pt x="457" y="35"/>
                  </a:cubicBezTo>
                  <a:cubicBezTo>
                    <a:pt x="467" y="19"/>
                    <a:pt x="475" y="7"/>
                    <a:pt x="480" y="0"/>
                  </a:cubicBezTo>
                  <a:cubicBezTo>
                    <a:pt x="480" y="0"/>
                    <a:pt x="479" y="0"/>
                    <a:pt x="479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4" name="iṩlidê">
              <a:extLst>
                <a:ext uri="{FF2B5EF4-FFF2-40B4-BE49-F238E27FC236}">
                  <a16:creationId xmlns:a16="http://schemas.microsoft.com/office/drawing/2014/main" xmlns="" id="{8A8008BB-BF61-42A2-9D97-54808CC32362}"/>
                </a:ext>
              </a:extLst>
            </p:cNvPr>
            <p:cNvSpPr/>
            <p:nvPr userDrawn="1"/>
          </p:nvSpPr>
          <p:spPr bwMode="auto">
            <a:xfrm>
              <a:off x="2110693" y="1512888"/>
              <a:ext cx="1438275" cy="2070100"/>
            </a:xfrm>
            <a:custGeom>
              <a:avLst/>
              <a:gdLst>
                <a:gd name="T0" fmla="*/ 45 w 436"/>
                <a:gd name="T1" fmla="*/ 464 h 628"/>
                <a:gd name="T2" fmla="*/ 71 w 436"/>
                <a:gd name="T3" fmla="*/ 450 h 628"/>
                <a:gd name="T4" fmla="*/ 155 w 436"/>
                <a:gd name="T5" fmla="*/ 368 h 628"/>
                <a:gd name="T6" fmla="*/ 173 w 436"/>
                <a:gd name="T7" fmla="*/ 390 h 628"/>
                <a:gd name="T8" fmla="*/ 161 w 436"/>
                <a:gd name="T9" fmla="*/ 376 h 628"/>
                <a:gd name="T10" fmla="*/ 185 w 436"/>
                <a:gd name="T11" fmla="*/ 316 h 628"/>
                <a:gd name="T12" fmla="*/ 45 w 436"/>
                <a:gd name="T13" fmla="*/ 431 h 628"/>
                <a:gd name="T14" fmla="*/ 45 w 436"/>
                <a:gd name="T15" fmla="*/ 431 h 628"/>
                <a:gd name="T16" fmla="*/ 119 w 436"/>
                <a:gd name="T17" fmla="*/ 389 h 628"/>
                <a:gd name="T18" fmla="*/ 45 w 436"/>
                <a:gd name="T19" fmla="*/ 463 h 628"/>
                <a:gd name="T20" fmla="*/ 87 w 436"/>
                <a:gd name="T21" fmla="*/ 415 h 628"/>
                <a:gd name="T22" fmla="*/ 81 w 436"/>
                <a:gd name="T23" fmla="*/ 482 h 628"/>
                <a:gd name="T24" fmla="*/ 45 w 436"/>
                <a:gd name="T25" fmla="*/ 502 h 628"/>
                <a:gd name="T26" fmla="*/ 130 w 436"/>
                <a:gd name="T27" fmla="*/ 453 h 628"/>
                <a:gd name="T28" fmla="*/ 103 w 436"/>
                <a:gd name="T29" fmla="*/ 429 h 628"/>
                <a:gd name="T30" fmla="*/ 120 w 436"/>
                <a:gd name="T31" fmla="*/ 388 h 628"/>
                <a:gd name="T32" fmla="*/ 155 w 436"/>
                <a:gd name="T33" fmla="*/ 367 h 628"/>
                <a:gd name="T34" fmla="*/ 185 w 436"/>
                <a:gd name="T35" fmla="*/ 316 h 628"/>
                <a:gd name="T36" fmla="*/ 194 w 436"/>
                <a:gd name="T37" fmla="*/ 311 h 628"/>
                <a:gd name="T38" fmla="*/ 210 w 436"/>
                <a:gd name="T39" fmla="*/ 336 h 628"/>
                <a:gd name="T40" fmla="*/ 283 w 436"/>
                <a:gd name="T41" fmla="*/ 227 h 628"/>
                <a:gd name="T42" fmla="*/ 45 w 436"/>
                <a:gd name="T43" fmla="*/ 396 h 628"/>
                <a:gd name="T44" fmla="*/ 190 w 436"/>
                <a:gd name="T45" fmla="*/ 303 h 628"/>
                <a:gd name="T46" fmla="*/ 248 w 436"/>
                <a:gd name="T47" fmla="*/ 279 h 628"/>
                <a:gd name="T48" fmla="*/ 436 w 436"/>
                <a:gd name="T49" fmla="*/ 0 h 628"/>
                <a:gd name="T50" fmla="*/ 0 w 436"/>
                <a:gd name="T51" fmla="*/ 628 h 628"/>
                <a:gd name="T52" fmla="*/ 128 w 436"/>
                <a:gd name="T53" fmla="*/ 456 h 628"/>
                <a:gd name="T54" fmla="*/ 43 w 436"/>
                <a:gd name="T55" fmla="*/ 329 h 628"/>
                <a:gd name="T56" fmla="*/ 45 w 436"/>
                <a:gd name="T57" fmla="*/ 363 h 628"/>
                <a:gd name="T58" fmla="*/ 45 w 436"/>
                <a:gd name="T59" fmla="*/ 363 h 628"/>
                <a:gd name="T60" fmla="*/ 324 w 436"/>
                <a:gd name="T61" fmla="*/ 167 h 628"/>
                <a:gd name="T62" fmla="*/ 43 w 436"/>
                <a:gd name="T63" fmla="*/ 327 h 628"/>
                <a:gd name="T64" fmla="*/ 436 w 436"/>
                <a:gd name="T65" fmla="*/ 0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6" h="628">
                  <a:moveTo>
                    <a:pt x="71" y="450"/>
                  </a:moveTo>
                  <a:cubicBezTo>
                    <a:pt x="45" y="464"/>
                    <a:pt x="45" y="464"/>
                    <a:pt x="45" y="464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71" y="450"/>
                    <a:pt x="71" y="450"/>
                    <a:pt x="71" y="450"/>
                  </a:cubicBezTo>
                  <a:moveTo>
                    <a:pt x="167" y="361"/>
                  </a:moveTo>
                  <a:cubicBezTo>
                    <a:pt x="155" y="368"/>
                    <a:pt x="155" y="368"/>
                    <a:pt x="155" y="368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67" y="361"/>
                    <a:pt x="167" y="361"/>
                    <a:pt x="167" y="361"/>
                  </a:cubicBezTo>
                  <a:moveTo>
                    <a:pt x="185" y="316"/>
                  </a:moveTo>
                  <a:cubicBezTo>
                    <a:pt x="45" y="397"/>
                    <a:pt x="45" y="397"/>
                    <a:pt x="45" y="397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44" y="431"/>
                    <a:pt x="44" y="431"/>
                    <a:pt x="44" y="431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45" y="432"/>
                    <a:pt x="45" y="432"/>
                    <a:pt x="45" y="432"/>
                  </a:cubicBezTo>
                  <a:cubicBezTo>
                    <a:pt x="45" y="463"/>
                    <a:pt x="45" y="463"/>
                    <a:pt x="45" y="463"/>
                  </a:cubicBezTo>
                  <a:cubicBezTo>
                    <a:pt x="72" y="448"/>
                    <a:pt x="72" y="448"/>
                    <a:pt x="72" y="448"/>
                  </a:cubicBezTo>
                  <a:cubicBezTo>
                    <a:pt x="87" y="415"/>
                    <a:pt x="87" y="415"/>
                    <a:pt x="87" y="415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37" y="345"/>
                    <a:pt x="137" y="345"/>
                    <a:pt x="137" y="345"/>
                  </a:cubicBezTo>
                  <a:cubicBezTo>
                    <a:pt x="155" y="367"/>
                    <a:pt x="155" y="367"/>
                    <a:pt x="155" y="367"/>
                  </a:cubicBezTo>
                  <a:cubicBezTo>
                    <a:pt x="168" y="360"/>
                    <a:pt x="168" y="360"/>
                    <a:pt x="168" y="360"/>
                  </a:cubicBezTo>
                  <a:cubicBezTo>
                    <a:pt x="185" y="316"/>
                    <a:pt x="185" y="316"/>
                    <a:pt x="185" y="316"/>
                  </a:cubicBezTo>
                  <a:moveTo>
                    <a:pt x="247" y="281"/>
                  </a:moveTo>
                  <a:cubicBezTo>
                    <a:pt x="194" y="311"/>
                    <a:pt x="194" y="311"/>
                    <a:pt x="194" y="31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210" y="336"/>
                    <a:pt x="210" y="336"/>
                    <a:pt x="210" y="336"/>
                  </a:cubicBezTo>
                  <a:cubicBezTo>
                    <a:pt x="222" y="317"/>
                    <a:pt x="235" y="299"/>
                    <a:pt x="247" y="281"/>
                  </a:cubicBezTo>
                  <a:moveTo>
                    <a:pt x="283" y="227"/>
                  </a:moveTo>
                  <a:cubicBezTo>
                    <a:pt x="45" y="365"/>
                    <a:pt x="45" y="365"/>
                    <a:pt x="45" y="365"/>
                  </a:cubicBezTo>
                  <a:cubicBezTo>
                    <a:pt x="45" y="396"/>
                    <a:pt x="45" y="396"/>
                    <a:pt x="45" y="396"/>
                  </a:cubicBezTo>
                  <a:cubicBezTo>
                    <a:pt x="185" y="315"/>
                    <a:pt x="185" y="315"/>
                    <a:pt x="185" y="315"/>
                  </a:cubicBezTo>
                  <a:cubicBezTo>
                    <a:pt x="190" y="303"/>
                    <a:pt x="190" y="303"/>
                    <a:pt x="190" y="303"/>
                  </a:cubicBezTo>
                  <a:cubicBezTo>
                    <a:pt x="194" y="310"/>
                    <a:pt x="194" y="310"/>
                    <a:pt x="194" y="310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260" y="261"/>
                    <a:pt x="271" y="244"/>
                    <a:pt x="283" y="227"/>
                  </a:cubicBezTo>
                  <a:moveTo>
                    <a:pt x="436" y="0"/>
                  </a:moveTo>
                  <a:cubicBezTo>
                    <a:pt x="1" y="249"/>
                    <a:pt x="1" y="249"/>
                    <a:pt x="1" y="249"/>
                  </a:cubicBezTo>
                  <a:cubicBezTo>
                    <a:pt x="0" y="628"/>
                    <a:pt x="0" y="628"/>
                    <a:pt x="0" y="628"/>
                  </a:cubicBezTo>
                  <a:cubicBezTo>
                    <a:pt x="19" y="617"/>
                    <a:pt x="19" y="617"/>
                    <a:pt x="19" y="617"/>
                  </a:cubicBezTo>
                  <a:cubicBezTo>
                    <a:pt x="47" y="576"/>
                    <a:pt x="86" y="519"/>
                    <a:pt x="128" y="456"/>
                  </a:cubicBezTo>
                  <a:cubicBezTo>
                    <a:pt x="44" y="505"/>
                    <a:pt x="44" y="505"/>
                    <a:pt x="44" y="505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5" y="328"/>
                    <a:pt x="45" y="328"/>
                    <a:pt x="45" y="328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44" y="364"/>
                    <a:pt x="44" y="364"/>
                    <a:pt x="44" y="364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284" y="225"/>
                    <a:pt x="284" y="225"/>
                    <a:pt x="284" y="225"/>
                  </a:cubicBezTo>
                  <a:cubicBezTo>
                    <a:pt x="298" y="205"/>
                    <a:pt x="311" y="186"/>
                    <a:pt x="324" y="167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25" y="165"/>
                    <a:pt x="325" y="165"/>
                    <a:pt x="325" y="165"/>
                  </a:cubicBezTo>
                  <a:cubicBezTo>
                    <a:pt x="371" y="96"/>
                    <a:pt x="411" y="37"/>
                    <a:pt x="436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5" name="iṣļîḋé">
              <a:extLst>
                <a:ext uri="{FF2B5EF4-FFF2-40B4-BE49-F238E27FC236}">
                  <a16:creationId xmlns:a16="http://schemas.microsoft.com/office/drawing/2014/main" xmlns="" id="{28768B00-6A97-47AB-B248-56BB26E9DF01}"/>
                </a:ext>
              </a:extLst>
            </p:cNvPr>
            <p:cNvSpPr/>
            <p:nvPr userDrawn="1"/>
          </p:nvSpPr>
          <p:spPr bwMode="auto">
            <a:xfrm>
              <a:off x="2799668" y="2620963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6" name="ïS1ïḋe">
              <a:extLst>
                <a:ext uri="{FF2B5EF4-FFF2-40B4-BE49-F238E27FC236}">
                  <a16:creationId xmlns:a16="http://schemas.microsoft.com/office/drawing/2014/main" xmlns="" id="{7E38F2B9-978A-45EC-951C-07ED40448034}"/>
                </a:ext>
              </a:extLst>
            </p:cNvPr>
            <p:cNvSpPr/>
            <p:nvPr userDrawn="1"/>
          </p:nvSpPr>
          <p:spPr bwMode="auto">
            <a:xfrm>
              <a:off x="2750456" y="2433638"/>
              <a:ext cx="179388" cy="104775"/>
            </a:xfrm>
            <a:custGeom>
              <a:avLst/>
              <a:gdLst>
                <a:gd name="T0" fmla="*/ 54 w 54"/>
                <a:gd name="T1" fmla="*/ 0 h 32"/>
                <a:gd name="T2" fmla="*/ 0 w 54"/>
                <a:gd name="T3" fmla="*/ 31 h 32"/>
                <a:gd name="T4" fmla="*/ 0 w 54"/>
                <a:gd name="T5" fmla="*/ 32 h 32"/>
                <a:gd name="T6" fmla="*/ 53 w 54"/>
                <a:gd name="T7" fmla="*/ 2 h 32"/>
                <a:gd name="T8" fmla="*/ 54 w 54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2">
                  <a:moveTo>
                    <a:pt x="54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4" y="0"/>
                    <a:pt x="54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7" name="iS1íďê">
              <a:extLst>
                <a:ext uri="{FF2B5EF4-FFF2-40B4-BE49-F238E27FC236}">
                  <a16:creationId xmlns:a16="http://schemas.microsoft.com/office/drawing/2014/main" xmlns="" id="{B78C1110-74F9-4369-A1FF-2D2F44D0BFA7}"/>
                </a:ext>
              </a:extLst>
            </p:cNvPr>
            <p:cNvSpPr/>
            <p:nvPr userDrawn="1"/>
          </p:nvSpPr>
          <p:spPr bwMode="auto">
            <a:xfrm>
              <a:off x="2256743" y="2254250"/>
              <a:ext cx="790575" cy="461963"/>
            </a:xfrm>
            <a:custGeom>
              <a:avLst/>
              <a:gdLst>
                <a:gd name="T0" fmla="*/ 240 w 240"/>
                <a:gd name="T1" fmla="*/ 0 h 140"/>
                <a:gd name="T2" fmla="*/ 1 w 240"/>
                <a:gd name="T3" fmla="*/ 138 h 140"/>
                <a:gd name="T4" fmla="*/ 0 w 240"/>
                <a:gd name="T5" fmla="*/ 139 h 140"/>
                <a:gd name="T6" fmla="*/ 0 w 240"/>
                <a:gd name="T7" fmla="*/ 140 h 140"/>
                <a:gd name="T8" fmla="*/ 1 w 240"/>
                <a:gd name="T9" fmla="*/ 140 h 140"/>
                <a:gd name="T10" fmla="*/ 239 w 240"/>
                <a:gd name="T11" fmla="*/ 2 h 140"/>
                <a:gd name="T12" fmla="*/ 240 w 240"/>
                <a:gd name="T1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40">
                  <a:moveTo>
                    <a:pt x="240" y="0"/>
                  </a:moveTo>
                  <a:cubicBezTo>
                    <a:pt x="1" y="138"/>
                    <a:pt x="1" y="138"/>
                    <a:pt x="1" y="138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" y="140"/>
                    <a:pt x="1" y="140"/>
                    <a:pt x="1" y="140"/>
                  </a:cubicBezTo>
                  <a:cubicBezTo>
                    <a:pt x="239" y="2"/>
                    <a:pt x="239" y="2"/>
                    <a:pt x="239" y="2"/>
                  </a:cubicBezTo>
                  <a:cubicBezTo>
                    <a:pt x="239" y="1"/>
                    <a:pt x="240" y="1"/>
                    <a:pt x="240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8" name="iṣ1ídé">
              <a:extLst>
                <a:ext uri="{FF2B5EF4-FFF2-40B4-BE49-F238E27FC236}">
                  <a16:creationId xmlns:a16="http://schemas.microsoft.com/office/drawing/2014/main" xmlns="" id="{30502D0E-F1CA-4580-A1D3-8384B003C56F}"/>
                </a:ext>
              </a:extLst>
            </p:cNvPr>
            <p:cNvSpPr/>
            <p:nvPr userDrawn="1"/>
          </p:nvSpPr>
          <p:spPr bwMode="auto">
            <a:xfrm>
              <a:off x="2256743" y="2551113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9" name="íṩľiḑê">
              <a:extLst>
                <a:ext uri="{FF2B5EF4-FFF2-40B4-BE49-F238E27FC236}">
                  <a16:creationId xmlns:a16="http://schemas.microsoft.com/office/drawing/2014/main" xmlns="" id="{DAC11B51-51EB-4964-840D-6C988D3D96E9}"/>
                </a:ext>
              </a:extLst>
            </p:cNvPr>
            <p:cNvSpPr/>
            <p:nvPr userDrawn="1"/>
          </p:nvSpPr>
          <p:spPr bwMode="auto">
            <a:xfrm>
              <a:off x="2256743" y="2551113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0" name="îŝḷîdé">
              <a:extLst>
                <a:ext uri="{FF2B5EF4-FFF2-40B4-BE49-F238E27FC236}">
                  <a16:creationId xmlns:a16="http://schemas.microsoft.com/office/drawing/2014/main" xmlns="" id="{0CD24B51-4898-403D-8BF5-5CBC1F6BE89E}"/>
                </a:ext>
              </a:extLst>
            </p:cNvPr>
            <p:cNvSpPr/>
            <p:nvPr userDrawn="1"/>
          </p:nvSpPr>
          <p:spPr bwMode="auto">
            <a:xfrm>
              <a:off x="2621868" y="2700338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1" name="íŝḷîḍè">
              <a:extLst>
                <a:ext uri="{FF2B5EF4-FFF2-40B4-BE49-F238E27FC236}">
                  <a16:creationId xmlns:a16="http://schemas.microsoft.com/office/drawing/2014/main" xmlns="" id="{E20FB2D9-7543-46C3-A1F6-91CC3554A29F}"/>
                </a:ext>
              </a:extLst>
            </p:cNvPr>
            <p:cNvSpPr/>
            <p:nvPr userDrawn="1"/>
          </p:nvSpPr>
          <p:spPr bwMode="auto">
            <a:xfrm>
              <a:off x="2621868" y="2700338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2" name="ï$ľiḍè">
              <a:extLst>
                <a:ext uri="{FF2B5EF4-FFF2-40B4-BE49-F238E27FC236}">
                  <a16:creationId xmlns:a16="http://schemas.microsoft.com/office/drawing/2014/main" xmlns="" id="{60A20D52-CD2A-4051-B4C7-9C600AF1B201}"/>
                </a:ext>
              </a:extLst>
            </p:cNvPr>
            <p:cNvSpPr/>
            <p:nvPr userDrawn="1"/>
          </p:nvSpPr>
          <p:spPr bwMode="auto">
            <a:xfrm>
              <a:off x="2256743" y="2990850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3" name="íšļídè">
              <a:extLst>
                <a:ext uri="{FF2B5EF4-FFF2-40B4-BE49-F238E27FC236}">
                  <a16:creationId xmlns:a16="http://schemas.microsoft.com/office/drawing/2014/main" xmlns="" id="{0D2943DA-9C83-4219-8913-84D749901279}"/>
                </a:ext>
              </a:extLst>
            </p:cNvPr>
            <p:cNvSpPr/>
            <p:nvPr userDrawn="1"/>
          </p:nvSpPr>
          <p:spPr bwMode="auto">
            <a:xfrm>
              <a:off x="2256743" y="2990850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4" name="ïṣļïḋê">
              <a:extLst>
                <a:ext uri="{FF2B5EF4-FFF2-40B4-BE49-F238E27FC236}">
                  <a16:creationId xmlns:a16="http://schemas.microsoft.com/office/drawing/2014/main" xmlns="" id="{F025D1B8-A1E1-440A-9AB3-F3FE0508A5C4}"/>
                </a:ext>
              </a:extLst>
            </p:cNvPr>
            <p:cNvSpPr/>
            <p:nvPr userDrawn="1"/>
          </p:nvSpPr>
          <p:spPr bwMode="auto">
            <a:xfrm>
              <a:off x="2377393" y="2651125"/>
              <a:ext cx="304800" cy="450850"/>
            </a:xfrm>
            <a:custGeom>
              <a:avLst/>
              <a:gdLst>
                <a:gd name="T0" fmla="*/ 56 w 92"/>
                <a:gd name="T1" fmla="*/ 0 h 137"/>
                <a:gd name="T2" fmla="*/ 39 w 92"/>
                <a:gd name="T3" fmla="*/ 43 h 137"/>
                <a:gd name="T4" fmla="*/ 38 w 92"/>
                <a:gd name="T5" fmla="*/ 44 h 137"/>
                <a:gd name="T6" fmla="*/ 22 w 92"/>
                <a:gd name="T7" fmla="*/ 84 h 137"/>
                <a:gd name="T8" fmla="*/ 0 w 92"/>
                <a:gd name="T9" fmla="*/ 137 h 137"/>
                <a:gd name="T10" fmla="*/ 49 w 92"/>
                <a:gd name="T11" fmla="*/ 108 h 137"/>
                <a:gd name="T12" fmla="*/ 92 w 92"/>
                <a:gd name="T13" fmla="*/ 45 h 137"/>
                <a:gd name="T14" fmla="*/ 80 w 92"/>
                <a:gd name="T15" fmla="*/ 31 h 137"/>
                <a:gd name="T16" fmla="*/ 74 w 92"/>
                <a:gd name="T17" fmla="*/ 23 h 137"/>
                <a:gd name="T18" fmla="*/ 74 w 92"/>
                <a:gd name="T19" fmla="*/ 22 h 137"/>
                <a:gd name="T20" fmla="*/ 56 w 92"/>
                <a:gd name="T21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37">
                  <a:moveTo>
                    <a:pt x="56" y="0"/>
                  </a:moveTo>
                  <a:cubicBezTo>
                    <a:pt x="39" y="43"/>
                    <a:pt x="39" y="43"/>
                    <a:pt x="39" y="43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63" y="88"/>
                    <a:pt x="77" y="67"/>
                    <a:pt x="92" y="45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rgbClr val="A5A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5" name="íṥľidè">
              <a:extLst>
                <a:ext uri="{FF2B5EF4-FFF2-40B4-BE49-F238E27FC236}">
                  <a16:creationId xmlns:a16="http://schemas.microsoft.com/office/drawing/2014/main" xmlns="" id="{7F78B405-01B6-4D58-B4C9-5C41D4FCD4EE}"/>
                </a:ext>
              </a:extLst>
            </p:cNvPr>
            <p:cNvSpPr/>
            <p:nvPr userDrawn="1"/>
          </p:nvSpPr>
          <p:spPr bwMode="auto">
            <a:xfrm>
              <a:off x="2259918" y="2881313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6" name="íŝḻíďe">
              <a:extLst>
                <a:ext uri="{FF2B5EF4-FFF2-40B4-BE49-F238E27FC236}">
                  <a16:creationId xmlns:a16="http://schemas.microsoft.com/office/drawing/2014/main" xmlns="" id="{E1EB1D35-D3A3-4F69-BF90-6888B2D6EED0}"/>
                </a:ext>
              </a:extLst>
            </p:cNvPr>
            <p:cNvSpPr/>
            <p:nvPr userDrawn="1"/>
          </p:nvSpPr>
          <p:spPr bwMode="auto">
            <a:xfrm>
              <a:off x="2259918" y="2881313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7" name="iṥ1îḑê">
              <a:extLst>
                <a:ext uri="{FF2B5EF4-FFF2-40B4-BE49-F238E27FC236}">
                  <a16:creationId xmlns:a16="http://schemas.microsoft.com/office/drawing/2014/main" xmlns="" id="{2D9B10D5-46F4-4EB7-9FDC-6013BD4A7971}"/>
                </a:ext>
              </a:extLst>
            </p:cNvPr>
            <p:cNvSpPr/>
            <p:nvPr userDrawn="1"/>
          </p:nvSpPr>
          <p:spPr bwMode="auto">
            <a:xfrm>
              <a:off x="2256743" y="2792413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8" name="ísḻïḓé">
              <a:extLst>
                <a:ext uri="{FF2B5EF4-FFF2-40B4-BE49-F238E27FC236}">
                  <a16:creationId xmlns:a16="http://schemas.microsoft.com/office/drawing/2014/main" xmlns="" id="{8DF3DF9C-750D-450B-8084-B5AE5555C19F}"/>
                </a:ext>
              </a:extLst>
            </p:cNvPr>
            <p:cNvSpPr/>
            <p:nvPr userDrawn="1"/>
          </p:nvSpPr>
          <p:spPr bwMode="auto">
            <a:xfrm>
              <a:off x="2256743" y="2792413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9" name="íṡḷíḓé">
              <a:extLst>
                <a:ext uri="{FF2B5EF4-FFF2-40B4-BE49-F238E27FC236}">
                  <a16:creationId xmlns:a16="http://schemas.microsoft.com/office/drawing/2014/main" xmlns="" id="{7728D66E-CEFB-40B2-BBF0-CE6AFC34E240}"/>
                </a:ext>
              </a:extLst>
            </p:cNvPr>
            <p:cNvSpPr/>
            <p:nvPr userDrawn="1"/>
          </p:nvSpPr>
          <p:spPr bwMode="auto">
            <a:xfrm>
              <a:off x="2642506" y="2511425"/>
              <a:ext cx="157163" cy="287338"/>
            </a:xfrm>
            <a:custGeom>
              <a:avLst/>
              <a:gdLst>
                <a:gd name="T0" fmla="*/ 29 w 48"/>
                <a:gd name="T1" fmla="*/ 0 h 87"/>
                <a:gd name="T2" fmla="*/ 24 w 48"/>
                <a:gd name="T3" fmla="*/ 12 h 87"/>
                <a:gd name="T4" fmla="*/ 24 w 48"/>
                <a:gd name="T5" fmla="*/ 13 h 87"/>
                <a:gd name="T6" fmla="*/ 7 w 48"/>
                <a:gd name="T7" fmla="*/ 57 h 87"/>
                <a:gd name="T8" fmla="*/ 6 w 48"/>
                <a:gd name="T9" fmla="*/ 58 h 87"/>
                <a:gd name="T10" fmla="*/ 0 w 48"/>
                <a:gd name="T11" fmla="*/ 73 h 87"/>
                <a:gd name="T12" fmla="*/ 12 w 48"/>
                <a:gd name="T13" fmla="*/ 87 h 87"/>
                <a:gd name="T14" fmla="*/ 48 w 48"/>
                <a:gd name="T15" fmla="*/ 33 h 87"/>
                <a:gd name="T16" fmla="*/ 48 w 48"/>
                <a:gd name="T17" fmla="*/ 33 h 87"/>
                <a:gd name="T18" fmla="*/ 33 w 48"/>
                <a:gd name="T19" fmla="*/ 8 h 87"/>
                <a:gd name="T20" fmla="*/ 33 w 48"/>
                <a:gd name="T21" fmla="*/ 7 h 87"/>
                <a:gd name="T22" fmla="*/ 29 w 48"/>
                <a:gd name="T2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7">
                  <a:moveTo>
                    <a:pt x="29" y="0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24" y="69"/>
                    <a:pt x="36" y="51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0" name="iṥļïḋê">
              <a:extLst>
                <a:ext uri="{FF2B5EF4-FFF2-40B4-BE49-F238E27FC236}">
                  <a16:creationId xmlns:a16="http://schemas.microsoft.com/office/drawing/2014/main" xmlns="" id="{1AFCCCA4-C678-474F-8085-29D4BC062446}"/>
                </a:ext>
              </a:extLst>
            </p:cNvPr>
            <p:cNvSpPr/>
            <p:nvPr userDrawn="1"/>
          </p:nvSpPr>
          <p:spPr bwMode="auto">
            <a:xfrm>
              <a:off x="2251981" y="2057400"/>
              <a:ext cx="931863" cy="539750"/>
            </a:xfrm>
            <a:custGeom>
              <a:avLst/>
              <a:gdLst>
                <a:gd name="T0" fmla="*/ 282 w 282"/>
                <a:gd name="T1" fmla="*/ 0 h 164"/>
                <a:gd name="T2" fmla="*/ 0 w 282"/>
                <a:gd name="T3" fmla="*/ 162 h 164"/>
                <a:gd name="T4" fmla="*/ 0 w 282"/>
                <a:gd name="T5" fmla="*/ 164 h 164"/>
                <a:gd name="T6" fmla="*/ 281 w 282"/>
                <a:gd name="T7" fmla="*/ 2 h 164"/>
                <a:gd name="T8" fmla="*/ 282 w 282"/>
                <a:gd name="T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64">
                  <a:moveTo>
                    <a:pt x="282" y="0"/>
                  </a:moveTo>
                  <a:cubicBezTo>
                    <a:pt x="0" y="162"/>
                    <a:pt x="0" y="162"/>
                    <a:pt x="0" y="162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1"/>
                    <a:pt x="281" y="1"/>
                    <a:pt x="28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1" name="ïŝ1ïḑê">
              <a:extLst>
                <a:ext uri="{FF2B5EF4-FFF2-40B4-BE49-F238E27FC236}">
                  <a16:creationId xmlns:a16="http://schemas.microsoft.com/office/drawing/2014/main" xmlns="" id="{6792A375-9290-47E0-B5AA-FE4AC859440E}"/>
                </a:ext>
              </a:extLst>
            </p:cNvPr>
            <p:cNvSpPr/>
            <p:nvPr userDrawn="1"/>
          </p:nvSpPr>
          <p:spPr bwMode="auto">
            <a:xfrm>
              <a:off x="2251981" y="2593975"/>
              <a:ext cx="287338" cy="584200"/>
            </a:xfrm>
            <a:custGeom>
              <a:avLst/>
              <a:gdLst>
                <a:gd name="T0" fmla="*/ 2 w 87"/>
                <a:gd name="T1" fmla="*/ 0 h 177"/>
                <a:gd name="T2" fmla="*/ 0 w 87"/>
                <a:gd name="T3" fmla="*/ 1 h 177"/>
                <a:gd name="T4" fmla="*/ 1 w 87"/>
                <a:gd name="T5" fmla="*/ 177 h 177"/>
                <a:gd name="T6" fmla="*/ 85 w 87"/>
                <a:gd name="T7" fmla="*/ 128 h 177"/>
                <a:gd name="T8" fmla="*/ 87 w 87"/>
                <a:gd name="T9" fmla="*/ 125 h 177"/>
                <a:gd name="T10" fmla="*/ 2 w 87"/>
                <a:gd name="T11" fmla="*/ 174 h 177"/>
                <a:gd name="T12" fmla="*/ 2 w 87"/>
                <a:gd name="T13" fmla="*/ 174 h 177"/>
                <a:gd name="T14" fmla="*/ 2 w 87"/>
                <a:gd name="T15" fmla="*/ 174 h 177"/>
                <a:gd name="T16" fmla="*/ 2 w 87"/>
                <a:gd name="T17" fmla="*/ 136 h 177"/>
                <a:gd name="T18" fmla="*/ 1 w 87"/>
                <a:gd name="T19" fmla="*/ 137 h 177"/>
                <a:gd name="T20" fmla="*/ 1 w 87"/>
                <a:gd name="T21" fmla="*/ 136 h 177"/>
                <a:gd name="T22" fmla="*/ 2 w 87"/>
                <a:gd name="T23" fmla="*/ 135 h 177"/>
                <a:gd name="T24" fmla="*/ 2 w 87"/>
                <a:gd name="T25" fmla="*/ 135 h 177"/>
                <a:gd name="T26" fmla="*/ 2 w 87"/>
                <a:gd name="T27" fmla="*/ 104 h 177"/>
                <a:gd name="T28" fmla="*/ 1 w 87"/>
                <a:gd name="T29" fmla="*/ 105 h 177"/>
                <a:gd name="T30" fmla="*/ 1 w 87"/>
                <a:gd name="T31" fmla="*/ 103 h 177"/>
                <a:gd name="T32" fmla="*/ 2 w 87"/>
                <a:gd name="T33" fmla="*/ 103 h 177"/>
                <a:gd name="T34" fmla="*/ 2 w 87"/>
                <a:gd name="T35" fmla="*/ 69 h 177"/>
                <a:gd name="T36" fmla="*/ 1 w 87"/>
                <a:gd name="T37" fmla="*/ 70 h 177"/>
                <a:gd name="T38" fmla="*/ 1 w 87"/>
                <a:gd name="T39" fmla="*/ 69 h 177"/>
                <a:gd name="T40" fmla="*/ 2 w 87"/>
                <a:gd name="T41" fmla="*/ 68 h 177"/>
                <a:gd name="T42" fmla="*/ 2 w 87"/>
                <a:gd name="T43" fmla="*/ 37 h 177"/>
                <a:gd name="T44" fmla="*/ 1 w 87"/>
                <a:gd name="T45" fmla="*/ 37 h 177"/>
                <a:gd name="T46" fmla="*/ 1 w 87"/>
                <a:gd name="T47" fmla="*/ 36 h 177"/>
                <a:gd name="T48" fmla="*/ 2 w 87"/>
                <a:gd name="T49" fmla="*/ 35 h 177"/>
                <a:gd name="T50" fmla="*/ 2 w 87"/>
                <a:gd name="T51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177">
                  <a:moveTo>
                    <a:pt x="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77"/>
                    <a:pt x="1" y="177"/>
                    <a:pt x="1" y="177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86" y="127"/>
                    <a:pt x="86" y="126"/>
                    <a:pt x="87" y="125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1" y="136"/>
                    <a:pt x="1" y="136"/>
                    <a:pt x="1" y="136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6" name="î$ľíḑê">
              <a:extLst>
                <a:ext uri="{FF2B5EF4-FFF2-40B4-BE49-F238E27FC236}">
                  <a16:creationId xmlns:a16="http://schemas.microsoft.com/office/drawing/2014/main" xmlns="" id="{5C681763-AAF7-4F42-A968-7A3E76E29A0F}"/>
                </a:ext>
              </a:extLst>
            </p:cNvPr>
            <p:cNvSpPr/>
            <p:nvPr userDrawn="1"/>
          </p:nvSpPr>
          <p:spPr bwMode="auto">
            <a:xfrm>
              <a:off x="1672543" y="5222875"/>
              <a:ext cx="808038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133 w 245"/>
                <a:gd name="T7" fmla="*/ 5 h 79"/>
                <a:gd name="T8" fmla="*/ 106 w 245"/>
                <a:gd name="T9" fmla="*/ 21 h 79"/>
                <a:gd name="T10" fmla="*/ 73 w 245"/>
                <a:gd name="T11" fmla="*/ 3 h 79"/>
                <a:gd name="T12" fmla="*/ 2 w 245"/>
                <a:gd name="T13" fmla="*/ 0 h 79"/>
                <a:gd name="T14" fmla="*/ 2 w 245"/>
                <a:gd name="T1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190" y="7"/>
                    <a:pt x="133" y="5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34" y="2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7" name="îśľiḍé">
              <a:extLst>
                <a:ext uri="{FF2B5EF4-FFF2-40B4-BE49-F238E27FC236}">
                  <a16:creationId xmlns:a16="http://schemas.microsoft.com/office/drawing/2014/main" xmlns="" id="{CDB7C221-B676-4C4A-9F08-AAFD90F6D71E}"/>
                </a:ext>
              </a:extLst>
            </p:cNvPr>
            <p:cNvSpPr/>
            <p:nvPr userDrawn="1"/>
          </p:nvSpPr>
          <p:spPr bwMode="auto">
            <a:xfrm>
              <a:off x="1912256" y="5232400"/>
              <a:ext cx="198438" cy="58738"/>
            </a:xfrm>
            <a:custGeom>
              <a:avLst/>
              <a:gdLst>
                <a:gd name="T0" fmla="*/ 0 w 60"/>
                <a:gd name="T1" fmla="*/ 0 h 18"/>
                <a:gd name="T2" fmla="*/ 33 w 60"/>
                <a:gd name="T3" fmla="*/ 18 h 18"/>
                <a:gd name="T4" fmla="*/ 60 w 60"/>
                <a:gd name="T5" fmla="*/ 2 h 18"/>
                <a:gd name="T6" fmla="*/ 60 w 60"/>
                <a:gd name="T7" fmla="*/ 2 h 18"/>
                <a:gd name="T8" fmla="*/ 33 w 60"/>
                <a:gd name="T9" fmla="*/ 18 h 18"/>
                <a:gd name="T10" fmla="*/ 2 w 60"/>
                <a:gd name="T11" fmla="*/ 0 h 18"/>
                <a:gd name="T12" fmla="*/ 0 w 6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cubicBezTo>
                    <a:pt x="33" y="18"/>
                    <a:pt x="33" y="18"/>
                    <a:pt x="33" y="18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6A82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8" name="îslíďé">
              <a:extLst>
                <a:ext uri="{FF2B5EF4-FFF2-40B4-BE49-F238E27FC236}">
                  <a16:creationId xmlns:a16="http://schemas.microsoft.com/office/drawing/2014/main" xmlns="" id="{42CB3758-05F5-405A-96FA-EE1885BB60FE}"/>
                </a:ext>
              </a:extLst>
            </p:cNvPr>
            <p:cNvSpPr/>
            <p:nvPr userDrawn="1"/>
          </p:nvSpPr>
          <p:spPr bwMode="auto">
            <a:xfrm>
              <a:off x="1920193" y="5232400"/>
              <a:ext cx="190500" cy="58738"/>
            </a:xfrm>
            <a:custGeom>
              <a:avLst/>
              <a:gdLst>
                <a:gd name="T0" fmla="*/ 0 w 58"/>
                <a:gd name="T1" fmla="*/ 0 h 18"/>
                <a:gd name="T2" fmla="*/ 31 w 58"/>
                <a:gd name="T3" fmla="*/ 18 h 18"/>
                <a:gd name="T4" fmla="*/ 58 w 58"/>
                <a:gd name="T5" fmla="*/ 2 h 18"/>
                <a:gd name="T6" fmla="*/ 0 w 5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18">
                  <a:moveTo>
                    <a:pt x="0" y="0"/>
                  </a:moveTo>
                  <a:cubicBezTo>
                    <a:pt x="31" y="18"/>
                    <a:pt x="31" y="18"/>
                    <a:pt x="31" y="18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38" y="2"/>
                    <a:pt x="18" y="1"/>
                    <a:pt x="0" y="0"/>
                  </a:cubicBezTo>
                </a:path>
              </a:pathLst>
            </a:custGeom>
            <a:solidFill>
              <a:srgbClr val="8396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9" name="í$ḻídê">
              <a:extLst>
                <a:ext uri="{FF2B5EF4-FFF2-40B4-BE49-F238E27FC236}">
                  <a16:creationId xmlns:a16="http://schemas.microsoft.com/office/drawing/2014/main" xmlns="" id="{915CD982-AAD7-43B4-B1F3-6595023B5B55}"/>
                </a:ext>
              </a:extLst>
            </p:cNvPr>
            <p:cNvSpPr/>
            <p:nvPr userDrawn="1"/>
          </p:nvSpPr>
          <p:spPr bwMode="auto">
            <a:xfrm>
              <a:off x="1678893" y="5008563"/>
              <a:ext cx="801688" cy="431800"/>
            </a:xfrm>
            <a:custGeom>
              <a:avLst/>
              <a:gdLst>
                <a:gd name="T0" fmla="*/ 505 w 505"/>
                <a:gd name="T1" fmla="*/ 153 h 272"/>
                <a:gd name="T2" fmla="*/ 235 w 505"/>
                <a:gd name="T3" fmla="*/ 0 h 272"/>
                <a:gd name="T4" fmla="*/ 0 w 505"/>
                <a:gd name="T5" fmla="*/ 135 h 272"/>
                <a:gd name="T6" fmla="*/ 237 w 505"/>
                <a:gd name="T7" fmla="*/ 272 h 272"/>
                <a:gd name="T8" fmla="*/ 301 w 505"/>
                <a:gd name="T9" fmla="*/ 270 h 272"/>
                <a:gd name="T10" fmla="*/ 505 w 505"/>
                <a:gd name="T11" fmla="*/ 15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5" h="272">
                  <a:moveTo>
                    <a:pt x="505" y="153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1" y="270"/>
                  </a:lnTo>
                  <a:lnTo>
                    <a:pt x="505" y="153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50" name="ïsḻîḋè">
              <a:extLst>
                <a:ext uri="{FF2B5EF4-FFF2-40B4-BE49-F238E27FC236}">
                  <a16:creationId xmlns:a16="http://schemas.microsoft.com/office/drawing/2014/main" xmlns="" id="{79CA549A-5673-4656-880F-42E8945297CC}"/>
                </a:ext>
              </a:extLst>
            </p:cNvPr>
            <p:cNvSpPr/>
            <p:nvPr userDrawn="1"/>
          </p:nvSpPr>
          <p:spPr bwMode="auto">
            <a:xfrm>
              <a:off x="2055131" y="5376863"/>
              <a:ext cx="101600" cy="63500"/>
            </a:xfrm>
            <a:custGeom>
              <a:avLst/>
              <a:gdLst>
                <a:gd name="T0" fmla="*/ 31 w 64"/>
                <a:gd name="T1" fmla="*/ 0 h 40"/>
                <a:gd name="T2" fmla="*/ 64 w 64"/>
                <a:gd name="T3" fmla="*/ 38 h 40"/>
                <a:gd name="T4" fmla="*/ 0 w 64"/>
                <a:gd name="T5" fmla="*/ 40 h 40"/>
                <a:gd name="T6" fmla="*/ 31 w 64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40">
                  <a:moveTo>
                    <a:pt x="31" y="0"/>
                  </a:moveTo>
                  <a:lnTo>
                    <a:pt x="64" y="38"/>
                  </a:lnTo>
                  <a:lnTo>
                    <a:pt x="0" y="4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300270" y="2766740"/>
            <a:ext cx="5427661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381E60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300270" y="1584051"/>
            <a:ext cx="5427661" cy="11826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381E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05166" y="4600916"/>
            <a:ext cx="2390159" cy="29627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381E60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11299" y="4966354"/>
            <a:ext cx="1680659" cy="29627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381E60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19103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Freeform 5">
            <a:extLst>
              <a:ext uri="{FF2B5EF4-FFF2-40B4-BE49-F238E27FC236}">
                <a16:creationId xmlns:a16="http://schemas.microsoft.com/office/drawing/2014/main" xmlns="" id="{AB239372-BC94-4CE8-A627-E4A79F281621}"/>
              </a:ext>
            </a:extLst>
          </p:cNvPr>
          <p:cNvSpPr>
            <a:spLocks/>
          </p:cNvSpPr>
          <p:nvPr userDrawn="1"/>
        </p:nvSpPr>
        <p:spPr bwMode="auto">
          <a:xfrm>
            <a:off x="3645048" y="1562100"/>
            <a:ext cx="9689584" cy="5064126"/>
          </a:xfrm>
          <a:custGeom>
            <a:avLst/>
            <a:gdLst>
              <a:gd name="T0" fmla="*/ 544 w 4868"/>
              <a:gd name="T1" fmla="*/ 1078 h 2546"/>
              <a:gd name="T2" fmla="*/ 2244 w 4868"/>
              <a:gd name="T3" fmla="*/ 2530 h 2546"/>
              <a:gd name="T4" fmla="*/ 3844 w 4868"/>
              <a:gd name="T5" fmla="*/ 1818 h 2546"/>
              <a:gd name="T6" fmla="*/ 3696 w 4868"/>
              <a:gd name="T7" fmla="*/ 426 h 2546"/>
              <a:gd name="T8" fmla="*/ 1492 w 4868"/>
              <a:gd name="T9" fmla="*/ 150 h 2546"/>
              <a:gd name="T10" fmla="*/ 544 w 4868"/>
              <a:gd name="T11" fmla="*/ 1078 h 2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868" h="2546">
                <a:moveTo>
                  <a:pt x="544" y="1078"/>
                </a:moveTo>
                <a:cubicBezTo>
                  <a:pt x="0" y="1430"/>
                  <a:pt x="1056" y="2546"/>
                  <a:pt x="2244" y="2530"/>
                </a:cubicBezTo>
                <a:cubicBezTo>
                  <a:pt x="3432" y="2514"/>
                  <a:pt x="3844" y="1818"/>
                  <a:pt x="3844" y="1818"/>
                </a:cubicBezTo>
                <a:cubicBezTo>
                  <a:pt x="3844" y="1818"/>
                  <a:pt x="4868" y="434"/>
                  <a:pt x="3696" y="426"/>
                </a:cubicBezTo>
                <a:cubicBezTo>
                  <a:pt x="3106" y="422"/>
                  <a:pt x="2059" y="0"/>
                  <a:pt x="1492" y="150"/>
                </a:cubicBezTo>
                <a:cubicBezTo>
                  <a:pt x="932" y="299"/>
                  <a:pt x="814" y="903"/>
                  <a:pt x="544" y="1078"/>
                </a:cubicBez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5700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6816" y="355328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4" name="821242f6-ee5f-4bf5-a8d8-efc95807eb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011A687C-15FF-4C5C-92B9-E34C52294FC4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flipH="1">
            <a:off x="5289441" y="2132013"/>
            <a:ext cx="5715001" cy="4108450"/>
            <a:chOff x="3236913" y="1370013"/>
            <a:chExt cx="5715001" cy="4108450"/>
          </a:xfrm>
        </p:grpSpPr>
        <p:sp>
          <p:nvSpPr>
            <p:cNvPr id="5" name="íSḻíḋe">
              <a:extLst>
                <a:ext uri="{FF2B5EF4-FFF2-40B4-BE49-F238E27FC236}">
                  <a16:creationId xmlns:a16="http://schemas.microsoft.com/office/drawing/2014/main" xmlns="" id="{B51AAC29-83D2-4F49-A1F8-C63A0C0F8050}"/>
                </a:ext>
              </a:extLst>
            </p:cNvPr>
            <p:cNvSpPr/>
            <p:nvPr userDrawn="1"/>
          </p:nvSpPr>
          <p:spPr bwMode="auto">
            <a:xfrm>
              <a:off x="7073901" y="3773488"/>
              <a:ext cx="1189038" cy="722313"/>
            </a:xfrm>
            <a:custGeom>
              <a:avLst/>
              <a:gdLst>
                <a:gd name="T0" fmla="*/ 119 w 360"/>
                <a:gd name="T1" fmla="*/ 0 h 219"/>
                <a:gd name="T2" fmla="*/ 108 w 360"/>
                <a:gd name="T3" fmla="*/ 2 h 219"/>
                <a:gd name="T4" fmla="*/ 5 w 360"/>
                <a:gd name="T5" fmla="*/ 62 h 219"/>
                <a:gd name="T6" fmla="*/ 0 w 360"/>
                <a:gd name="T7" fmla="*/ 68 h 219"/>
                <a:gd name="T8" fmla="*/ 0 w 360"/>
                <a:gd name="T9" fmla="*/ 79 h 219"/>
                <a:gd name="T10" fmla="*/ 5 w 360"/>
                <a:gd name="T11" fmla="*/ 86 h 219"/>
                <a:gd name="T12" fmla="*/ 232 w 360"/>
                <a:gd name="T13" fmla="*/ 217 h 219"/>
                <a:gd name="T14" fmla="*/ 241 w 360"/>
                <a:gd name="T15" fmla="*/ 219 h 219"/>
                <a:gd name="T16" fmla="*/ 242 w 360"/>
                <a:gd name="T17" fmla="*/ 219 h 219"/>
                <a:gd name="T18" fmla="*/ 252 w 360"/>
                <a:gd name="T19" fmla="*/ 217 h 219"/>
                <a:gd name="T20" fmla="*/ 345 w 360"/>
                <a:gd name="T21" fmla="*/ 163 h 219"/>
                <a:gd name="T22" fmla="*/ 356 w 360"/>
                <a:gd name="T23" fmla="*/ 157 h 219"/>
                <a:gd name="T24" fmla="*/ 360 w 360"/>
                <a:gd name="T25" fmla="*/ 152 h 219"/>
                <a:gd name="T26" fmla="*/ 360 w 360"/>
                <a:gd name="T27" fmla="*/ 150 h 219"/>
                <a:gd name="T28" fmla="*/ 360 w 360"/>
                <a:gd name="T29" fmla="*/ 141 h 219"/>
                <a:gd name="T30" fmla="*/ 360 w 360"/>
                <a:gd name="T31" fmla="*/ 138 h 219"/>
                <a:gd name="T32" fmla="*/ 356 w 360"/>
                <a:gd name="T33" fmla="*/ 133 h 219"/>
                <a:gd name="T34" fmla="*/ 129 w 360"/>
                <a:gd name="T35" fmla="*/ 2 h 219"/>
                <a:gd name="T36" fmla="*/ 119 w 360"/>
                <a:gd name="T3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0" h="219">
                  <a:moveTo>
                    <a:pt x="119" y="0"/>
                  </a:moveTo>
                  <a:cubicBezTo>
                    <a:pt x="113" y="0"/>
                    <a:pt x="108" y="2"/>
                    <a:pt x="108" y="2"/>
                  </a:cubicBezTo>
                  <a:cubicBezTo>
                    <a:pt x="108" y="2"/>
                    <a:pt x="15" y="56"/>
                    <a:pt x="5" y="62"/>
                  </a:cubicBezTo>
                  <a:cubicBezTo>
                    <a:pt x="1" y="64"/>
                    <a:pt x="0" y="66"/>
                    <a:pt x="0" y="6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5" y="86"/>
                    <a:pt x="5" y="86"/>
                  </a:cubicBezTo>
                  <a:cubicBezTo>
                    <a:pt x="5" y="86"/>
                    <a:pt x="221" y="211"/>
                    <a:pt x="232" y="217"/>
                  </a:cubicBezTo>
                  <a:cubicBezTo>
                    <a:pt x="235" y="218"/>
                    <a:pt x="238" y="219"/>
                    <a:pt x="241" y="219"/>
                  </a:cubicBezTo>
                  <a:cubicBezTo>
                    <a:pt x="241" y="219"/>
                    <a:pt x="242" y="219"/>
                    <a:pt x="242" y="219"/>
                  </a:cubicBezTo>
                  <a:cubicBezTo>
                    <a:pt x="248" y="219"/>
                    <a:pt x="252" y="217"/>
                    <a:pt x="252" y="217"/>
                  </a:cubicBezTo>
                  <a:cubicBezTo>
                    <a:pt x="345" y="163"/>
                    <a:pt x="345" y="163"/>
                    <a:pt x="345" y="163"/>
                  </a:cubicBezTo>
                  <a:cubicBezTo>
                    <a:pt x="345" y="163"/>
                    <a:pt x="345" y="163"/>
                    <a:pt x="356" y="157"/>
                  </a:cubicBezTo>
                  <a:cubicBezTo>
                    <a:pt x="358" y="155"/>
                    <a:pt x="360" y="154"/>
                    <a:pt x="360" y="152"/>
                  </a:cubicBezTo>
                  <a:cubicBezTo>
                    <a:pt x="360" y="152"/>
                    <a:pt x="360" y="151"/>
                    <a:pt x="360" y="150"/>
                  </a:cubicBezTo>
                  <a:cubicBezTo>
                    <a:pt x="360" y="141"/>
                    <a:pt x="360" y="141"/>
                    <a:pt x="360" y="141"/>
                  </a:cubicBezTo>
                  <a:cubicBezTo>
                    <a:pt x="360" y="140"/>
                    <a:pt x="360" y="139"/>
                    <a:pt x="360" y="138"/>
                  </a:cubicBezTo>
                  <a:cubicBezTo>
                    <a:pt x="359" y="135"/>
                    <a:pt x="356" y="133"/>
                    <a:pt x="356" y="133"/>
                  </a:cubicBezTo>
                  <a:cubicBezTo>
                    <a:pt x="356" y="133"/>
                    <a:pt x="139" y="8"/>
                    <a:pt x="129" y="2"/>
                  </a:cubicBezTo>
                  <a:cubicBezTo>
                    <a:pt x="125" y="0"/>
                    <a:pt x="122" y="0"/>
                    <a:pt x="119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" name="ïṣḻíďé">
              <a:extLst>
                <a:ext uri="{FF2B5EF4-FFF2-40B4-BE49-F238E27FC236}">
                  <a16:creationId xmlns:a16="http://schemas.microsoft.com/office/drawing/2014/main" xmlns="" id="{2D9F6DAA-8811-42D7-85F1-268ED3F84B33}"/>
                </a:ext>
              </a:extLst>
            </p:cNvPr>
            <p:cNvSpPr/>
            <p:nvPr userDrawn="1"/>
          </p:nvSpPr>
          <p:spPr bwMode="auto">
            <a:xfrm>
              <a:off x="7146926" y="3800476"/>
              <a:ext cx="1187450" cy="695325"/>
            </a:xfrm>
            <a:custGeom>
              <a:avLst/>
              <a:gdLst>
                <a:gd name="T0" fmla="*/ 360 w 360"/>
                <a:gd name="T1" fmla="*/ 144 h 211"/>
                <a:gd name="T2" fmla="*/ 360 w 360"/>
                <a:gd name="T3" fmla="*/ 142 h 211"/>
                <a:gd name="T4" fmla="*/ 360 w 360"/>
                <a:gd name="T5" fmla="*/ 130 h 211"/>
                <a:gd name="T6" fmla="*/ 336 w 360"/>
                <a:gd name="T7" fmla="*/ 126 h 211"/>
                <a:gd name="T8" fmla="*/ 129 w 360"/>
                <a:gd name="T9" fmla="*/ 6 h 211"/>
                <a:gd name="T10" fmla="*/ 108 w 360"/>
                <a:gd name="T11" fmla="*/ 6 h 211"/>
                <a:gd name="T12" fmla="*/ 12 w 360"/>
                <a:gd name="T13" fmla="*/ 61 h 211"/>
                <a:gd name="T14" fmla="*/ 1 w 360"/>
                <a:gd name="T15" fmla="*/ 59 h 211"/>
                <a:gd name="T16" fmla="*/ 1 w 360"/>
                <a:gd name="T17" fmla="*/ 71 h 211"/>
                <a:gd name="T18" fmla="*/ 5 w 360"/>
                <a:gd name="T19" fmla="*/ 78 h 211"/>
                <a:gd name="T20" fmla="*/ 232 w 360"/>
                <a:gd name="T21" fmla="*/ 209 h 211"/>
                <a:gd name="T22" fmla="*/ 241 w 360"/>
                <a:gd name="T23" fmla="*/ 211 h 211"/>
                <a:gd name="T24" fmla="*/ 241 w 360"/>
                <a:gd name="T25" fmla="*/ 211 h 211"/>
                <a:gd name="T26" fmla="*/ 253 w 360"/>
                <a:gd name="T27" fmla="*/ 209 h 211"/>
                <a:gd name="T28" fmla="*/ 345 w 360"/>
                <a:gd name="T29" fmla="*/ 155 h 211"/>
                <a:gd name="T30" fmla="*/ 356 w 360"/>
                <a:gd name="T31" fmla="*/ 149 h 211"/>
                <a:gd name="T32" fmla="*/ 360 w 360"/>
                <a:gd name="T33" fmla="*/ 14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0" h="211">
                  <a:moveTo>
                    <a:pt x="360" y="144"/>
                  </a:moveTo>
                  <a:cubicBezTo>
                    <a:pt x="360" y="144"/>
                    <a:pt x="360" y="143"/>
                    <a:pt x="360" y="142"/>
                  </a:cubicBezTo>
                  <a:cubicBezTo>
                    <a:pt x="360" y="130"/>
                    <a:pt x="360" y="130"/>
                    <a:pt x="360" y="130"/>
                  </a:cubicBezTo>
                  <a:cubicBezTo>
                    <a:pt x="336" y="126"/>
                    <a:pt x="336" y="126"/>
                    <a:pt x="336" y="126"/>
                  </a:cubicBezTo>
                  <a:cubicBezTo>
                    <a:pt x="282" y="94"/>
                    <a:pt x="137" y="11"/>
                    <a:pt x="129" y="6"/>
                  </a:cubicBezTo>
                  <a:cubicBezTo>
                    <a:pt x="119" y="0"/>
                    <a:pt x="108" y="6"/>
                    <a:pt x="108" y="6"/>
                  </a:cubicBezTo>
                  <a:cubicBezTo>
                    <a:pt x="108" y="6"/>
                    <a:pt x="37" y="47"/>
                    <a:pt x="12" y="61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75"/>
                    <a:pt x="5" y="78"/>
                    <a:pt x="5" y="78"/>
                  </a:cubicBezTo>
                  <a:cubicBezTo>
                    <a:pt x="5" y="78"/>
                    <a:pt x="222" y="203"/>
                    <a:pt x="232" y="209"/>
                  </a:cubicBezTo>
                  <a:cubicBezTo>
                    <a:pt x="235" y="210"/>
                    <a:pt x="239" y="211"/>
                    <a:pt x="241" y="211"/>
                  </a:cubicBezTo>
                  <a:cubicBezTo>
                    <a:pt x="241" y="211"/>
                    <a:pt x="241" y="211"/>
                    <a:pt x="241" y="211"/>
                  </a:cubicBezTo>
                  <a:cubicBezTo>
                    <a:pt x="248" y="211"/>
                    <a:pt x="253" y="209"/>
                    <a:pt x="253" y="209"/>
                  </a:cubicBezTo>
                  <a:cubicBezTo>
                    <a:pt x="345" y="155"/>
                    <a:pt x="345" y="155"/>
                    <a:pt x="345" y="155"/>
                  </a:cubicBezTo>
                  <a:cubicBezTo>
                    <a:pt x="345" y="155"/>
                    <a:pt x="345" y="155"/>
                    <a:pt x="356" y="149"/>
                  </a:cubicBezTo>
                  <a:cubicBezTo>
                    <a:pt x="359" y="147"/>
                    <a:pt x="360" y="146"/>
                    <a:pt x="360" y="14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" name="ïS1ïḑé">
              <a:extLst>
                <a:ext uri="{FF2B5EF4-FFF2-40B4-BE49-F238E27FC236}">
                  <a16:creationId xmlns:a16="http://schemas.microsoft.com/office/drawing/2014/main" xmlns="" id="{2763BD0F-6DBF-4137-A9AF-451E30FA28CE}"/>
                </a:ext>
              </a:extLst>
            </p:cNvPr>
            <p:cNvSpPr/>
            <p:nvPr userDrawn="1"/>
          </p:nvSpPr>
          <p:spPr bwMode="auto">
            <a:xfrm>
              <a:off x="7131051" y="3760788"/>
              <a:ext cx="1223963" cy="708025"/>
            </a:xfrm>
            <a:custGeom>
              <a:avLst/>
              <a:gdLst>
                <a:gd name="T0" fmla="*/ 350 w 371"/>
                <a:gd name="T1" fmla="*/ 155 h 215"/>
                <a:gd name="T2" fmla="*/ 258 w 371"/>
                <a:gd name="T3" fmla="*/ 209 h 215"/>
                <a:gd name="T4" fmla="*/ 237 w 371"/>
                <a:gd name="T5" fmla="*/ 209 h 215"/>
                <a:gd name="T6" fmla="*/ 10 w 371"/>
                <a:gd name="T7" fmla="*/ 78 h 215"/>
                <a:gd name="T8" fmla="*/ 10 w 371"/>
                <a:gd name="T9" fmla="*/ 66 h 215"/>
                <a:gd name="T10" fmla="*/ 113 w 371"/>
                <a:gd name="T11" fmla="*/ 6 h 215"/>
                <a:gd name="T12" fmla="*/ 134 w 371"/>
                <a:gd name="T13" fmla="*/ 6 h 215"/>
                <a:gd name="T14" fmla="*/ 361 w 371"/>
                <a:gd name="T15" fmla="*/ 137 h 215"/>
                <a:gd name="T16" fmla="*/ 361 w 371"/>
                <a:gd name="T17" fmla="*/ 149 h 215"/>
                <a:gd name="T18" fmla="*/ 350 w 371"/>
                <a:gd name="T19" fmla="*/ 15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1" h="215">
                  <a:moveTo>
                    <a:pt x="350" y="155"/>
                  </a:moveTo>
                  <a:cubicBezTo>
                    <a:pt x="258" y="209"/>
                    <a:pt x="258" y="209"/>
                    <a:pt x="258" y="209"/>
                  </a:cubicBezTo>
                  <a:cubicBezTo>
                    <a:pt x="258" y="209"/>
                    <a:pt x="247" y="215"/>
                    <a:pt x="237" y="209"/>
                  </a:cubicBezTo>
                  <a:cubicBezTo>
                    <a:pt x="227" y="203"/>
                    <a:pt x="10" y="78"/>
                    <a:pt x="10" y="78"/>
                  </a:cubicBezTo>
                  <a:cubicBezTo>
                    <a:pt x="10" y="78"/>
                    <a:pt x="0" y="72"/>
                    <a:pt x="10" y="66"/>
                  </a:cubicBezTo>
                  <a:cubicBezTo>
                    <a:pt x="20" y="60"/>
                    <a:pt x="113" y="6"/>
                    <a:pt x="113" y="6"/>
                  </a:cubicBezTo>
                  <a:cubicBezTo>
                    <a:pt x="113" y="6"/>
                    <a:pt x="124" y="0"/>
                    <a:pt x="134" y="6"/>
                  </a:cubicBezTo>
                  <a:cubicBezTo>
                    <a:pt x="144" y="12"/>
                    <a:pt x="361" y="137"/>
                    <a:pt x="361" y="137"/>
                  </a:cubicBezTo>
                  <a:cubicBezTo>
                    <a:pt x="361" y="137"/>
                    <a:pt x="371" y="143"/>
                    <a:pt x="361" y="149"/>
                  </a:cubicBezTo>
                  <a:cubicBezTo>
                    <a:pt x="350" y="155"/>
                    <a:pt x="350" y="155"/>
                    <a:pt x="350" y="155"/>
                  </a:cubicBez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" name="ïśļîḑè">
              <a:extLst>
                <a:ext uri="{FF2B5EF4-FFF2-40B4-BE49-F238E27FC236}">
                  <a16:creationId xmlns:a16="http://schemas.microsoft.com/office/drawing/2014/main" xmlns="" id="{6311C5E9-244B-4386-BF2E-80338FAF86AB}"/>
                </a:ext>
              </a:extLst>
            </p:cNvPr>
            <p:cNvSpPr/>
            <p:nvPr userDrawn="1"/>
          </p:nvSpPr>
          <p:spPr bwMode="auto">
            <a:xfrm>
              <a:off x="7232651" y="3819526"/>
              <a:ext cx="950913" cy="550863"/>
            </a:xfrm>
            <a:custGeom>
              <a:avLst/>
              <a:gdLst>
                <a:gd name="T0" fmla="*/ 599 w 599"/>
                <a:gd name="T1" fmla="*/ 222 h 347"/>
                <a:gd name="T2" fmla="*/ 214 w 599"/>
                <a:gd name="T3" fmla="*/ 0 h 347"/>
                <a:gd name="T4" fmla="*/ 0 w 599"/>
                <a:gd name="T5" fmla="*/ 125 h 347"/>
                <a:gd name="T6" fmla="*/ 385 w 599"/>
                <a:gd name="T7" fmla="*/ 347 h 347"/>
                <a:gd name="T8" fmla="*/ 599 w 599"/>
                <a:gd name="T9" fmla="*/ 22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9" h="347">
                  <a:moveTo>
                    <a:pt x="599" y="222"/>
                  </a:moveTo>
                  <a:lnTo>
                    <a:pt x="214" y="0"/>
                  </a:lnTo>
                  <a:lnTo>
                    <a:pt x="0" y="125"/>
                  </a:lnTo>
                  <a:lnTo>
                    <a:pt x="385" y="347"/>
                  </a:lnTo>
                  <a:lnTo>
                    <a:pt x="599" y="222"/>
                  </a:ln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" name="îṡḷîďe">
              <a:extLst>
                <a:ext uri="{FF2B5EF4-FFF2-40B4-BE49-F238E27FC236}">
                  <a16:creationId xmlns:a16="http://schemas.microsoft.com/office/drawing/2014/main" xmlns="" id="{ED5DE3C2-088A-4C30-8144-5145C0988FDD}"/>
                </a:ext>
              </a:extLst>
            </p:cNvPr>
            <p:cNvSpPr/>
            <p:nvPr userDrawn="1"/>
          </p:nvSpPr>
          <p:spPr bwMode="auto">
            <a:xfrm>
              <a:off x="7964488" y="4232276"/>
              <a:ext cx="222250" cy="128588"/>
            </a:xfrm>
            <a:custGeom>
              <a:avLst/>
              <a:gdLst>
                <a:gd name="T0" fmla="*/ 65 w 67"/>
                <a:gd name="T1" fmla="*/ 2 h 39"/>
                <a:gd name="T2" fmla="*/ 63 w 67"/>
                <a:gd name="T3" fmla="*/ 1 h 39"/>
                <a:gd name="T4" fmla="*/ 55 w 67"/>
                <a:gd name="T5" fmla="*/ 1 h 39"/>
                <a:gd name="T6" fmla="*/ 2 w 67"/>
                <a:gd name="T7" fmla="*/ 32 h 39"/>
                <a:gd name="T8" fmla="*/ 2 w 67"/>
                <a:gd name="T9" fmla="*/ 37 h 39"/>
                <a:gd name="T10" fmla="*/ 3 w 67"/>
                <a:gd name="T11" fmla="*/ 37 h 39"/>
                <a:gd name="T12" fmla="*/ 12 w 67"/>
                <a:gd name="T13" fmla="*/ 37 h 39"/>
                <a:gd name="T14" fmla="*/ 65 w 67"/>
                <a:gd name="T15" fmla="*/ 7 h 39"/>
                <a:gd name="T16" fmla="*/ 65 w 67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39">
                  <a:moveTo>
                    <a:pt x="65" y="2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1" y="0"/>
                    <a:pt x="58" y="0"/>
                    <a:pt x="55" y="1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0" y="33"/>
                    <a:pt x="0" y="36"/>
                    <a:pt x="2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6" y="39"/>
                    <a:pt x="9" y="39"/>
                    <a:pt x="12" y="3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7" y="6"/>
                    <a:pt x="67" y="3"/>
                    <a:pt x="65" y="2"/>
                  </a:cubicBez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" name="iṣlidê">
              <a:extLst>
                <a:ext uri="{FF2B5EF4-FFF2-40B4-BE49-F238E27FC236}">
                  <a16:creationId xmlns:a16="http://schemas.microsoft.com/office/drawing/2014/main" xmlns="" id="{F6B9C1DD-2331-42E1-826B-1734B5E2D2E2}"/>
                </a:ext>
              </a:extLst>
            </p:cNvPr>
            <p:cNvSpPr/>
            <p:nvPr userDrawn="1"/>
          </p:nvSpPr>
          <p:spPr bwMode="auto">
            <a:xfrm>
              <a:off x="7351713" y="3889376"/>
              <a:ext cx="33338" cy="12700"/>
            </a:xfrm>
            <a:prstGeom prst="ellipse">
              <a:avLst/>
            </a:pr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" name="íṡļïḑe">
              <a:extLst>
                <a:ext uri="{FF2B5EF4-FFF2-40B4-BE49-F238E27FC236}">
                  <a16:creationId xmlns:a16="http://schemas.microsoft.com/office/drawing/2014/main" xmlns="" id="{EE1C95F1-E880-4AA7-A416-A9FEBF0DE7E1}"/>
                </a:ext>
              </a:extLst>
            </p:cNvPr>
            <p:cNvSpPr/>
            <p:nvPr userDrawn="1"/>
          </p:nvSpPr>
          <p:spPr bwMode="auto">
            <a:xfrm>
              <a:off x="6919913" y="2903538"/>
              <a:ext cx="1830388" cy="842963"/>
            </a:xfrm>
            <a:custGeom>
              <a:avLst/>
              <a:gdLst>
                <a:gd name="T0" fmla="*/ 241 w 1153"/>
                <a:gd name="T1" fmla="*/ 0 h 531"/>
                <a:gd name="T2" fmla="*/ 0 w 1153"/>
                <a:gd name="T3" fmla="*/ 116 h 531"/>
                <a:gd name="T4" fmla="*/ 723 w 1153"/>
                <a:gd name="T5" fmla="*/ 531 h 531"/>
                <a:gd name="T6" fmla="*/ 1153 w 1153"/>
                <a:gd name="T7" fmla="*/ 284 h 531"/>
                <a:gd name="T8" fmla="*/ 1153 w 1153"/>
                <a:gd name="T9" fmla="*/ 276 h 531"/>
                <a:gd name="T10" fmla="*/ 806 w 1153"/>
                <a:gd name="T11" fmla="*/ 475 h 531"/>
                <a:gd name="T12" fmla="*/ 193 w 1153"/>
                <a:gd name="T13" fmla="*/ 122 h 531"/>
                <a:gd name="T14" fmla="*/ 201 w 1153"/>
                <a:gd name="T15" fmla="*/ 118 h 531"/>
                <a:gd name="T16" fmla="*/ 193 w 1153"/>
                <a:gd name="T17" fmla="*/ 112 h 531"/>
                <a:gd name="T18" fmla="*/ 201 w 1153"/>
                <a:gd name="T19" fmla="*/ 108 h 531"/>
                <a:gd name="T20" fmla="*/ 193 w 1153"/>
                <a:gd name="T21" fmla="*/ 103 h 531"/>
                <a:gd name="T22" fmla="*/ 218 w 1153"/>
                <a:gd name="T23" fmla="*/ 89 h 531"/>
                <a:gd name="T24" fmla="*/ 193 w 1153"/>
                <a:gd name="T25" fmla="*/ 74 h 531"/>
                <a:gd name="T26" fmla="*/ 207 w 1153"/>
                <a:gd name="T27" fmla="*/ 66 h 531"/>
                <a:gd name="T28" fmla="*/ 193 w 1153"/>
                <a:gd name="T29" fmla="*/ 58 h 531"/>
                <a:gd name="T30" fmla="*/ 201 w 1153"/>
                <a:gd name="T31" fmla="*/ 54 h 531"/>
                <a:gd name="T32" fmla="*/ 193 w 1153"/>
                <a:gd name="T33" fmla="*/ 47 h 531"/>
                <a:gd name="T34" fmla="*/ 255 w 1153"/>
                <a:gd name="T35" fmla="*/ 12 h 531"/>
                <a:gd name="T36" fmla="*/ 237 w 1153"/>
                <a:gd name="T37" fmla="*/ 2 h 531"/>
                <a:gd name="T38" fmla="*/ 241 w 1153"/>
                <a:gd name="T3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53" h="531">
                  <a:moveTo>
                    <a:pt x="241" y="0"/>
                  </a:moveTo>
                  <a:lnTo>
                    <a:pt x="0" y="116"/>
                  </a:lnTo>
                  <a:lnTo>
                    <a:pt x="723" y="531"/>
                  </a:lnTo>
                  <a:lnTo>
                    <a:pt x="1153" y="284"/>
                  </a:lnTo>
                  <a:lnTo>
                    <a:pt x="1153" y="276"/>
                  </a:lnTo>
                  <a:lnTo>
                    <a:pt x="806" y="475"/>
                  </a:lnTo>
                  <a:lnTo>
                    <a:pt x="193" y="122"/>
                  </a:lnTo>
                  <a:lnTo>
                    <a:pt x="201" y="118"/>
                  </a:lnTo>
                  <a:lnTo>
                    <a:pt x="193" y="112"/>
                  </a:lnTo>
                  <a:lnTo>
                    <a:pt x="201" y="108"/>
                  </a:lnTo>
                  <a:lnTo>
                    <a:pt x="193" y="103"/>
                  </a:lnTo>
                  <a:lnTo>
                    <a:pt x="218" y="89"/>
                  </a:lnTo>
                  <a:lnTo>
                    <a:pt x="193" y="74"/>
                  </a:lnTo>
                  <a:lnTo>
                    <a:pt x="207" y="66"/>
                  </a:lnTo>
                  <a:lnTo>
                    <a:pt x="193" y="58"/>
                  </a:lnTo>
                  <a:lnTo>
                    <a:pt x="201" y="54"/>
                  </a:lnTo>
                  <a:lnTo>
                    <a:pt x="193" y="47"/>
                  </a:lnTo>
                  <a:lnTo>
                    <a:pt x="255" y="12"/>
                  </a:lnTo>
                  <a:lnTo>
                    <a:pt x="237" y="2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" name="ïš1íďê">
              <a:extLst>
                <a:ext uri="{FF2B5EF4-FFF2-40B4-BE49-F238E27FC236}">
                  <a16:creationId xmlns:a16="http://schemas.microsoft.com/office/drawing/2014/main" xmlns="" id="{3E9A6745-0BCD-4F2A-872B-9F4D52262375}"/>
                </a:ext>
              </a:extLst>
            </p:cNvPr>
            <p:cNvSpPr/>
            <p:nvPr userDrawn="1"/>
          </p:nvSpPr>
          <p:spPr bwMode="auto">
            <a:xfrm>
              <a:off x="6919913" y="2903538"/>
              <a:ext cx="1830388" cy="842963"/>
            </a:xfrm>
            <a:custGeom>
              <a:avLst/>
              <a:gdLst>
                <a:gd name="T0" fmla="*/ 241 w 1153"/>
                <a:gd name="T1" fmla="*/ 0 h 531"/>
                <a:gd name="T2" fmla="*/ 0 w 1153"/>
                <a:gd name="T3" fmla="*/ 116 h 531"/>
                <a:gd name="T4" fmla="*/ 723 w 1153"/>
                <a:gd name="T5" fmla="*/ 531 h 531"/>
                <a:gd name="T6" fmla="*/ 1153 w 1153"/>
                <a:gd name="T7" fmla="*/ 284 h 531"/>
                <a:gd name="T8" fmla="*/ 1153 w 1153"/>
                <a:gd name="T9" fmla="*/ 276 h 531"/>
                <a:gd name="T10" fmla="*/ 806 w 1153"/>
                <a:gd name="T11" fmla="*/ 475 h 531"/>
                <a:gd name="T12" fmla="*/ 193 w 1153"/>
                <a:gd name="T13" fmla="*/ 122 h 531"/>
                <a:gd name="T14" fmla="*/ 201 w 1153"/>
                <a:gd name="T15" fmla="*/ 118 h 531"/>
                <a:gd name="T16" fmla="*/ 193 w 1153"/>
                <a:gd name="T17" fmla="*/ 112 h 531"/>
                <a:gd name="T18" fmla="*/ 201 w 1153"/>
                <a:gd name="T19" fmla="*/ 108 h 531"/>
                <a:gd name="T20" fmla="*/ 193 w 1153"/>
                <a:gd name="T21" fmla="*/ 103 h 531"/>
                <a:gd name="T22" fmla="*/ 218 w 1153"/>
                <a:gd name="T23" fmla="*/ 89 h 531"/>
                <a:gd name="T24" fmla="*/ 193 w 1153"/>
                <a:gd name="T25" fmla="*/ 74 h 531"/>
                <a:gd name="T26" fmla="*/ 207 w 1153"/>
                <a:gd name="T27" fmla="*/ 66 h 531"/>
                <a:gd name="T28" fmla="*/ 193 w 1153"/>
                <a:gd name="T29" fmla="*/ 58 h 531"/>
                <a:gd name="T30" fmla="*/ 201 w 1153"/>
                <a:gd name="T31" fmla="*/ 54 h 531"/>
                <a:gd name="T32" fmla="*/ 193 w 1153"/>
                <a:gd name="T33" fmla="*/ 47 h 531"/>
                <a:gd name="T34" fmla="*/ 255 w 1153"/>
                <a:gd name="T35" fmla="*/ 12 h 531"/>
                <a:gd name="T36" fmla="*/ 237 w 1153"/>
                <a:gd name="T37" fmla="*/ 2 h 531"/>
                <a:gd name="T38" fmla="*/ 241 w 1153"/>
                <a:gd name="T3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53" h="531">
                  <a:moveTo>
                    <a:pt x="241" y="0"/>
                  </a:moveTo>
                  <a:lnTo>
                    <a:pt x="0" y="116"/>
                  </a:lnTo>
                  <a:lnTo>
                    <a:pt x="723" y="531"/>
                  </a:lnTo>
                  <a:lnTo>
                    <a:pt x="1153" y="284"/>
                  </a:lnTo>
                  <a:lnTo>
                    <a:pt x="1153" y="276"/>
                  </a:lnTo>
                  <a:lnTo>
                    <a:pt x="806" y="475"/>
                  </a:lnTo>
                  <a:lnTo>
                    <a:pt x="193" y="122"/>
                  </a:lnTo>
                  <a:lnTo>
                    <a:pt x="201" y="118"/>
                  </a:lnTo>
                  <a:lnTo>
                    <a:pt x="193" y="112"/>
                  </a:lnTo>
                  <a:lnTo>
                    <a:pt x="201" y="108"/>
                  </a:lnTo>
                  <a:lnTo>
                    <a:pt x="193" y="103"/>
                  </a:lnTo>
                  <a:lnTo>
                    <a:pt x="218" y="89"/>
                  </a:lnTo>
                  <a:lnTo>
                    <a:pt x="193" y="74"/>
                  </a:lnTo>
                  <a:lnTo>
                    <a:pt x="207" y="66"/>
                  </a:lnTo>
                  <a:lnTo>
                    <a:pt x="193" y="58"/>
                  </a:lnTo>
                  <a:lnTo>
                    <a:pt x="201" y="54"/>
                  </a:lnTo>
                  <a:lnTo>
                    <a:pt x="193" y="47"/>
                  </a:lnTo>
                  <a:lnTo>
                    <a:pt x="255" y="12"/>
                  </a:lnTo>
                  <a:lnTo>
                    <a:pt x="237" y="2"/>
                  </a:lnTo>
                  <a:lnTo>
                    <a:pt x="2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" name="îšḻiḓe">
              <a:extLst>
                <a:ext uri="{FF2B5EF4-FFF2-40B4-BE49-F238E27FC236}">
                  <a16:creationId xmlns:a16="http://schemas.microsoft.com/office/drawing/2014/main" xmlns="" id="{BD4D8E09-E08D-44B4-8975-92F422C4075F}"/>
                </a:ext>
              </a:extLst>
            </p:cNvPr>
            <p:cNvSpPr/>
            <p:nvPr userDrawn="1"/>
          </p:nvSpPr>
          <p:spPr bwMode="auto">
            <a:xfrm>
              <a:off x="5981701" y="4624388"/>
              <a:ext cx="809625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2 w 245"/>
                <a:gd name="T7" fmla="*/ 0 h 79"/>
                <a:gd name="T8" fmla="*/ 2 w 24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7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" name="ïšľîḑê">
              <a:extLst>
                <a:ext uri="{FF2B5EF4-FFF2-40B4-BE49-F238E27FC236}">
                  <a16:creationId xmlns:a16="http://schemas.microsoft.com/office/drawing/2014/main" xmlns="" id="{D4B0A64F-F98E-4A9C-BE26-BCF94B92DE26}"/>
                </a:ext>
              </a:extLst>
            </p:cNvPr>
            <p:cNvSpPr/>
            <p:nvPr userDrawn="1"/>
          </p:nvSpPr>
          <p:spPr bwMode="auto">
            <a:xfrm>
              <a:off x="5988051" y="4410076"/>
              <a:ext cx="803275" cy="431800"/>
            </a:xfrm>
            <a:custGeom>
              <a:avLst/>
              <a:gdLst>
                <a:gd name="T0" fmla="*/ 506 w 506"/>
                <a:gd name="T1" fmla="*/ 154 h 272"/>
                <a:gd name="T2" fmla="*/ 235 w 506"/>
                <a:gd name="T3" fmla="*/ 0 h 272"/>
                <a:gd name="T4" fmla="*/ 0 w 506"/>
                <a:gd name="T5" fmla="*/ 135 h 272"/>
                <a:gd name="T6" fmla="*/ 237 w 506"/>
                <a:gd name="T7" fmla="*/ 272 h 272"/>
                <a:gd name="T8" fmla="*/ 302 w 506"/>
                <a:gd name="T9" fmla="*/ 270 h 272"/>
                <a:gd name="T10" fmla="*/ 506 w 506"/>
                <a:gd name="T11" fmla="*/ 15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6" h="272">
                  <a:moveTo>
                    <a:pt x="506" y="154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2" y="270"/>
                  </a:lnTo>
                  <a:lnTo>
                    <a:pt x="506" y="154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" name="isḷïḋè">
              <a:extLst>
                <a:ext uri="{FF2B5EF4-FFF2-40B4-BE49-F238E27FC236}">
                  <a16:creationId xmlns:a16="http://schemas.microsoft.com/office/drawing/2014/main" xmlns="" id="{4664F149-A78C-49BE-ACE2-06F92B4405E8}"/>
                </a:ext>
              </a:extLst>
            </p:cNvPr>
            <p:cNvSpPr/>
            <p:nvPr userDrawn="1"/>
          </p:nvSpPr>
          <p:spPr bwMode="auto">
            <a:xfrm>
              <a:off x="6364288" y="4778376"/>
              <a:ext cx="103188" cy="63500"/>
            </a:xfrm>
            <a:custGeom>
              <a:avLst/>
              <a:gdLst>
                <a:gd name="T0" fmla="*/ 32 w 65"/>
                <a:gd name="T1" fmla="*/ 0 h 40"/>
                <a:gd name="T2" fmla="*/ 65 w 65"/>
                <a:gd name="T3" fmla="*/ 38 h 40"/>
                <a:gd name="T4" fmla="*/ 0 w 65"/>
                <a:gd name="T5" fmla="*/ 40 h 40"/>
                <a:gd name="T6" fmla="*/ 32 w 65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40">
                  <a:moveTo>
                    <a:pt x="32" y="0"/>
                  </a:moveTo>
                  <a:lnTo>
                    <a:pt x="65" y="38"/>
                  </a:lnTo>
                  <a:lnTo>
                    <a:pt x="0" y="4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" name="íšḻiḍe">
              <a:extLst>
                <a:ext uri="{FF2B5EF4-FFF2-40B4-BE49-F238E27FC236}">
                  <a16:creationId xmlns:a16="http://schemas.microsoft.com/office/drawing/2014/main" xmlns="" id="{92723440-4FB7-4B53-BA5E-208C93051BF2}"/>
                </a:ext>
              </a:extLst>
            </p:cNvPr>
            <p:cNvSpPr/>
            <p:nvPr userDrawn="1"/>
          </p:nvSpPr>
          <p:spPr bwMode="auto">
            <a:xfrm>
              <a:off x="7226301" y="27051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" name="iSḷîḑé">
              <a:extLst>
                <a:ext uri="{FF2B5EF4-FFF2-40B4-BE49-F238E27FC236}">
                  <a16:creationId xmlns:a16="http://schemas.microsoft.com/office/drawing/2014/main" xmlns="" id="{4C65FE59-9D0E-4509-95C5-5EE03568A35B}"/>
                </a:ext>
              </a:extLst>
            </p:cNvPr>
            <p:cNvSpPr/>
            <p:nvPr userDrawn="1"/>
          </p:nvSpPr>
          <p:spPr bwMode="auto">
            <a:xfrm>
              <a:off x="7226301" y="27051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" name="íśľïde">
              <a:extLst>
                <a:ext uri="{FF2B5EF4-FFF2-40B4-BE49-F238E27FC236}">
                  <a16:creationId xmlns:a16="http://schemas.microsoft.com/office/drawing/2014/main" xmlns="" id="{3EF710F9-CDA7-45B4-8E4B-AE807015CE5B}"/>
                </a:ext>
              </a:extLst>
            </p:cNvPr>
            <p:cNvSpPr/>
            <p:nvPr userDrawn="1"/>
          </p:nvSpPr>
          <p:spPr bwMode="auto">
            <a:xfrm>
              <a:off x="7226301" y="3081338"/>
              <a:ext cx="1655763" cy="576263"/>
            </a:xfrm>
            <a:custGeom>
              <a:avLst/>
              <a:gdLst>
                <a:gd name="T0" fmla="*/ 0 w 1043"/>
                <a:gd name="T1" fmla="*/ 0 h 363"/>
                <a:gd name="T2" fmla="*/ 0 w 1043"/>
                <a:gd name="T3" fmla="*/ 10 h 363"/>
                <a:gd name="T4" fmla="*/ 613 w 1043"/>
                <a:gd name="T5" fmla="*/ 363 h 363"/>
                <a:gd name="T6" fmla="*/ 1043 w 1043"/>
                <a:gd name="T7" fmla="*/ 116 h 363"/>
                <a:gd name="T8" fmla="*/ 1043 w 1043"/>
                <a:gd name="T9" fmla="*/ 106 h 363"/>
                <a:gd name="T10" fmla="*/ 0 w 1043"/>
                <a:gd name="T1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3">
                  <a:moveTo>
                    <a:pt x="0" y="0"/>
                  </a:moveTo>
                  <a:lnTo>
                    <a:pt x="0" y="10"/>
                  </a:lnTo>
                  <a:lnTo>
                    <a:pt x="613" y="363"/>
                  </a:lnTo>
                  <a:lnTo>
                    <a:pt x="1043" y="116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" name="íšḻide">
              <a:extLst>
                <a:ext uri="{FF2B5EF4-FFF2-40B4-BE49-F238E27FC236}">
                  <a16:creationId xmlns:a16="http://schemas.microsoft.com/office/drawing/2014/main" xmlns="" id="{95EEADA7-C867-473D-A6D6-5BDF9ABA9676}"/>
                </a:ext>
              </a:extLst>
            </p:cNvPr>
            <p:cNvSpPr/>
            <p:nvPr userDrawn="1"/>
          </p:nvSpPr>
          <p:spPr bwMode="auto">
            <a:xfrm>
              <a:off x="7226301" y="2689226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" name="îṧḷîḑè">
              <a:extLst>
                <a:ext uri="{FF2B5EF4-FFF2-40B4-BE49-F238E27FC236}">
                  <a16:creationId xmlns:a16="http://schemas.microsoft.com/office/drawing/2014/main" xmlns="" id="{7157E0A7-1531-4133-86C7-ADD4D2D35A8C}"/>
                </a:ext>
              </a:extLst>
            </p:cNvPr>
            <p:cNvSpPr/>
            <p:nvPr userDrawn="1"/>
          </p:nvSpPr>
          <p:spPr bwMode="auto">
            <a:xfrm>
              <a:off x="7226301" y="2689226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" name="ísļîďê">
              <a:extLst>
                <a:ext uri="{FF2B5EF4-FFF2-40B4-BE49-F238E27FC236}">
                  <a16:creationId xmlns:a16="http://schemas.microsoft.com/office/drawing/2014/main" xmlns="" id="{E0C4E2B9-0DDF-45A5-B255-EA3D8CD48226}"/>
                </a:ext>
              </a:extLst>
            </p:cNvPr>
            <p:cNvSpPr/>
            <p:nvPr userDrawn="1"/>
          </p:nvSpPr>
          <p:spPr bwMode="auto">
            <a:xfrm>
              <a:off x="7226301" y="2674938"/>
              <a:ext cx="1655763" cy="954088"/>
            </a:xfrm>
            <a:custGeom>
              <a:avLst/>
              <a:gdLst>
                <a:gd name="T0" fmla="*/ 1043 w 1043"/>
                <a:gd name="T1" fmla="*/ 353 h 601"/>
                <a:gd name="T2" fmla="*/ 430 w 1043"/>
                <a:gd name="T3" fmla="*/ 0 h 601"/>
                <a:gd name="T4" fmla="*/ 0 w 1043"/>
                <a:gd name="T5" fmla="*/ 247 h 601"/>
                <a:gd name="T6" fmla="*/ 613 w 1043"/>
                <a:gd name="T7" fmla="*/ 601 h 601"/>
                <a:gd name="T8" fmla="*/ 1043 w 1043"/>
                <a:gd name="T9" fmla="*/ 353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1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1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" name="ïṡļîdê">
              <a:extLst>
                <a:ext uri="{FF2B5EF4-FFF2-40B4-BE49-F238E27FC236}">
                  <a16:creationId xmlns:a16="http://schemas.microsoft.com/office/drawing/2014/main" xmlns="" id="{1392B994-FC4D-45A8-9913-219C75F6E7A5}"/>
                </a:ext>
              </a:extLst>
            </p:cNvPr>
            <p:cNvSpPr/>
            <p:nvPr userDrawn="1"/>
          </p:nvSpPr>
          <p:spPr bwMode="auto">
            <a:xfrm>
              <a:off x="7226301" y="2674938"/>
              <a:ext cx="1655763" cy="954088"/>
            </a:xfrm>
            <a:custGeom>
              <a:avLst/>
              <a:gdLst>
                <a:gd name="T0" fmla="*/ 1043 w 1043"/>
                <a:gd name="T1" fmla="*/ 353 h 601"/>
                <a:gd name="T2" fmla="*/ 430 w 1043"/>
                <a:gd name="T3" fmla="*/ 0 h 601"/>
                <a:gd name="T4" fmla="*/ 0 w 1043"/>
                <a:gd name="T5" fmla="*/ 247 h 601"/>
                <a:gd name="T6" fmla="*/ 613 w 1043"/>
                <a:gd name="T7" fmla="*/ 601 h 601"/>
                <a:gd name="T8" fmla="*/ 1043 w 1043"/>
                <a:gd name="T9" fmla="*/ 353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1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1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5" name="íṡlîḍè">
              <a:extLst>
                <a:ext uri="{FF2B5EF4-FFF2-40B4-BE49-F238E27FC236}">
                  <a16:creationId xmlns:a16="http://schemas.microsoft.com/office/drawing/2014/main" xmlns="" id="{ADEFA5B3-09FC-40D3-8A40-EF8AE0B6CCF2}"/>
                </a:ext>
              </a:extLst>
            </p:cNvPr>
            <p:cNvSpPr/>
            <p:nvPr userDrawn="1"/>
          </p:nvSpPr>
          <p:spPr bwMode="auto">
            <a:xfrm>
              <a:off x="7226301" y="3021013"/>
              <a:ext cx="1655763" cy="608013"/>
            </a:xfrm>
            <a:custGeom>
              <a:avLst/>
              <a:gdLst>
                <a:gd name="T0" fmla="*/ 0 w 1043"/>
                <a:gd name="T1" fmla="*/ 0 h 383"/>
                <a:gd name="T2" fmla="*/ 0 w 1043"/>
                <a:gd name="T3" fmla="*/ 29 h 383"/>
                <a:gd name="T4" fmla="*/ 613 w 1043"/>
                <a:gd name="T5" fmla="*/ 383 h 383"/>
                <a:gd name="T6" fmla="*/ 1043 w 1043"/>
                <a:gd name="T7" fmla="*/ 135 h 383"/>
                <a:gd name="T8" fmla="*/ 1043 w 1043"/>
                <a:gd name="T9" fmla="*/ 106 h 383"/>
                <a:gd name="T10" fmla="*/ 0 w 1043"/>
                <a:gd name="T1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3">
                  <a:moveTo>
                    <a:pt x="0" y="0"/>
                  </a:moveTo>
                  <a:lnTo>
                    <a:pt x="0" y="29"/>
                  </a:lnTo>
                  <a:lnTo>
                    <a:pt x="613" y="383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5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6" name="íṡ1îḑè">
              <a:extLst>
                <a:ext uri="{FF2B5EF4-FFF2-40B4-BE49-F238E27FC236}">
                  <a16:creationId xmlns:a16="http://schemas.microsoft.com/office/drawing/2014/main" xmlns="" id="{58EEECF5-9DC6-4E3F-86DA-61B94AA7F084}"/>
                </a:ext>
              </a:extLst>
            </p:cNvPr>
            <p:cNvSpPr/>
            <p:nvPr userDrawn="1"/>
          </p:nvSpPr>
          <p:spPr bwMode="auto">
            <a:xfrm>
              <a:off x="7226301" y="26289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7" name="î$ḷïḓé">
              <a:extLst>
                <a:ext uri="{FF2B5EF4-FFF2-40B4-BE49-F238E27FC236}">
                  <a16:creationId xmlns:a16="http://schemas.microsoft.com/office/drawing/2014/main" xmlns="" id="{110D5DC4-7852-4FEA-AC9F-6E0B6CDF0C12}"/>
                </a:ext>
              </a:extLst>
            </p:cNvPr>
            <p:cNvSpPr/>
            <p:nvPr userDrawn="1"/>
          </p:nvSpPr>
          <p:spPr bwMode="auto">
            <a:xfrm>
              <a:off x="7226301" y="26289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8" name="íṩľídè">
              <a:extLst>
                <a:ext uri="{FF2B5EF4-FFF2-40B4-BE49-F238E27FC236}">
                  <a16:creationId xmlns:a16="http://schemas.microsoft.com/office/drawing/2014/main" xmlns="" id="{FF134AE5-2437-498A-8340-BE8B5B336DAF}"/>
                </a:ext>
              </a:extLst>
            </p:cNvPr>
            <p:cNvSpPr/>
            <p:nvPr userDrawn="1"/>
          </p:nvSpPr>
          <p:spPr bwMode="auto">
            <a:xfrm>
              <a:off x="7226301" y="26035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9" name="iṥlîďé">
              <a:extLst>
                <a:ext uri="{FF2B5EF4-FFF2-40B4-BE49-F238E27FC236}">
                  <a16:creationId xmlns:a16="http://schemas.microsoft.com/office/drawing/2014/main" xmlns="" id="{8E315832-9745-469F-8A26-CD5969F9A07F}"/>
                </a:ext>
              </a:extLst>
            </p:cNvPr>
            <p:cNvSpPr/>
            <p:nvPr userDrawn="1"/>
          </p:nvSpPr>
          <p:spPr bwMode="auto">
            <a:xfrm>
              <a:off x="7226301" y="26035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0" name="íṥḻiďê">
              <a:extLst>
                <a:ext uri="{FF2B5EF4-FFF2-40B4-BE49-F238E27FC236}">
                  <a16:creationId xmlns:a16="http://schemas.microsoft.com/office/drawing/2014/main" xmlns="" id="{E5FF99F6-BFA8-43AA-A833-3C23859D8ED9}"/>
                </a:ext>
              </a:extLst>
            </p:cNvPr>
            <p:cNvSpPr/>
            <p:nvPr userDrawn="1"/>
          </p:nvSpPr>
          <p:spPr bwMode="auto">
            <a:xfrm>
              <a:off x="7226301" y="2978151"/>
              <a:ext cx="1655763" cy="577850"/>
            </a:xfrm>
            <a:custGeom>
              <a:avLst/>
              <a:gdLst>
                <a:gd name="T0" fmla="*/ 0 w 1043"/>
                <a:gd name="T1" fmla="*/ 0 h 364"/>
                <a:gd name="T2" fmla="*/ 0 w 1043"/>
                <a:gd name="T3" fmla="*/ 11 h 364"/>
                <a:gd name="T4" fmla="*/ 613 w 1043"/>
                <a:gd name="T5" fmla="*/ 364 h 364"/>
                <a:gd name="T6" fmla="*/ 1043 w 1043"/>
                <a:gd name="T7" fmla="*/ 117 h 364"/>
                <a:gd name="T8" fmla="*/ 1043 w 1043"/>
                <a:gd name="T9" fmla="*/ 106 h 364"/>
                <a:gd name="T10" fmla="*/ 0 w 1043"/>
                <a:gd name="T11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4">
                  <a:moveTo>
                    <a:pt x="0" y="0"/>
                  </a:moveTo>
                  <a:lnTo>
                    <a:pt x="0" y="11"/>
                  </a:lnTo>
                  <a:lnTo>
                    <a:pt x="613" y="364"/>
                  </a:lnTo>
                  <a:lnTo>
                    <a:pt x="1043" y="117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1" name="ïšľíḋe">
              <a:extLst>
                <a:ext uri="{FF2B5EF4-FFF2-40B4-BE49-F238E27FC236}">
                  <a16:creationId xmlns:a16="http://schemas.microsoft.com/office/drawing/2014/main" xmlns="" id="{A964BB09-DF86-470C-9DA4-261027D5B0EC}"/>
                </a:ext>
              </a:extLst>
            </p:cNvPr>
            <p:cNvSpPr/>
            <p:nvPr userDrawn="1"/>
          </p:nvSpPr>
          <p:spPr bwMode="auto">
            <a:xfrm>
              <a:off x="7226301" y="2586038"/>
              <a:ext cx="1655763" cy="957263"/>
            </a:xfrm>
            <a:custGeom>
              <a:avLst/>
              <a:gdLst>
                <a:gd name="T0" fmla="*/ 1043 w 1043"/>
                <a:gd name="T1" fmla="*/ 353 h 603"/>
                <a:gd name="T2" fmla="*/ 430 w 1043"/>
                <a:gd name="T3" fmla="*/ 0 h 603"/>
                <a:gd name="T4" fmla="*/ 0 w 1043"/>
                <a:gd name="T5" fmla="*/ 247 h 603"/>
                <a:gd name="T6" fmla="*/ 613 w 1043"/>
                <a:gd name="T7" fmla="*/ 603 h 603"/>
                <a:gd name="T8" fmla="*/ 1043 w 1043"/>
                <a:gd name="T9" fmla="*/ 35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3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3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" name="iŝļíḋê">
              <a:extLst>
                <a:ext uri="{FF2B5EF4-FFF2-40B4-BE49-F238E27FC236}">
                  <a16:creationId xmlns:a16="http://schemas.microsoft.com/office/drawing/2014/main" xmlns="" id="{E3DB7E39-80C5-4FBC-9F5E-BD9C6C199FC9}"/>
                </a:ext>
              </a:extLst>
            </p:cNvPr>
            <p:cNvSpPr/>
            <p:nvPr userDrawn="1"/>
          </p:nvSpPr>
          <p:spPr bwMode="auto">
            <a:xfrm>
              <a:off x="7226301" y="2586038"/>
              <a:ext cx="1655763" cy="957263"/>
            </a:xfrm>
            <a:custGeom>
              <a:avLst/>
              <a:gdLst>
                <a:gd name="T0" fmla="*/ 1043 w 1043"/>
                <a:gd name="T1" fmla="*/ 353 h 603"/>
                <a:gd name="T2" fmla="*/ 430 w 1043"/>
                <a:gd name="T3" fmla="*/ 0 h 603"/>
                <a:gd name="T4" fmla="*/ 0 w 1043"/>
                <a:gd name="T5" fmla="*/ 247 h 603"/>
                <a:gd name="T6" fmla="*/ 613 w 1043"/>
                <a:gd name="T7" fmla="*/ 603 h 603"/>
                <a:gd name="T8" fmla="*/ 1043 w 1043"/>
                <a:gd name="T9" fmla="*/ 35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3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3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3" name="isḷïḍé">
              <a:extLst>
                <a:ext uri="{FF2B5EF4-FFF2-40B4-BE49-F238E27FC236}">
                  <a16:creationId xmlns:a16="http://schemas.microsoft.com/office/drawing/2014/main" xmlns="" id="{7764FF14-3DAB-41D4-9CB3-C03BF3FF36B4}"/>
                </a:ext>
              </a:extLst>
            </p:cNvPr>
            <p:cNvSpPr/>
            <p:nvPr userDrawn="1"/>
          </p:nvSpPr>
          <p:spPr bwMode="auto">
            <a:xfrm>
              <a:off x="7226301" y="2978151"/>
              <a:ext cx="973138" cy="679450"/>
            </a:xfrm>
            <a:custGeom>
              <a:avLst/>
              <a:gdLst>
                <a:gd name="T0" fmla="*/ 613 w 613"/>
                <a:gd name="T1" fmla="*/ 356 h 428"/>
                <a:gd name="T2" fmla="*/ 613 w 613"/>
                <a:gd name="T3" fmla="*/ 428 h 428"/>
                <a:gd name="T4" fmla="*/ 0 w 613"/>
                <a:gd name="T5" fmla="*/ 75 h 428"/>
                <a:gd name="T6" fmla="*/ 0 w 613"/>
                <a:gd name="T7" fmla="*/ 0 h 428"/>
                <a:gd name="T8" fmla="*/ 613 w 613"/>
                <a:gd name="T9" fmla="*/ 356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3" h="428">
                  <a:moveTo>
                    <a:pt x="613" y="356"/>
                  </a:moveTo>
                  <a:lnTo>
                    <a:pt x="613" y="428"/>
                  </a:lnTo>
                  <a:lnTo>
                    <a:pt x="0" y="75"/>
                  </a:lnTo>
                  <a:lnTo>
                    <a:pt x="0" y="0"/>
                  </a:lnTo>
                  <a:lnTo>
                    <a:pt x="613" y="356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4" name="íšlïḑê">
              <a:extLst>
                <a:ext uri="{FF2B5EF4-FFF2-40B4-BE49-F238E27FC236}">
                  <a16:creationId xmlns:a16="http://schemas.microsoft.com/office/drawing/2014/main" xmlns="" id="{9DD5E3B5-6849-4C27-8102-6BA40A27828F}"/>
                </a:ext>
              </a:extLst>
            </p:cNvPr>
            <p:cNvSpPr/>
            <p:nvPr userDrawn="1"/>
          </p:nvSpPr>
          <p:spPr bwMode="auto">
            <a:xfrm>
              <a:off x="7296151" y="25146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5" name="išľîḋê">
              <a:extLst>
                <a:ext uri="{FF2B5EF4-FFF2-40B4-BE49-F238E27FC236}">
                  <a16:creationId xmlns:a16="http://schemas.microsoft.com/office/drawing/2014/main" xmlns="" id="{BDF658FC-59F8-4875-9EE2-DEE2A49B5B08}"/>
                </a:ext>
              </a:extLst>
            </p:cNvPr>
            <p:cNvSpPr/>
            <p:nvPr userDrawn="1"/>
          </p:nvSpPr>
          <p:spPr bwMode="auto">
            <a:xfrm>
              <a:off x="7296151" y="25146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" name="îṩlïďê">
              <a:extLst>
                <a:ext uri="{FF2B5EF4-FFF2-40B4-BE49-F238E27FC236}">
                  <a16:creationId xmlns:a16="http://schemas.microsoft.com/office/drawing/2014/main" xmlns="" id="{9B3A67F3-26C2-4B35-945C-61E9EB586665}"/>
                </a:ext>
              </a:extLst>
            </p:cNvPr>
            <p:cNvSpPr/>
            <p:nvPr userDrawn="1"/>
          </p:nvSpPr>
          <p:spPr bwMode="auto">
            <a:xfrm>
              <a:off x="7296151" y="2892426"/>
              <a:ext cx="1655763" cy="574675"/>
            </a:xfrm>
            <a:custGeom>
              <a:avLst/>
              <a:gdLst>
                <a:gd name="T0" fmla="*/ 0 w 1043"/>
                <a:gd name="T1" fmla="*/ 0 h 362"/>
                <a:gd name="T2" fmla="*/ 0 w 1043"/>
                <a:gd name="T3" fmla="*/ 9 h 362"/>
                <a:gd name="T4" fmla="*/ 613 w 1043"/>
                <a:gd name="T5" fmla="*/ 362 h 362"/>
                <a:gd name="T6" fmla="*/ 1043 w 1043"/>
                <a:gd name="T7" fmla="*/ 115 h 362"/>
                <a:gd name="T8" fmla="*/ 1043 w 1043"/>
                <a:gd name="T9" fmla="*/ 106 h 362"/>
                <a:gd name="T10" fmla="*/ 0 w 1043"/>
                <a:gd name="T11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2">
                  <a:moveTo>
                    <a:pt x="0" y="0"/>
                  </a:moveTo>
                  <a:lnTo>
                    <a:pt x="0" y="9"/>
                  </a:lnTo>
                  <a:lnTo>
                    <a:pt x="613" y="362"/>
                  </a:lnTo>
                  <a:lnTo>
                    <a:pt x="1043" y="11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" name="işlídè">
              <a:extLst>
                <a:ext uri="{FF2B5EF4-FFF2-40B4-BE49-F238E27FC236}">
                  <a16:creationId xmlns:a16="http://schemas.microsoft.com/office/drawing/2014/main" xmlns="" id="{F1247319-03BB-4EBA-B875-546EE2165DF5}"/>
                </a:ext>
              </a:extLst>
            </p:cNvPr>
            <p:cNvSpPr/>
            <p:nvPr userDrawn="1"/>
          </p:nvSpPr>
          <p:spPr bwMode="auto">
            <a:xfrm>
              <a:off x="7296151" y="24971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" name="ïṧľîḋê">
              <a:extLst>
                <a:ext uri="{FF2B5EF4-FFF2-40B4-BE49-F238E27FC236}">
                  <a16:creationId xmlns:a16="http://schemas.microsoft.com/office/drawing/2014/main" xmlns="" id="{652C11E8-9A5B-493B-BA7B-C840023D7CEC}"/>
                </a:ext>
              </a:extLst>
            </p:cNvPr>
            <p:cNvSpPr/>
            <p:nvPr userDrawn="1"/>
          </p:nvSpPr>
          <p:spPr bwMode="auto">
            <a:xfrm>
              <a:off x="7296151" y="24971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" name="ïṥlíḓe">
              <a:extLst>
                <a:ext uri="{FF2B5EF4-FFF2-40B4-BE49-F238E27FC236}">
                  <a16:creationId xmlns:a16="http://schemas.microsoft.com/office/drawing/2014/main" xmlns="" id="{82BEA558-9D0A-470F-9C81-66D54B251BA9}"/>
                </a:ext>
              </a:extLst>
            </p:cNvPr>
            <p:cNvSpPr/>
            <p:nvPr userDrawn="1"/>
          </p:nvSpPr>
          <p:spPr bwMode="auto">
            <a:xfrm>
              <a:off x="7296151" y="2484438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" name="îSlíḍè">
              <a:extLst>
                <a:ext uri="{FF2B5EF4-FFF2-40B4-BE49-F238E27FC236}">
                  <a16:creationId xmlns:a16="http://schemas.microsoft.com/office/drawing/2014/main" xmlns="" id="{AE38124F-7E95-4EE9-966A-0192878DDA71}"/>
                </a:ext>
              </a:extLst>
            </p:cNvPr>
            <p:cNvSpPr/>
            <p:nvPr userDrawn="1"/>
          </p:nvSpPr>
          <p:spPr bwMode="auto">
            <a:xfrm>
              <a:off x="7296151" y="2484438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" name="îŝľîḓê">
              <a:extLst>
                <a:ext uri="{FF2B5EF4-FFF2-40B4-BE49-F238E27FC236}">
                  <a16:creationId xmlns:a16="http://schemas.microsoft.com/office/drawing/2014/main" xmlns="" id="{0AC52D35-CA2A-4800-A64A-B0D7431E94EC}"/>
                </a:ext>
              </a:extLst>
            </p:cNvPr>
            <p:cNvSpPr/>
            <p:nvPr userDrawn="1"/>
          </p:nvSpPr>
          <p:spPr bwMode="auto">
            <a:xfrm>
              <a:off x="7296151" y="2830513"/>
              <a:ext cx="1655763" cy="606425"/>
            </a:xfrm>
            <a:custGeom>
              <a:avLst/>
              <a:gdLst>
                <a:gd name="T0" fmla="*/ 0 w 1043"/>
                <a:gd name="T1" fmla="*/ 0 h 382"/>
                <a:gd name="T2" fmla="*/ 0 w 1043"/>
                <a:gd name="T3" fmla="*/ 29 h 382"/>
                <a:gd name="T4" fmla="*/ 613 w 1043"/>
                <a:gd name="T5" fmla="*/ 382 h 382"/>
                <a:gd name="T6" fmla="*/ 1043 w 1043"/>
                <a:gd name="T7" fmla="*/ 135 h 382"/>
                <a:gd name="T8" fmla="*/ 1043 w 1043"/>
                <a:gd name="T9" fmla="*/ 106 h 382"/>
                <a:gd name="T10" fmla="*/ 0 w 1043"/>
                <a:gd name="T11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2">
                  <a:moveTo>
                    <a:pt x="0" y="0"/>
                  </a:moveTo>
                  <a:lnTo>
                    <a:pt x="0" y="29"/>
                  </a:lnTo>
                  <a:lnTo>
                    <a:pt x="613" y="382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4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" name="íślïḓè">
              <a:extLst>
                <a:ext uri="{FF2B5EF4-FFF2-40B4-BE49-F238E27FC236}">
                  <a16:creationId xmlns:a16="http://schemas.microsoft.com/office/drawing/2014/main" xmlns="" id="{3DDACDCE-7F2A-43E0-89FB-8F64E651B4D9}"/>
                </a:ext>
              </a:extLst>
            </p:cNvPr>
            <p:cNvSpPr/>
            <p:nvPr userDrawn="1"/>
          </p:nvSpPr>
          <p:spPr bwMode="auto">
            <a:xfrm>
              <a:off x="7296151" y="2830513"/>
              <a:ext cx="1655763" cy="606425"/>
            </a:xfrm>
            <a:custGeom>
              <a:avLst/>
              <a:gdLst>
                <a:gd name="T0" fmla="*/ 0 w 1043"/>
                <a:gd name="T1" fmla="*/ 0 h 382"/>
                <a:gd name="T2" fmla="*/ 0 w 1043"/>
                <a:gd name="T3" fmla="*/ 29 h 382"/>
                <a:gd name="T4" fmla="*/ 613 w 1043"/>
                <a:gd name="T5" fmla="*/ 382 h 382"/>
                <a:gd name="T6" fmla="*/ 1043 w 1043"/>
                <a:gd name="T7" fmla="*/ 135 h 382"/>
                <a:gd name="T8" fmla="*/ 1043 w 1043"/>
                <a:gd name="T9" fmla="*/ 106 h 382"/>
                <a:gd name="T10" fmla="*/ 0 w 1043"/>
                <a:gd name="T11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2">
                  <a:moveTo>
                    <a:pt x="0" y="0"/>
                  </a:moveTo>
                  <a:lnTo>
                    <a:pt x="0" y="29"/>
                  </a:lnTo>
                  <a:lnTo>
                    <a:pt x="613" y="382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" name="íšḷïdé">
              <a:extLst>
                <a:ext uri="{FF2B5EF4-FFF2-40B4-BE49-F238E27FC236}">
                  <a16:creationId xmlns:a16="http://schemas.microsoft.com/office/drawing/2014/main" xmlns="" id="{D369C28D-0942-4851-BA4F-183AF8B59E95}"/>
                </a:ext>
              </a:extLst>
            </p:cNvPr>
            <p:cNvSpPr/>
            <p:nvPr userDrawn="1"/>
          </p:nvSpPr>
          <p:spPr bwMode="auto">
            <a:xfrm>
              <a:off x="7296151" y="2438401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" name="îṩļîḑé">
              <a:extLst>
                <a:ext uri="{FF2B5EF4-FFF2-40B4-BE49-F238E27FC236}">
                  <a16:creationId xmlns:a16="http://schemas.microsoft.com/office/drawing/2014/main" xmlns="" id="{91471286-5803-4079-B866-14DF887725D6}"/>
                </a:ext>
              </a:extLst>
            </p:cNvPr>
            <p:cNvSpPr/>
            <p:nvPr userDrawn="1"/>
          </p:nvSpPr>
          <p:spPr bwMode="auto">
            <a:xfrm>
              <a:off x="7296151" y="2438401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" name="ï$ļiḍê">
              <a:extLst>
                <a:ext uri="{FF2B5EF4-FFF2-40B4-BE49-F238E27FC236}">
                  <a16:creationId xmlns:a16="http://schemas.microsoft.com/office/drawing/2014/main" xmlns="" id="{13D82409-13F0-489F-BD86-FBBA11664136}"/>
                </a:ext>
              </a:extLst>
            </p:cNvPr>
            <p:cNvSpPr/>
            <p:nvPr userDrawn="1"/>
          </p:nvSpPr>
          <p:spPr bwMode="auto">
            <a:xfrm>
              <a:off x="7296151" y="2411413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" name="íŝļïḑè">
              <a:extLst>
                <a:ext uri="{FF2B5EF4-FFF2-40B4-BE49-F238E27FC236}">
                  <a16:creationId xmlns:a16="http://schemas.microsoft.com/office/drawing/2014/main" xmlns="" id="{B6346D1A-B6FA-414E-AF2C-2EBCE0EDF4E9}"/>
                </a:ext>
              </a:extLst>
            </p:cNvPr>
            <p:cNvSpPr/>
            <p:nvPr userDrawn="1"/>
          </p:nvSpPr>
          <p:spPr bwMode="auto">
            <a:xfrm>
              <a:off x="7296151" y="2411413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" name="ïs1îde">
              <a:extLst>
                <a:ext uri="{FF2B5EF4-FFF2-40B4-BE49-F238E27FC236}">
                  <a16:creationId xmlns:a16="http://schemas.microsoft.com/office/drawing/2014/main" xmlns="" id="{57C27D90-DAE2-40D8-A138-879CE873AF64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1655763" cy="573088"/>
            </a:xfrm>
            <a:custGeom>
              <a:avLst/>
              <a:gdLst>
                <a:gd name="T0" fmla="*/ 0 w 1043"/>
                <a:gd name="T1" fmla="*/ 0 h 361"/>
                <a:gd name="T2" fmla="*/ 0 w 1043"/>
                <a:gd name="T3" fmla="*/ 8 h 361"/>
                <a:gd name="T4" fmla="*/ 613 w 1043"/>
                <a:gd name="T5" fmla="*/ 361 h 361"/>
                <a:gd name="T6" fmla="*/ 1043 w 1043"/>
                <a:gd name="T7" fmla="*/ 114 h 361"/>
                <a:gd name="T8" fmla="*/ 1043 w 1043"/>
                <a:gd name="T9" fmla="*/ 106 h 361"/>
                <a:gd name="T10" fmla="*/ 0 w 1043"/>
                <a:gd name="T11" fmla="*/ 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1">
                  <a:moveTo>
                    <a:pt x="0" y="0"/>
                  </a:moveTo>
                  <a:lnTo>
                    <a:pt x="0" y="8"/>
                  </a:lnTo>
                  <a:lnTo>
                    <a:pt x="613" y="361"/>
                  </a:lnTo>
                  <a:lnTo>
                    <a:pt x="1043" y="114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" name="íşḷïdê">
              <a:extLst>
                <a:ext uri="{FF2B5EF4-FFF2-40B4-BE49-F238E27FC236}">
                  <a16:creationId xmlns:a16="http://schemas.microsoft.com/office/drawing/2014/main" xmlns="" id="{A5FC4756-4A9E-4ACD-BF73-F22A8B13CB1F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1655763" cy="573088"/>
            </a:xfrm>
            <a:custGeom>
              <a:avLst/>
              <a:gdLst>
                <a:gd name="T0" fmla="*/ 0 w 1043"/>
                <a:gd name="T1" fmla="*/ 0 h 361"/>
                <a:gd name="T2" fmla="*/ 0 w 1043"/>
                <a:gd name="T3" fmla="*/ 8 h 361"/>
                <a:gd name="T4" fmla="*/ 613 w 1043"/>
                <a:gd name="T5" fmla="*/ 361 h 361"/>
                <a:gd name="T6" fmla="*/ 1043 w 1043"/>
                <a:gd name="T7" fmla="*/ 114 h 361"/>
                <a:gd name="T8" fmla="*/ 1043 w 1043"/>
                <a:gd name="T9" fmla="*/ 106 h 361"/>
                <a:gd name="T10" fmla="*/ 0 w 1043"/>
                <a:gd name="T11" fmla="*/ 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1">
                  <a:moveTo>
                    <a:pt x="0" y="0"/>
                  </a:moveTo>
                  <a:lnTo>
                    <a:pt x="0" y="8"/>
                  </a:lnTo>
                  <a:lnTo>
                    <a:pt x="613" y="361"/>
                  </a:lnTo>
                  <a:lnTo>
                    <a:pt x="1043" y="114"/>
                  </a:lnTo>
                  <a:lnTo>
                    <a:pt x="1043" y="10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" name="íŝḻîďê">
              <a:extLst>
                <a:ext uri="{FF2B5EF4-FFF2-40B4-BE49-F238E27FC236}">
                  <a16:creationId xmlns:a16="http://schemas.microsoft.com/office/drawing/2014/main" xmlns="" id="{674B864C-D737-482D-8D89-415D8F09A162}"/>
                </a:ext>
              </a:extLst>
            </p:cNvPr>
            <p:cNvSpPr/>
            <p:nvPr userDrawn="1"/>
          </p:nvSpPr>
          <p:spPr bwMode="auto">
            <a:xfrm>
              <a:off x="7296151" y="23955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" name="îS1îďé">
              <a:extLst>
                <a:ext uri="{FF2B5EF4-FFF2-40B4-BE49-F238E27FC236}">
                  <a16:creationId xmlns:a16="http://schemas.microsoft.com/office/drawing/2014/main" xmlns="" id="{B551634D-776D-40CE-B99F-A57798B8966F}"/>
                </a:ext>
              </a:extLst>
            </p:cNvPr>
            <p:cNvSpPr/>
            <p:nvPr userDrawn="1"/>
          </p:nvSpPr>
          <p:spPr bwMode="auto">
            <a:xfrm>
              <a:off x="7296151" y="23955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" name="iśḻîḍe">
              <a:extLst>
                <a:ext uri="{FF2B5EF4-FFF2-40B4-BE49-F238E27FC236}">
                  <a16:creationId xmlns:a16="http://schemas.microsoft.com/office/drawing/2014/main" xmlns="" id="{FBF8BEB1-F39B-4173-A1F5-2CBD3FED0D3C}"/>
                </a:ext>
              </a:extLst>
            </p:cNvPr>
            <p:cNvSpPr/>
            <p:nvPr userDrawn="1"/>
          </p:nvSpPr>
          <p:spPr bwMode="auto">
            <a:xfrm>
              <a:off x="7588251" y="2566988"/>
              <a:ext cx="1069975" cy="615950"/>
            </a:xfrm>
            <a:custGeom>
              <a:avLst/>
              <a:gdLst>
                <a:gd name="T0" fmla="*/ 0 w 674"/>
                <a:gd name="T1" fmla="*/ 141 h 388"/>
                <a:gd name="T2" fmla="*/ 246 w 674"/>
                <a:gd name="T3" fmla="*/ 0 h 388"/>
                <a:gd name="T4" fmla="*/ 674 w 674"/>
                <a:gd name="T5" fmla="*/ 247 h 388"/>
                <a:gd name="T6" fmla="*/ 429 w 674"/>
                <a:gd name="T7" fmla="*/ 388 h 388"/>
                <a:gd name="T8" fmla="*/ 0 w 674"/>
                <a:gd name="T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4" h="388">
                  <a:moveTo>
                    <a:pt x="0" y="141"/>
                  </a:moveTo>
                  <a:lnTo>
                    <a:pt x="246" y="0"/>
                  </a:lnTo>
                  <a:lnTo>
                    <a:pt x="674" y="247"/>
                  </a:lnTo>
                  <a:lnTo>
                    <a:pt x="429" y="388"/>
                  </a:lnTo>
                  <a:lnTo>
                    <a:pt x="0" y="141"/>
                  </a:ln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" name="îślíďê">
              <a:extLst>
                <a:ext uri="{FF2B5EF4-FFF2-40B4-BE49-F238E27FC236}">
                  <a16:creationId xmlns:a16="http://schemas.microsoft.com/office/drawing/2014/main" xmlns="" id="{DC7FE88C-E1B1-4015-924E-B12DC0A43B1A}"/>
                </a:ext>
              </a:extLst>
            </p:cNvPr>
            <p:cNvSpPr/>
            <p:nvPr userDrawn="1"/>
          </p:nvSpPr>
          <p:spPr bwMode="auto">
            <a:xfrm>
              <a:off x="7588251" y="2566988"/>
              <a:ext cx="1069975" cy="615950"/>
            </a:xfrm>
            <a:custGeom>
              <a:avLst/>
              <a:gdLst>
                <a:gd name="T0" fmla="*/ 0 w 674"/>
                <a:gd name="T1" fmla="*/ 141 h 388"/>
                <a:gd name="T2" fmla="*/ 246 w 674"/>
                <a:gd name="T3" fmla="*/ 0 h 388"/>
                <a:gd name="T4" fmla="*/ 674 w 674"/>
                <a:gd name="T5" fmla="*/ 247 h 388"/>
                <a:gd name="T6" fmla="*/ 429 w 674"/>
                <a:gd name="T7" fmla="*/ 388 h 388"/>
                <a:gd name="T8" fmla="*/ 0 w 674"/>
                <a:gd name="T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4" h="388">
                  <a:moveTo>
                    <a:pt x="0" y="141"/>
                  </a:moveTo>
                  <a:lnTo>
                    <a:pt x="246" y="0"/>
                  </a:lnTo>
                  <a:lnTo>
                    <a:pt x="674" y="247"/>
                  </a:lnTo>
                  <a:lnTo>
                    <a:pt x="429" y="388"/>
                  </a:lnTo>
                  <a:lnTo>
                    <a:pt x="0" y="14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" name="îşľîdé">
              <a:extLst>
                <a:ext uri="{FF2B5EF4-FFF2-40B4-BE49-F238E27FC236}">
                  <a16:creationId xmlns:a16="http://schemas.microsoft.com/office/drawing/2014/main" xmlns="" id="{5B3848EB-24F5-41BA-AF4E-CF871340FDFF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973138" cy="676275"/>
            </a:xfrm>
            <a:custGeom>
              <a:avLst/>
              <a:gdLst>
                <a:gd name="T0" fmla="*/ 613 w 613"/>
                <a:gd name="T1" fmla="*/ 353 h 426"/>
                <a:gd name="T2" fmla="*/ 613 w 613"/>
                <a:gd name="T3" fmla="*/ 426 h 426"/>
                <a:gd name="T4" fmla="*/ 0 w 613"/>
                <a:gd name="T5" fmla="*/ 73 h 426"/>
                <a:gd name="T6" fmla="*/ 0 w 613"/>
                <a:gd name="T7" fmla="*/ 0 h 426"/>
                <a:gd name="T8" fmla="*/ 613 w 613"/>
                <a:gd name="T9" fmla="*/ 353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3" h="426">
                  <a:moveTo>
                    <a:pt x="613" y="353"/>
                  </a:moveTo>
                  <a:lnTo>
                    <a:pt x="613" y="426"/>
                  </a:lnTo>
                  <a:lnTo>
                    <a:pt x="0" y="73"/>
                  </a:lnTo>
                  <a:lnTo>
                    <a:pt x="0" y="0"/>
                  </a:lnTo>
                  <a:lnTo>
                    <a:pt x="613" y="353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" name="išlîďé">
              <a:extLst>
                <a:ext uri="{FF2B5EF4-FFF2-40B4-BE49-F238E27FC236}">
                  <a16:creationId xmlns:a16="http://schemas.microsoft.com/office/drawing/2014/main" xmlns="" id="{255DC234-FAC6-4BCE-B308-119454EFFF17}"/>
                </a:ext>
              </a:extLst>
            </p:cNvPr>
            <p:cNvSpPr/>
            <p:nvPr userDrawn="1"/>
          </p:nvSpPr>
          <p:spPr bwMode="auto">
            <a:xfrm>
              <a:off x="4689476" y="4205288"/>
              <a:ext cx="841375" cy="504825"/>
            </a:xfrm>
            <a:custGeom>
              <a:avLst/>
              <a:gdLst>
                <a:gd name="T0" fmla="*/ 0 w 255"/>
                <a:gd name="T1" fmla="*/ 1 h 153"/>
                <a:gd name="T2" fmla="*/ 0 w 255"/>
                <a:gd name="T3" fmla="*/ 0 h 153"/>
                <a:gd name="T4" fmla="*/ 2 w 255"/>
                <a:gd name="T5" fmla="*/ 0 h 153"/>
                <a:gd name="T6" fmla="*/ 4 w 255"/>
                <a:gd name="T7" fmla="*/ 1 h 153"/>
                <a:gd name="T8" fmla="*/ 7 w 255"/>
                <a:gd name="T9" fmla="*/ 2 h 153"/>
                <a:gd name="T10" fmla="*/ 11 w 255"/>
                <a:gd name="T11" fmla="*/ 4 h 153"/>
                <a:gd name="T12" fmla="*/ 13 w 255"/>
                <a:gd name="T13" fmla="*/ 4 h 153"/>
                <a:gd name="T14" fmla="*/ 15 w 255"/>
                <a:gd name="T15" fmla="*/ 5 h 153"/>
                <a:gd name="T16" fmla="*/ 35 w 255"/>
                <a:gd name="T17" fmla="*/ 12 h 153"/>
                <a:gd name="T18" fmla="*/ 35 w 255"/>
                <a:gd name="T19" fmla="*/ 12 h 153"/>
                <a:gd name="T20" fmla="*/ 35 w 255"/>
                <a:gd name="T21" fmla="*/ 12 h 153"/>
                <a:gd name="T22" fmla="*/ 35 w 255"/>
                <a:gd name="T23" fmla="*/ 12 h 153"/>
                <a:gd name="T24" fmla="*/ 35 w 255"/>
                <a:gd name="T25" fmla="*/ 12 h 153"/>
                <a:gd name="T26" fmla="*/ 251 w 255"/>
                <a:gd name="T27" fmla="*/ 137 h 153"/>
                <a:gd name="T28" fmla="*/ 255 w 255"/>
                <a:gd name="T29" fmla="*/ 142 h 153"/>
                <a:gd name="T30" fmla="*/ 251 w 255"/>
                <a:gd name="T31" fmla="*/ 149 h 153"/>
                <a:gd name="T32" fmla="*/ 245 w 255"/>
                <a:gd name="T33" fmla="*/ 153 h 153"/>
                <a:gd name="T34" fmla="*/ 29 w 255"/>
                <a:gd name="T35" fmla="*/ 27 h 153"/>
                <a:gd name="T36" fmla="*/ 29 w 255"/>
                <a:gd name="T37" fmla="*/ 27 h 153"/>
                <a:gd name="T38" fmla="*/ 11 w 255"/>
                <a:gd name="T39" fmla="*/ 10 h 153"/>
                <a:gd name="T40" fmla="*/ 0 w 255"/>
                <a:gd name="T41" fmla="*/ 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5" h="153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3" y="1"/>
                    <a:pt x="4" y="1"/>
                  </a:cubicBezTo>
                  <a:cubicBezTo>
                    <a:pt x="5" y="1"/>
                    <a:pt x="6" y="2"/>
                    <a:pt x="7" y="2"/>
                  </a:cubicBezTo>
                  <a:cubicBezTo>
                    <a:pt x="9" y="3"/>
                    <a:pt x="10" y="3"/>
                    <a:pt x="11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6" y="5"/>
                    <a:pt x="33" y="11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251" y="137"/>
                    <a:pt x="251" y="137"/>
                    <a:pt x="251" y="137"/>
                  </a:cubicBezTo>
                  <a:cubicBezTo>
                    <a:pt x="255" y="142"/>
                    <a:pt x="255" y="142"/>
                    <a:pt x="255" y="142"/>
                  </a:cubicBezTo>
                  <a:cubicBezTo>
                    <a:pt x="251" y="149"/>
                    <a:pt x="251" y="149"/>
                    <a:pt x="251" y="149"/>
                  </a:cubicBezTo>
                  <a:cubicBezTo>
                    <a:pt x="245" y="153"/>
                    <a:pt x="245" y="153"/>
                    <a:pt x="245" y="153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3" y="22"/>
                    <a:pt x="17" y="15"/>
                    <a:pt x="11" y="10"/>
                  </a:cubicBezTo>
                  <a:cubicBezTo>
                    <a:pt x="7" y="7"/>
                    <a:pt x="3" y="4"/>
                    <a:pt x="0" y="1"/>
                  </a:cubicBezTo>
                  <a:close/>
                </a:path>
              </a:pathLst>
            </a:custGeom>
            <a:solidFill>
              <a:srgbClr val="647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5" name="ïšḷïḋé">
              <a:extLst>
                <a:ext uri="{FF2B5EF4-FFF2-40B4-BE49-F238E27FC236}">
                  <a16:creationId xmlns:a16="http://schemas.microsoft.com/office/drawing/2014/main" xmlns="" id="{989445EE-B1E1-4F47-BE74-16774B09302B}"/>
                </a:ext>
              </a:extLst>
            </p:cNvPr>
            <p:cNvSpPr/>
            <p:nvPr userDrawn="1"/>
          </p:nvSpPr>
          <p:spPr bwMode="auto">
            <a:xfrm>
              <a:off x="4699001" y="4192588"/>
              <a:ext cx="52388" cy="33338"/>
            </a:xfrm>
            <a:custGeom>
              <a:avLst/>
              <a:gdLst>
                <a:gd name="T0" fmla="*/ 1 w 16"/>
                <a:gd name="T1" fmla="*/ 0 h 10"/>
                <a:gd name="T2" fmla="*/ 2 w 16"/>
                <a:gd name="T3" fmla="*/ 1 h 10"/>
                <a:gd name="T4" fmla="*/ 4 w 16"/>
                <a:gd name="T5" fmla="*/ 1 h 10"/>
                <a:gd name="T6" fmla="*/ 8 w 16"/>
                <a:gd name="T7" fmla="*/ 3 h 10"/>
                <a:gd name="T8" fmla="*/ 12 w 16"/>
                <a:gd name="T9" fmla="*/ 4 h 10"/>
                <a:gd name="T10" fmla="*/ 14 w 16"/>
                <a:gd name="T11" fmla="*/ 5 h 10"/>
                <a:gd name="T12" fmla="*/ 16 w 16"/>
                <a:gd name="T13" fmla="*/ 5 h 10"/>
                <a:gd name="T14" fmla="*/ 11 w 16"/>
                <a:gd name="T15" fmla="*/ 10 h 10"/>
                <a:gd name="T16" fmla="*/ 0 w 16"/>
                <a:gd name="T17" fmla="*/ 1 h 10"/>
                <a:gd name="T18" fmla="*/ 1 w 16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0"/>
                  </a:moveTo>
                  <a:cubicBezTo>
                    <a:pt x="1" y="0"/>
                    <a:pt x="2" y="0"/>
                    <a:pt x="2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2"/>
                    <a:pt x="7" y="2"/>
                    <a:pt x="8" y="3"/>
                  </a:cubicBezTo>
                  <a:cubicBezTo>
                    <a:pt x="9" y="3"/>
                    <a:pt x="11" y="3"/>
                    <a:pt x="12" y="4"/>
                  </a:cubicBezTo>
                  <a:cubicBezTo>
                    <a:pt x="13" y="4"/>
                    <a:pt x="13" y="4"/>
                    <a:pt x="14" y="5"/>
                  </a:cubicBezTo>
                  <a:cubicBezTo>
                    <a:pt x="15" y="5"/>
                    <a:pt x="15" y="5"/>
                    <a:pt x="16" y="5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7"/>
                    <a:pt x="4" y="4"/>
                    <a:pt x="0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342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6" name="í$lîḍê">
              <a:extLst>
                <a:ext uri="{FF2B5EF4-FFF2-40B4-BE49-F238E27FC236}">
                  <a16:creationId xmlns:a16="http://schemas.microsoft.com/office/drawing/2014/main" xmlns="" id="{FF9E84D0-CD73-48A2-8569-CA70741B9888}"/>
                </a:ext>
              </a:extLst>
            </p:cNvPr>
            <p:cNvSpPr/>
            <p:nvPr userDrawn="1"/>
          </p:nvSpPr>
          <p:spPr bwMode="auto">
            <a:xfrm>
              <a:off x="4735513" y="4208463"/>
              <a:ext cx="82550" cy="76200"/>
            </a:xfrm>
            <a:custGeom>
              <a:avLst/>
              <a:gdLst>
                <a:gd name="T0" fmla="*/ 5 w 25"/>
                <a:gd name="T1" fmla="*/ 0 h 23"/>
                <a:gd name="T2" fmla="*/ 25 w 25"/>
                <a:gd name="T3" fmla="*/ 7 h 23"/>
                <a:gd name="T4" fmla="*/ 23 w 25"/>
                <a:gd name="T5" fmla="*/ 9 h 23"/>
                <a:gd name="T6" fmla="*/ 17 w 25"/>
                <a:gd name="T7" fmla="*/ 17 h 23"/>
                <a:gd name="T8" fmla="*/ 19 w 25"/>
                <a:gd name="T9" fmla="*/ 23 h 23"/>
                <a:gd name="T10" fmla="*/ 0 w 25"/>
                <a:gd name="T11" fmla="*/ 5 h 23"/>
                <a:gd name="T12" fmla="*/ 5 w 25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3">
                  <a:moveTo>
                    <a:pt x="5" y="0"/>
                  </a:moveTo>
                  <a:cubicBezTo>
                    <a:pt x="6" y="1"/>
                    <a:pt x="24" y="7"/>
                    <a:pt x="25" y="7"/>
                  </a:cubicBezTo>
                  <a:cubicBezTo>
                    <a:pt x="24" y="8"/>
                    <a:pt x="24" y="8"/>
                    <a:pt x="23" y="9"/>
                  </a:cubicBezTo>
                  <a:cubicBezTo>
                    <a:pt x="20" y="10"/>
                    <a:pt x="17" y="14"/>
                    <a:pt x="17" y="17"/>
                  </a:cubicBezTo>
                  <a:cubicBezTo>
                    <a:pt x="17" y="19"/>
                    <a:pt x="18" y="22"/>
                    <a:pt x="19" y="23"/>
                  </a:cubicBezTo>
                  <a:cubicBezTo>
                    <a:pt x="13" y="17"/>
                    <a:pt x="6" y="10"/>
                    <a:pt x="0" y="5"/>
                  </a:cubicBezTo>
                  <a:cubicBezTo>
                    <a:pt x="0" y="4"/>
                    <a:pt x="4" y="0"/>
                    <a:pt x="5" y="0"/>
                  </a:cubicBezTo>
                  <a:close/>
                </a:path>
              </a:pathLst>
            </a:custGeom>
            <a:solidFill>
              <a:srgbClr val="FFE2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7" name="işļîdé">
              <a:extLst>
                <a:ext uri="{FF2B5EF4-FFF2-40B4-BE49-F238E27FC236}">
                  <a16:creationId xmlns:a16="http://schemas.microsoft.com/office/drawing/2014/main" xmlns="" id="{76335568-83DA-4D3A-82F3-BD5B6F80E6C4}"/>
                </a:ext>
              </a:extLst>
            </p:cNvPr>
            <p:cNvSpPr/>
            <p:nvPr userDrawn="1"/>
          </p:nvSpPr>
          <p:spPr bwMode="auto">
            <a:xfrm>
              <a:off x="4791076" y="4232276"/>
              <a:ext cx="36513" cy="49213"/>
            </a:xfrm>
            <a:custGeom>
              <a:avLst/>
              <a:gdLst>
                <a:gd name="T0" fmla="*/ 0 w 11"/>
                <a:gd name="T1" fmla="*/ 10 h 15"/>
                <a:gd name="T2" fmla="*/ 5 w 11"/>
                <a:gd name="T3" fmla="*/ 14 h 15"/>
                <a:gd name="T4" fmla="*/ 11 w 11"/>
                <a:gd name="T5" fmla="*/ 4 h 15"/>
                <a:gd name="T6" fmla="*/ 6 w 11"/>
                <a:gd name="T7" fmla="*/ 1 h 15"/>
                <a:gd name="T8" fmla="*/ 0 w 11"/>
                <a:gd name="T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0" y="10"/>
                  </a:moveTo>
                  <a:cubicBezTo>
                    <a:pt x="0" y="14"/>
                    <a:pt x="2" y="15"/>
                    <a:pt x="5" y="14"/>
                  </a:cubicBezTo>
                  <a:cubicBezTo>
                    <a:pt x="8" y="12"/>
                    <a:pt x="11" y="8"/>
                    <a:pt x="11" y="4"/>
                  </a:cubicBezTo>
                  <a:cubicBezTo>
                    <a:pt x="11" y="1"/>
                    <a:pt x="9" y="0"/>
                    <a:pt x="6" y="1"/>
                  </a:cubicBezTo>
                  <a:cubicBezTo>
                    <a:pt x="3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8" name="îşḷïďe">
              <a:extLst>
                <a:ext uri="{FF2B5EF4-FFF2-40B4-BE49-F238E27FC236}">
                  <a16:creationId xmlns:a16="http://schemas.microsoft.com/office/drawing/2014/main" xmlns="" id="{95338FD5-EC3A-41E1-AF26-BDB7A29BCC7F}"/>
                </a:ext>
              </a:extLst>
            </p:cNvPr>
            <p:cNvSpPr/>
            <p:nvPr userDrawn="1"/>
          </p:nvSpPr>
          <p:spPr bwMode="auto">
            <a:xfrm>
              <a:off x="4787901" y="4268788"/>
              <a:ext cx="722313" cy="428625"/>
            </a:xfrm>
            <a:custGeom>
              <a:avLst/>
              <a:gdLst>
                <a:gd name="T0" fmla="*/ 449 w 455"/>
                <a:gd name="T1" fmla="*/ 261 h 270"/>
                <a:gd name="T2" fmla="*/ 0 w 455"/>
                <a:gd name="T3" fmla="*/ 0 h 270"/>
                <a:gd name="T4" fmla="*/ 6 w 455"/>
                <a:gd name="T5" fmla="*/ 10 h 270"/>
                <a:gd name="T6" fmla="*/ 455 w 455"/>
                <a:gd name="T7" fmla="*/ 270 h 270"/>
                <a:gd name="T8" fmla="*/ 449 w 455"/>
                <a:gd name="T9" fmla="*/ 261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0">
                  <a:moveTo>
                    <a:pt x="449" y="261"/>
                  </a:moveTo>
                  <a:lnTo>
                    <a:pt x="0" y="0"/>
                  </a:lnTo>
                  <a:lnTo>
                    <a:pt x="6" y="10"/>
                  </a:lnTo>
                  <a:lnTo>
                    <a:pt x="455" y="270"/>
                  </a:lnTo>
                  <a:lnTo>
                    <a:pt x="449" y="261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9" name="ísḻíḓe">
              <a:extLst>
                <a:ext uri="{FF2B5EF4-FFF2-40B4-BE49-F238E27FC236}">
                  <a16:creationId xmlns:a16="http://schemas.microsoft.com/office/drawing/2014/main" xmlns="" id="{B3D03EF8-5FB6-4936-B118-6981E3236D56}"/>
                </a:ext>
              </a:extLst>
            </p:cNvPr>
            <p:cNvSpPr/>
            <p:nvPr userDrawn="1"/>
          </p:nvSpPr>
          <p:spPr bwMode="auto">
            <a:xfrm>
              <a:off x="4787901" y="4241801"/>
              <a:ext cx="722313" cy="441325"/>
            </a:xfrm>
            <a:custGeom>
              <a:avLst/>
              <a:gdLst>
                <a:gd name="T0" fmla="*/ 455 w 455"/>
                <a:gd name="T1" fmla="*/ 262 h 278"/>
                <a:gd name="T2" fmla="*/ 6 w 455"/>
                <a:gd name="T3" fmla="*/ 0 h 278"/>
                <a:gd name="T4" fmla="*/ 0 w 455"/>
                <a:gd name="T5" fmla="*/ 17 h 278"/>
                <a:gd name="T6" fmla="*/ 449 w 455"/>
                <a:gd name="T7" fmla="*/ 278 h 278"/>
                <a:gd name="T8" fmla="*/ 455 w 455"/>
                <a:gd name="T9" fmla="*/ 26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8">
                  <a:moveTo>
                    <a:pt x="455" y="262"/>
                  </a:moveTo>
                  <a:lnTo>
                    <a:pt x="6" y="0"/>
                  </a:lnTo>
                  <a:lnTo>
                    <a:pt x="0" y="17"/>
                  </a:lnTo>
                  <a:lnTo>
                    <a:pt x="449" y="278"/>
                  </a:lnTo>
                  <a:lnTo>
                    <a:pt x="455" y="262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0" name="íṩľiḓé">
              <a:extLst>
                <a:ext uri="{FF2B5EF4-FFF2-40B4-BE49-F238E27FC236}">
                  <a16:creationId xmlns:a16="http://schemas.microsoft.com/office/drawing/2014/main" xmlns="" id="{DF116D4A-7EE2-44CE-90D6-FFD2297127D4}"/>
                </a:ext>
              </a:extLst>
            </p:cNvPr>
            <p:cNvSpPr/>
            <p:nvPr userDrawn="1"/>
          </p:nvSpPr>
          <p:spPr bwMode="auto">
            <a:xfrm>
              <a:off x="4797426" y="4232276"/>
              <a:ext cx="733425" cy="425450"/>
            </a:xfrm>
            <a:custGeom>
              <a:avLst/>
              <a:gdLst>
                <a:gd name="T0" fmla="*/ 462 w 462"/>
                <a:gd name="T1" fmla="*/ 261 h 268"/>
                <a:gd name="T2" fmla="*/ 13 w 462"/>
                <a:gd name="T3" fmla="*/ 0 h 268"/>
                <a:gd name="T4" fmla="*/ 0 w 462"/>
                <a:gd name="T5" fmla="*/ 6 h 268"/>
                <a:gd name="T6" fmla="*/ 449 w 462"/>
                <a:gd name="T7" fmla="*/ 268 h 268"/>
                <a:gd name="T8" fmla="*/ 462 w 462"/>
                <a:gd name="T9" fmla="*/ 261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2" h="268">
                  <a:moveTo>
                    <a:pt x="462" y="261"/>
                  </a:moveTo>
                  <a:lnTo>
                    <a:pt x="13" y="0"/>
                  </a:lnTo>
                  <a:lnTo>
                    <a:pt x="0" y="6"/>
                  </a:lnTo>
                  <a:lnTo>
                    <a:pt x="449" y="268"/>
                  </a:lnTo>
                  <a:lnTo>
                    <a:pt x="462" y="261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1" name="íş1îdé">
              <a:extLst>
                <a:ext uri="{FF2B5EF4-FFF2-40B4-BE49-F238E27FC236}">
                  <a16:creationId xmlns:a16="http://schemas.microsoft.com/office/drawing/2014/main" xmlns="" id="{02EE55AD-1B6E-47F0-B9B0-E73394F7164B}"/>
                </a:ext>
              </a:extLst>
            </p:cNvPr>
            <p:cNvSpPr/>
            <p:nvPr userDrawn="1"/>
          </p:nvSpPr>
          <p:spPr bwMode="auto">
            <a:xfrm>
              <a:off x="5500688" y="4646613"/>
              <a:ext cx="39688" cy="50800"/>
            </a:xfrm>
            <a:custGeom>
              <a:avLst/>
              <a:gdLst>
                <a:gd name="T0" fmla="*/ 6 w 25"/>
                <a:gd name="T1" fmla="*/ 7 h 32"/>
                <a:gd name="T2" fmla="*/ 0 w 25"/>
                <a:gd name="T3" fmla="*/ 23 h 32"/>
                <a:gd name="T4" fmla="*/ 6 w 25"/>
                <a:gd name="T5" fmla="*/ 32 h 32"/>
                <a:gd name="T6" fmla="*/ 19 w 25"/>
                <a:gd name="T7" fmla="*/ 25 h 32"/>
                <a:gd name="T8" fmla="*/ 25 w 25"/>
                <a:gd name="T9" fmla="*/ 9 h 32"/>
                <a:gd name="T10" fmla="*/ 19 w 25"/>
                <a:gd name="T11" fmla="*/ 0 h 32"/>
                <a:gd name="T12" fmla="*/ 6 w 25"/>
                <a:gd name="T13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2">
                  <a:moveTo>
                    <a:pt x="6" y="7"/>
                  </a:moveTo>
                  <a:lnTo>
                    <a:pt x="0" y="23"/>
                  </a:lnTo>
                  <a:lnTo>
                    <a:pt x="6" y="32"/>
                  </a:lnTo>
                  <a:lnTo>
                    <a:pt x="19" y="25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2" name="ïsľîḍe">
              <a:extLst>
                <a:ext uri="{FF2B5EF4-FFF2-40B4-BE49-F238E27FC236}">
                  <a16:creationId xmlns:a16="http://schemas.microsoft.com/office/drawing/2014/main" xmlns="" id="{9E3CB9D4-26E1-4087-B666-1AFE02C69385}"/>
                </a:ext>
              </a:extLst>
            </p:cNvPr>
            <p:cNvSpPr/>
            <p:nvPr userDrawn="1"/>
          </p:nvSpPr>
          <p:spPr bwMode="auto">
            <a:xfrm>
              <a:off x="3236913" y="4429126"/>
              <a:ext cx="1979613" cy="798513"/>
            </a:xfrm>
            <a:custGeom>
              <a:avLst/>
              <a:gdLst>
                <a:gd name="T0" fmla="*/ 372 w 600"/>
                <a:gd name="T1" fmla="*/ 219 h 242"/>
                <a:gd name="T2" fmla="*/ 488 w 600"/>
                <a:gd name="T3" fmla="*/ 161 h 242"/>
                <a:gd name="T4" fmla="*/ 465 w 600"/>
                <a:gd name="T5" fmla="*/ 148 h 242"/>
                <a:gd name="T6" fmla="*/ 364 w 600"/>
                <a:gd name="T7" fmla="*/ 214 h 242"/>
                <a:gd name="T8" fmla="*/ 465 w 600"/>
                <a:gd name="T9" fmla="*/ 148 h 242"/>
                <a:gd name="T10" fmla="*/ 339 w 600"/>
                <a:gd name="T11" fmla="*/ 199 h 242"/>
                <a:gd name="T12" fmla="*/ 454 w 600"/>
                <a:gd name="T13" fmla="*/ 141 h 242"/>
                <a:gd name="T14" fmla="*/ 429 w 600"/>
                <a:gd name="T15" fmla="*/ 127 h 242"/>
                <a:gd name="T16" fmla="*/ 328 w 600"/>
                <a:gd name="T17" fmla="*/ 193 h 242"/>
                <a:gd name="T18" fmla="*/ 429 w 600"/>
                <a:gd name="T19" fmla="*/ 127 h 242"/>
                <a:gd name="T20" fmla="*/ 477 w 600"/>
                <a:gd name="T21" fmla="*/ 135 h 242"/>
                <a:gd name="T22" fmla="*/ 528 w 600"/>
                <a:gd name="T23" fmla="*/ 140 h 242"/>
                <a:gd name="T24" fmla="*/ 495 w 600"/>
                <a:gd name="T25" fmla="*/ 93 h 242"/>
                <a:gd name="T26" fmla="*/ 530 w 600"/>
                <a:gd name="T27" fmla="*/ 138 h 242"/>
                <a:gd name="T28" fmla="*/ 495 w 600"/>
                <a:gd name="T29" fmla="*/ 93 h 242"/>
                <a:gd name="T30" fmla="*/ 516 w 600"/>
                <a:gd name="T31" fmla="*/ 102 h 242"/>
                <a:gd name="T32" fmla="*/ 576 w 600"/>
                <a:gd name="T33" fmla="*/ 112 h 242"/>
                <a:gd name="T34" fmla="*/ 216 w 600"/>
                <a:gd name="T35" fmla="*/ 72 h 242"/>
                <a:gd name="T36" fmla="*/ 169 w 600"/>
                <a:gd name="T37" fmla="*/ 98 h 242"/>
                <a:gd name="T38" fmla="*/ 216 w 600"/>
                <a:gd name="T39" fmla="*/ 126 h 242"/>
                <a:gd name="T40" fmla="*/ 216 w 600"/>
                <a:gd name="T41" fmla="*/ 126 h 242"/>
                <a:gd name="T42" fmla="*/ 262 w 600"/>
                <a:gd name="T43" fmla="*/ 99 h 242"/>
                <a:gd name="T44" fmla="*/ 216 w 600"/>
                <a:gd name="T45" fmla="*/ 72 h 242"/>
                <a:gd name="T46" fmla="*/ 503 w 600"/>
                <a:gd name="T47" fmla="*/ 67 h 242"/>
                <a:gd name="T48" fmla="*/ 600 w 600"/>
                <a:gd name="T49" fmla="*/ 98 h 242"/>
                <a:gd name="T50" fmla="*/ 503 w 600"/>
                <a:gd name="T51" fmla="*/ 67 h 242"/>
                <a:gd name="T52" fmla="*/ 278 w 600"/>
                <a:gd name="T53" fmla="*/ 178 h 242"/>
                <a:gd name="T54" fmla="*/ 491 w 600"/>
                <a:gd name="T55" fmla="*/ 63 h 242"/>
                <a:gd name="T56" fmla="*/ 451 w 600"/>
                <a:gd name="T57" fmla="*/ 53 h 242"/>
                <a:gd name="T58" fmla="*/ 264 w 600"/>
                <a:gd name="T59" fmla="*/ 170 h 242"/>
                <a:gd name="T60" fmla="*/ 451 w 600"/>
                <a:gd name="T61" fmla="*/ 53 h 242"/>
                <a:gd name="T62" fmla="*/ 0 w 600"/>
                <a:gd name="T63" fmla="*/ 50 h 242"/>
                <a:gd name="T64" fmla="*/ 351 w 600"/>
                <a:gd name="T65" fmla="*/ 242 h 242"/>
                <a:gd name="T66" fmla="*/ 419 w 600"/>
                <a:gd name="T67" fmla="*/ 45 h 242"/>
                <a:gd name="T68" fmla="*/ 241 w 600"/>
                <a:gd name="T69" fmla="*/ 156 h 242"/>
                <a:gd name="T70" fmla="*/ 419 w 600"/>
                <a:gd name="T71" fmla="*/ 45 h 242"/>
                <a:gd name="T72" fmla="*/ 43 w 600"/>
                <a:gd name="T73" fmla="*/ 41 h 242"/>
                <a:gd name="T74" fmla="*/ 82 w 600"/>
                <a:gd name="T75" fmla="*/ 33 h 242"/>
                <a:gd name="T76" fmla="*/ 261 w 600"/>
                <a:gd name="T77" fmla="*/ 35 h 242"/>
                <a:gd name="T78" fmla="*/ 260 w 600"/>
                <a:gd name="T79" fmla="*/ 73 h 242"/>
                <a:gd name="T80" fmla="*/ 293 w 600"/>
                <a:gd name="T81" fmla="*/ 81 h 242"/>
                <a:gd name="T82" fmla="*/ 326 w 600"/>
                <a:gd name="T83" fmla="*/ 73 h 242"/>
                <a:gd name="T84" fmla="*/ 327 w 600"/>
                <a:gd name="T85" fmla="*/ 35 h 242"/>
                <a:gd name="T86" fmla="*/ 329 w 600"/>
                <a:gd name="T87" fmla="*/ 21 h 242"/>
                <a:gd name="T88" fmla="*/ 371 w 600"/>
                <a:gd name="T89" fmla="*/ 36 h 242"/>
                <a:gd name="T90" fmla="*/ 371 w 600"/>
                <a:gd name="T91" fmla="*/ 36 h 242"/>
                <a:gd name="T92" fmla="*/ 329 w 600"/>
                <a:gd name="T93" fmla="*/ 21 h 242"/>
                <a:gd name="T94" fmla="*/ 124 w 600"/>
                <a:gd name="T95" fmla="*/ 25 h 242"/>
                <a:gd name="T96" fmla="*/ 77 w 600"/>
                <a:gd name="T97" fmla="*/ 61 h 242"/>
                <a:gd name="T98" fmla="*/ 198 w 600"/>
                <a:gd name="T99" fmla="*/ 10 h 242"/>
                <a:gd name="T100" fmla="*/ 86 w 600"/>
                <a:gd name="T101" fmla="*/ 66 h 242"/>
                <a:gd name="T102" fmla="*/ 198 w 600"/>
                <a:gd name="T103" fmla="*/ 10 h 242"/>
                <a:gd name="T104" fmla="*/ 118 w 600"/>
                <a:gd name="T105" fmla="*/ 85 h 242"/>
                <a:gd name="T106" fmla="*/ 271 w 600"/>
                <a:gd name="T107" fmla="*/ 6 h 242"/>
                <a:gd name="T108" fmla="*/ 248 w 600"/>
                <a:gd name="T109" fmla="*/ 0 h 242"/>
                <a:gd name="T110" fmla="*/ 102 w 600"/>
                <a:gd name="T111" fmla="*/ 76 h 242"/>
                <a:gd name="T112" fmla="*/ 248 w 600"/>
                <a:gd name="T11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0" h="242">
                  <a:moveTo>
                    <a:pt x="480" y="156"/>
                  </a:moveTo>
                  <a:cubicBezTo>
                    <a:pt x="372" y="219"/>
                    <a:pt x="372" y="219"/>
                    <a:pt x="372" y="219"/>
                  </a:cubicBezTo>
                  <a:cubicBezTo>
                    <a:pt x="380" y="223"/>
                    <a:pt x="380" y="223"/>
                    <a:pt x="380" y="223"/>
                  </a:cubicBezTo>
                  <a:cubicBezTo>
                    <a:pt x="488" y="161"/>
                    <a:pt x="488" y="161"/>
                    <a:pt x="488" y="161"/>
                  </a:cubicBezTo>
                  <a:cubicBezTo>
                    <a:pt x="480" y="156"/>
                    <a:pt x="480" y="156"/>
                    <a:pt x="480" y="156"/>
                  </a:cubicBezTo>
                  <a:moveTo>
                    <a:pt x="465" y="148"/>
                  </a:moveTo>
                  <a:cubicBezTo>
                    <a:pt x="357" y="210"/>
                    <a:pt x="357" y="210"/>
                    <a:pt x="357" y="210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472" y="152"/>
                    <a:pt x="472" y="152"/>
                    <a:pt x="472" y="152"/>
                  </a:cubicBezTo>
                  <a:cubicBezTo>
                    <a:pt x="465" y="148"/>
                    <a:pt x="465" y="148"/>
                    <a:pt x="465" y="148"/>
                  </a:cubicBezTo>
                  <a:moveTo>
                    <a:pt x="447" y="137"/>
                  </a:moveTo>
                  <a:cubicBezTo>
                    <a:pt x="339" y="199"/>
                    <a:pt x="339" y="199"/>
                    <a:pt x="339" y="199"/>
                  </a:cubicBezTo>
                  <a:cubicBezTo>
                    <a:pt x="346" y="204"/>
                    <a:pt x="346" y="204"/>
                    <a:pt x="346" y="204"/>
                  </a:cubicBezTo>
                  <a:cubicBezTo>
                    <a:pt x="454" y="141"/>
                    <a:pt x="454" y="141"/>
                    <a:pt x="454" y="141"/>
                  </a:cubicBezTo>
                  <a:cubicBezTo>
                    <a:pt x="447" y="137"/>
                    <a:pt x="447" y="137"/>
                    <a:pt x="447" y="137"/>
                  </a:cubicBezTo>
                  <a:moveTo>
                    <a:pt x="429" y="127"/>
                  </a:moveTo>
                  <a:cubicBezTo>
                    <a:pt x="321" y="189"/>
                    <a:pt x="321" y="189"/>
                    <a:pt x="321" y="189"/>
                  </a:cubicBezTo>
                  <a:cubicBezTo>
                    <a:pt x="328" y="193"/>
                    <a:pt x="328" y="193"/>
                    <a:pt x="328" y="193"/>
                  </a:cubicBezTo>
                  <a:cubicBezTo>
                    <a:pt x="436" y="131"/>
                    <a:pt x="436" y="131"/>
                    <a:pt x="436" y="131"/>
                  </a:cubicBezTo>
                  <a:cubicBezTo>
                    <a:pt x="429" y="127"/>
                    <a:pt x="429" y="127"/>
                    <a:pt x="429" y="127"/>
                  </a:cubicBezTo>
                  <a:moveTo>
                    <a:pt x="499" y="123"/>
                  </a:moveTo>
                  <a:cubicBezTo>
                    <a:pt x="477" y="135"/>
                    <a:pt x="477" y="135"/>
                    <a:pt x="477" y="135"/>
                  </a:cubicBezTo>
                  <a:cubicBezTo>
                    <a:pt x="506" y="152"/>
                    <a:pt x="506" y="152"/>
                    <a:pt x="506" y="152"/>
                  </a:cubicBezTo>
                  <a:cubicBezTo>
                    <a:pt x="528" y="140"/>
                    <a:pt x="528" y="140"/>
                    <a:pt x="528" y="140"/>
                  </a:cubicBezTo>
                  <a:cubicBezTo>
                    <a:pt x="499" y="123"/>
                    <a:pt x="499" y="123"/>
                    <a:pt x="499" y="123"/>
                  </a:cubicBezTo>
                  <a:moveTo>
                    <a:pt x="495" y="93"/>
                  </a:moveTo>
                  <a:cubicBezTo>
                    <a:pt x="473" y="105"/>
                    <a:pt x="473" y="105"/>
                    <a:pt x="473" y="105"/>
                  </a:cubicBezTo>
                  <a:cubicBezTo>
                    <a:pt x="530" y="138"/>
                    <a:pt x="530" y="138"/>
                    <a:pt x="530" y="138"/>
                  </a:cubicBezTo>
                  <a:cubicBezTo>
                    <a:pt x="552" y="126"/>
                    <a:pt x="552" y="126"/>
                    <a:pt x="552" y="126"/>
                  </a:cubicBezTo>
                  <a:cubicBezTo>
                    <a:pt x="495" y="93"/>
                    <a:pt x="495" y="93"/>
                    <a:pt x="495" y="93"/>
                  </a:cubicBezTo>
                  <a:moveTo>
                    <a:pt x="537" y="90"/>
                  </a:moveTo>
                  <a:cubicBezTo>
                    <a:pt x="516" y="102"/>
                    <a:pt x="516" y="102"/>
                    <a:pt x="516" y="102"/>
                  </a:cubicBezTo>
                  <a:cubicBezTo>
                    <a:pt x="554" y="125"/>
                    <a:pt x="554" y="125"/>
                    <a:pt x="554" y="125"/>
                  </a:cubicBezTo>
                  <a:cubicBezTo>
                    <a:pt x="576" y="112"/>
                    <a:pt x="576" y="112"/>
                    <a:pt x="576" y="112"/>
                  </a:cubicBezTo>
                  <a:cubicBezTo>
                    <a:pt x="537" y="90"/>
                    <a:pt x="537" y="90"/>
                    <a:pt x="537" y="90"/>
                  </a:cubicBezTo>
                  <a:moveTo>
                    <a:pt x="216" y="72"/>
                  </a:moveTo>
                  <a:cubicBezTo>
                    <a:pt x="204" y="72"/>
                    <a:pt x="192" y="74"/>
                    <a:pt x="183" y="79"/>
                  </a:cubicBezTo>
                  <a:cubicBezTo>
                    <a:pt x="174" y="84"/>
                    <a:pt x="170" y="91"/>
                    <a:pt x="169" y="98"/>
                  </a:cubicBezTo>
                  <a:cubicBezTo>
                    <a:pt x="169" y="105"/>
                    <a:pt x="174" y="112"/>
                    <a:pt x="183" y="118"/>
                  </a:cubicBezTo>
                  <a:cubicBezTo>
                    <a:pt x="191" y="123"/>
                    <a:pt x="203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28" y="126"/>
                    <a:pt x="240" y="123"/>
                    <a:pt x="249" y="118"/>
                  </a:cubicBezTo>
                  <a:cubicBezTo>
                    <a:pt x="258" y="113"/>
                    <a:pt x="262" y="106"/>
                    <a:pt x="262" y="99"/>
                  </a:cubicBezTo>
                  <a:cubicBezTo>
                    <a:pt x="263" y="91"/>
                    <a:pt x="258" y="85"/>
                    <a:pt x="249" y="79"/>
                  </a:cubicBezTo>
                  <a:cubicBezTo>
                    <a:pt x="240" y="74"/>
                    <a:pt x="228" y="72"/>
                    <a:pt x="216" y="72"/>
                  </a:cubicBezTo>
                  <a:moveTo>
                    <a:pt x="503" y="67"/>
                  </a:moveTo>
                  <a:cubicBezTo>
                    <a:pt x="503" y="67"/>
                    <a:pt x="503" y="67"/>
                    <a:pt x="503" y="67"/>
                  </a:cubicBezTo>
                  <a:cubicBezTo>
                    <a:pt x="578" y="111"/>
                    <a:pt x="578" y="111"/>
                    <a:pt x="578" y="111"/>
                  </a:cubicBezTo>
                  <a:cubicBezTo>
                    <a:pt x="600" y="98"/>
                    <a:pt x="600" y="98"/>
                    <a:pt x="600" y="98"/>
                  </a:cubicBezTo>
                  <a:cubicBezTo>
                    <a:pt x="579" y="87"/>
                    <a:pt x="579" y="87"/>
                    <a:pt x="579" y="87"/>
                  </a:cubicBezTo>
                  <a:cubicBezTo>
                    <a:pt x="503" y="67"/>
                    <a:pt x="503" y="67"/>
                    <a:pt x="503" y="67"/>
                  </a:cubicBezTo>
                  <a:moveTo>
                    <a:pt x="481" y="61"/>
                  </a:moveTo>
                  <a:cubicBezTo>
                    <a:pt x="278" y="178"/>
                    <a:pt x="278" y="178"/>
                    <a:pt x="278" y="178"/>
                  </a:cubicBezTo>
                  <a:cubicBezTo>
                    <a:pt x="285" y="182"/>
                    <a:pt x="285" y="182"/>
                    <a:pt x="285" y="182"/>
                  </a:cubicBezTo>
                  <a:cubicBezTo>
                    <a:pt x="491" y="63"/>
                    <a:pt x="491" y="63"/>
                    <a:pt x="491" y="63"/>
                  </a:cubicBezTo>
                  <a:cubicBezTo>
                    <a:pt x="481" y="61"/>
                    <a:pt x="481" y="61"/>
                    <a:pt x="481" y="61"/>
                  </a:cubicBezTo>
                  <a:moveTo>
                    <a:pt x="451" y="53"/>
                  </a:moveTo>
                  <a:cubicBezTo>
                    <a:pt x="256" y="165"/>
                    <a:pt x="256" y="165"/>
                    <a:pt x="256" y="165"/>
                  </a:cubicBezTo>
                  <a:cubicBezTo>
                    <a:pt x="264" y="170"/>
                    <a:pt x="264" y="170"/>
                    <a:pt x="264" y="170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51" y="53"/>
                    <a:pt x="451" y="53"/>
                    <a:pt x="451" y="53"/>
                  </a:cubicBezTo>
                  <a:moveTo>
                    <a:pt x="15" y="47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49" y="242"/>
                    <a:pt x="349" y="242"/>
                    <a:pt x="349" y="242"/>
                  </a:cubicBezTo>
                  <a:cubicBezTo>
                    <a:pt x="350" y="242"/>
                    <a:pt x="350" y="242"/>
                    <a:pt x="351" y="242"/>
                  </a:cubicBezTo>
                  <a:cubicBezTo>
                    <a:pt x="15" y="47"/>
                    <a:pt x="15" y="47"/>
                    <a:pt x="15" y="47"/>
                  </a:cubicBezTo>
                  <a:moveTo>
                    <a:pt x="419" y="45"/>
                  </a:moveTo>
                  <a:cubicBezTo>
                    <a:pt x="233" y="152"/>
                    <a:pt x="233" y="152"/>
                    <a:pt x="233" y="152"/>
                  </a:cubicBezTo>
                  <a:cubicBezTo>
                    <a:pt x="241" y="156"/>
                    <a:pt x="241" y="156"/>
                    <a:pt x="241" y="156"/>
                  </a:cubicBezTo>
                  <a:cubicBezTo>
                    <a:pt x="430" y="47"/>
                    <a:pt x="430" y="47"/>
                    <a:pt x="430" y="47"/>
                  </a:cubicBezTo>
                  <a:cubicBezTo>
                    <a:pt x="419" y="45"/>
                    <a:pt x="419" y="45"/>
                    <a:pt x="419" y="45"/>
                  </a:cubicBezTo>
                  <a:moveTo>
                    <a:pt x="82" y="33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82" y="33"/>
                    <a:pt x="82" y="33"/>
                    <a:pt x="82" y="33"/>
                  </a:cubicBezTo>
                  <a:moveTo>
                    <a:pt x="294" y="27"/>
                  </a:moveTo>
                  <a:cubicBezTo>
                    <a:pt x="281" y="27"/>
                    <a:pt x="269" y="29"/>
                    <a:pt x="261" y="35"/>
                  </a:cubicBezTo>
                  <a:cubicBezTo>
                    <a:pt x="252" y="40"/>
                    <a:pt x="247" y="46"/>
                    <a:pt x="247" y="53"/>
                  </a:cubicBezTo>
                  <a:cubicBezTo>
                    <a:pt x="246" y="60"/>
                    <a:pt x="251" y="68"/>
                    <a:pt x="260" y="73"/>
                  </a:cubicBezTo>
                  <a:cubicBezTo>
                    <a:pt x="269" y="78"/>
                    <a:pt x="281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306" y="81"/>
                    <a:pt x="318" y="78"/>
                    <a:pt x="326" y="73"/>
                  </a:cubicBezTo>
                  <a:cubicBezTo>
                    <a:pt x="335" y="68"/>
                    <a:pt x="340" y="61"/>
                    <a:pt x="340" y="54"/>
                  </a:cubicBezTo>
                  <a:cubicBezTo>
                    <a:pt x="340" y="46"/>
                    <a:pt x="335" y="40"/>
                    <a:pt x="327" y="35"/>
                  </a:cubicBezTo>
                  <a:cubicBezTo>
                    <a:pt x="318" y="29"/>
                    <a:pt x="306" y="27"/>
                    <a:pt x="294" y="27"/>
                  </a:cubicBezTo>
                  <a:moveTo>
                    <a:pt x="329" y="21"/>
                  </a:moveTo>
                  <a:cubicBezTo>
                    <a:pt x="332" y="24"/>
                    <a:pt x="335" y="26"/>
                    <a:pt x="338" y="28"/>
                  </a:cubicBezTo>
                  <a:cubicBezTo>
                    <a:pt x="347" y="33"/>
                    <a:pt x="358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5" y="36"/>
                    <a:pt x="379" y="36"/>
                    <a:pt x="383" y="35"/>
                  </a:cubicBezTo>
                  <a:cubicBezTo>
                    <a:pt x="329" y="21"/>
                    <a:pt x="329" y="21"/>
                    <a:pt x="329" y="21"/>
                  </a:cubicBezTo>
                  <a:moveTo>
                    <a:pt x="147" y="20"/>
                  </a:moveTo>
                  <a:cubicBezTo>
                    <a:pt x="124" y="25"/>
                    <a:pt x="124" y="25"/>
                    <a:pt x="124" y="25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147" y="20"/>
                    <a:pt x="147" y="20"/>
                    <a:pt x="147" y="20"/>
                  </a:cubicBezTo>
                  <a:moveTo>
                    <a:pt x="198" y="10"/>
                  </a:moveTo>
                  <a:cubicBezTo>
                    <a:pt x="174" y="15"/>
                    <a:pt x="174" y="15"/>
                    <a:pt x="174" y="15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198" y="10"/>
                    <a:pt x="198" y="10"/>
                    <a:pt x="198" y="10"/>
                  </a:cubicBezTo>
                  <a:moveTo>
                    <a:pt x="260" y="3"/>
                  </a:moveTo>
                  <a:cubicBezTo>
                    <a:pt x="118" y="85"/>
                    <a:pt x="118" y="85"/>
                    <a:pt x="118" y="85"/>
                  </a:cubicBezTo>
                  <a:cubicBezTo>
                    <a:pt x="126" y="90"/>
                    <a:pt x="126" y="90"/>
                    <a:pt x="126" y="90"/>
                  </a:cubicBezTo>
                  <a:cubicBezTo>
                    <a:pt x="271" y="6"/>
                    <a:pt x="271" y="6"/>
                    <a:pt x="271" y="6"/>
                  </a:cubicBezTo>
                  <a:cubicBezTo>
                    <a:pt x="260" y="3"/>
                    <a:pt x="260" y="3"/>
                    <a:pt x="260" y="3"/>
                  </a:cubicBezTo>
                  <a:moveTo>
                    <a:pt x="248" y="0"/>
                  </a:moveTo>
                  <a:cubicBezTo>
                    <a:pt x="225" y="5"/>
                    <a:pt x="225" y="5"/>
                    <a:pt x="225" y="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248" y="0"/>
                    <a:pt x="248" y="0"/>
                    <a:pt x="248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3" name="iṩḷídê">
              <a:extLst>
                <a:ext uri="{FF2B5EF4-FFF2-40B4-BE49-F238E27FC236}">
                  <a16:creationId xmlns:a16="http://schemas.microsoft.com/office/drawing/2014/main" xmlns="" id="{81C9AF59-9042-44B1-B0D3-C4C80E0FE2B9}"/>
                </a:ext>
              </a:extLst>
            </p:cNvPr>
            <p:cNvSpPr/>
            <p:nvPr userDrawn="1"/>
          </p:nvSpPr>
          <p:spPr bwMode="auto">
            <a:xfrm>
              <a:off x="4438651" y="4419601"/>
              <a:ext cx="58738" cy="36513"/>
            </a:xfrm>
            <a:custGeom>
              <a:avLst/>
              <a:gdLst>
                <a:gd name="T0" fmla="*/ 3 w 18"/>
                <a:gd name="T1" fmla="*/ 2 h 11"/>
                <a:gd name="T2" fmla="*/ 14 w 18"/>
                <a:gd name="T3" fmla="*/ 2 h 11"/>
                <a:gd name="T4" fmla="*/ 14 w 18"/>
                <a:gd name="T5" fmla="*/ 9 h 11"/>
                <a:gd name="T6" fmla="*/ 3 w 18"/>
                <a:gd name="T7" fmla="*/ 9 h 11"/>
                <a:gd name="T8" fmla="*/ 3 w 18"/>
                <a:gd name="T9" fmla="*/ 2 h 11"/>
                <a:gd name="T10" fmla="*/ 11 w 18"/>
                <a:gd name="T11" fmla="*/ 4 h 11"/>
                <a:gd name="T12" fmla="*/ 6 w 18"/>
                <a:gd name="T13" fmla="*/ 4 h 11"/>
                <a:gd name="T14" fmla="*/ 6 w 18"/>
                <a:gd name="T15" fmla="*/ 7 h 11"/>
                <a:gd name="T16" fmla="*/ 12 w 18"/>
                <a:gd name="T17" fmla="*/ 7 h 11"/>
                <a:gd name="T18" fmla="*/ 11 w 18"/>
                <a:gd name="T1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1">
                  <a:moveTo>
                    <a:pt x="3" y="2"/>
                  </a:moveTo>
                  <a:cubicBezTo>
                    <a:pt x="6" y="0"/>
                    <a:pt x="11" y="1"/>
                    <a:pt x="14" y="2"/>
                  </a:cubicBezTo>
                  <a:cubicBezTo>
                    <a:pt x="17" y="4"/>
                    <a:pt x="18" y="7"/>
                    <a:pt x="14" y="9"/>
                  </a:cubicBezTo>
                  <a:cubicBezTo>
                    <a:pt x="11" y="11"/>
                    <a:pt x="6" y="11"/>
                    <a:pt x="3" y="9"/>
                  </a:cubicBezTo>
                  <a:cubicBezTo>
                    <a:pt x="0" y="7"/>
                    <a:pt x="0" y="4"/>
                    <a:pt x="3" y="2"/>
                  </a:cubicBezTo>
                  <a:close/>
                  <a:moveTo>
                    <a:pt x="11" y="4"/>
                  </a:moveTo>
                  <a:cubicBezTo>
                    <a:pt x="9" y="3"/>
                    <a:pt x="7" y="3"/>
                    <a:pt x="6" y="4"/>
                  </a:cubicBezTo>
                  <a:cubicBezTo>
                    <a:pt x="5" y="5"/>
                    <a:pt x="5" y="6"/>
                    <a:pt x="6" y="7"/>
                  </a:cubicBezTo>
                  <a:cubicBezTo>
                    <a:pt x="8" y="8"/>
                    <a:pt x="10" y="8"/>
                    <a:pt x="12" y="7"/>
                  </a:cubicBezTo>
                  <a:cubicBezTo>
                    <a:pt x="13" y="6"/>
                    <a:pt x="13" y="5"/>
                    <a:pt x="11" y="4"/>
                  </a:cubicBezTo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4" name="ïṧḻîḋe">
              <a:extLst>
                <a:ext uri="{FF2B5EF4-FFF2-40B4-BE49-F238E27FC236}">
                  <a16:creationId xmlns:a16="http://schemas.microsoft.com/office/drawing/2014/main" xmlns="" id="{46868FA8-AF16-41DC-AA7B-5287479354D6}"/>
                </a:ext>
              </a:extLst>
            </p:cNvPr>
            <p:cNvSpPr/>
            <p:nvPr userDrawn="1"/>
          </p:nvSpPr>
          <p:spPr bwMode="auto">
            <a:xfrm>
              <a:off x="4454526" y="4429126"/>
              <a:ext cx="26988" cy="17463"/>
            </a:xfrm>
            <a:custGeom>
              <a:avLst/>
              <a:gdLst>
                <a:gd name="T0" fmla="*/ 1 w 8"/>
                <a:gd name="T1" fmla="*/ 4 h 5"/>
                <a:gd name="T2" fmla="*/ 7 w 8"/>
                <a:gd name="T3" fmla="*/ 4 h 5"/>
                <a:gd name="T4" fmla="*/ 6 w 8"/>
                <a:gd name="T5" fmla="*/ 1 h 5"/>
                <a:gd name="T6" fmla="*/ 1 w 8"/>
                <a:gd name="T7" fmla="*/ 1 h 5"/>
                <a:gd name="T8" fmla="*/ 1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1" y="4"/>
                  </a:moveTo>
                  <a:cubicBezTo>
                    <a:pt x="3" y="5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5" name="îšļiḋe">
              <a:extLst>
                <a:ext uri="{FF2B5EF4-FFF2-40B4-BE49-F238E27FC236}">
                  <a16:creationId xmlns:a16="http://schemas.microsoft.com/office/drawing/2014/main" xmlns="" id="{90F4EF85-11FD-4613-BA2E-2E5B73A7B38D}"/>
                </a:ext>
              </a:extLst>
            </p:cNvPr>
            <p:cNvSpPr/>
            <p:nvPr userDrawn="1"/>
          </p:nvSpPr>
          <p:spPr bwMode="auto">
            <a:xfrm>
              <a:off x="4395788" y="4452938"/>
              <a:ext cx="134938" cy="19050"/>
            </a:xfrm>
            <a:custGeom>
              <a:avLst/>
              <a:gdLst>
                <a:gd name="T0" fmla="*/ 8 w 85"/>
                <a:gd name="T1" fmla="*/ 0 h 12"/>
                <a:gd name="T2" fmla="*/ 0 w 85"/>
                <a:gd name="T3" fmla="*/ 4 h 12"/>
                <a:gd name="T4" fmla="*/ 76 w 85"/>
                <a:gd name="T5" fmla="*/ 12 h 12"/>
                <a:gd name="T6" fmla="*/ 85 w 85"/>
                <a:gd name="T7" fmla="*/ 8 h 12"/>
                <a:gd name="T8" fmla="*/ 8 w 8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2">
                  <a:moveTo>
                    <a:pt x="8" y="0"/>
                  </a:moveTo>
                  <a:lnTo>
                    <a:pt x="0" y="4"/>
                  </a:lnTo>
                  <a:lnTo>
                    <a:pt x="76" y="12"/>
                  </a:lnTo>
                  <a:lnTo>
                    <a:pt x="85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6" name="íşlïḋe">
              <a:extLst>
                <a:ext uri="{FF2B5EF4-FFF2-40B4-BE49-F238E27FC236}">
                  <a16:creationId xmlns:a16="http://schemas.microsoft.com/office/drawing/2014/main" xmlns="" id="{35DDC8C1-7EA6-4CF0-A94D-713441F45160}"/>
                </a:ext>
              </a:extLst>
            </p:cNvPr>
            <p:cNvSpPr/>
            <p:nvPr userDrawn="1"/>
          </p:nvSpPr>
          <p:spPr bwMode="auto">
            <a:xfrm>
              <a:off x="4445001" y="4475163"/>
              <a:ext cx="28575" cy="17463"/>
            </a:xfrm>
            <a:custGeom>
              <a:avLst/>
              <a:gdLst>
                <a:gd name="T0" fmla="*/ 7 w 9"/>
                <a:gd name="T1" fmla="*/ 1 h 5"/>
                <a:gd name="T2" fmla="*/ 2 w 9"/>
                <a:gd name="T3" fmla="*/ 1 h 5"/>
                <a:gd name="T4" fmla="*/ 2 w 9"/>
                <a:gd name="T5" fmla="*/ 4 h 5"/>
                <a:gd name="T6" fmla="*/ 7 w 9"/>
                <a:gd name="T7" fmla="*/ 4 h 5"/>
                <a:gd name="T8" fmla="*/ 7 w 9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7" y="1"/>
                  </a:moveTo>
                  <a:cubicBezTo>
                    <a:pt x="5" y="0"/>
                    <a:pt x="3" y="0"/>
                    <a:pt x="2" y="1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9" y="4"/>
                    <a:pt x="9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7" name="îşḻiḋê">
              <a:extLst>
                <a:ext uri="{FF2B5EF4-FFF2-40B4-BE49-F238E27FC236}">
                  <a16:creationId xmlns:a16="http://schemas.microsoft.com/office/drawing/2014/main" xmlns="" id="{8A9A7748-C4AC-49FB-8372-31E23AF5F8DA}"/>
                </a:ext>
              </a:extLst>
            </p:cNvPr>
            <p:cNvSpPr/>
            <p:nvPr userDrawn="1"/>
          </p:nvSpPr>
          <p:spPr bwMode="auto">
            <a:xfrm>
              <a:off x="4352926" y="4370388"/>
              <a:ext cx="263525" cy="177800"/>
            </a:xfrm>
            <a:custGeom>
              <a:avLst/>
              <a:gdLst>
                <a:gd name="T0" fmla="*/ 6 w 80"/>
                <a:gd name="T1" fmla="*/ 42 h 54"/>
                <a:gd name="T2" fmla="*/ 0 w 80"/>
                <a:gd name="T3" fmla="*/ 46 h 54"/>
                <a:gd name="T4" fmla="*/ 33 w 80"/>
                <a:gd name="T5" fmla="*/ 54 h 54"/>
                <a:gd name="T6" fmla="*/ 66 w 80"/>
                <a:gd name="T7" fmla="*/ 46 h 54"/>
                <a:gd name="T8" fmla="*/ 80 w 80"/>
                <a:gd name="T9" fmla="*/ 27 h 54"/>
                <a:gd name="T10" fmla="*/ 66 w 80"/>
                <a:gd name="T11" fmla="*/ 8 h 54"/>
                <a:gd name="T12" fmla="*/ 33 w 80"/>
                <a:gd name="T13" fmla="*/ 0 h 54"/>
                <a:gd name="T14" fmla="*/ 0 w 80"/>
                <a:gd name="T15" fmla="*/ 8 h 54"/>
                <a:gd name="T16" fmla="*/ 7 w 80"/>
                <a:gd name="T17" fmla="*/ 11 h 54"/>
                <a:gd name="T18" fmla="*/ 33 w 80"/>
                <a:gd name="T19" fmla="*/ 5 h 54"/>
                <a:gd name="T20" fmla="*/ 60 w 80"/>
                <a:gd name="T21" fmla="*/ 11 h 54"/>
                <a:gd name="T22" fmla="*/ 71 w 80"/>
                <a:gd name="T23" fmla="*/ 27 h 54"/>
                <a:gd name="T24" fmla="*/ 60 w 80"/>
                <a:gd name="T25" fmla="*/ 42 h 54"/>
                <a:gd name="T26" fmla="*/ 33 w 80"/>
                <a:gd name="T27" fmla="*/ 49 h 54"/>
                <a:gd name="T28" fmla="*/ 6 w 80"/>
                <a:gd name="T2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54">
                  <a:moveTo>
                    <a:pt x="6" y="42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9" y="51"/>
                    <a:pt x="21" y="54"/>
                    <a:pt x="33" y="54"/>
                  </a:cubicBezTo>
                  <a:cubicBezTo>
                    <a:pt x="45" y="54"/>
                    <a:pt x="57" y="51"/>
                    <a:pt x="66" y="46"/>
                  </a:cubicBezTo>
                  <a:cubicBezTo>
                    <a:pt x="75" y="41"/>
                    <a:pt x="80" y="34"/>
                    <a:pt x="80" y="27"/>
                  </a:cubicBezTo>
                  <a:cubicBezTo>
                    <a:pt x="80" y="20"/>
                    <a:pt x="75" y="13"/>
                    <a:pt x="66" y="8"/>
                  </a:cubicBezTo>
                  <a:cubicBezTo>
                    <a:pt x="57" y="3"/>
                    <a:pt x="46" y="0"/>
                    <a:pt x="33" y="0"/>
                  </a:cubicBezTo>
                  <a:cubicBezTo>
                    <a:pt x="21" y="0"/>
                    <a:pt x="9" y="3"/>
                    <a:pt x="0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4" y="7"/>
                    <a:pt x="23" y="5"/>
                    <a:pt x="33" y="5"/>
                  </a:cubicBezTo>
                  <a:cubicBezTo>
                    <a:pt x="43" y="5"/>
                    <a:pt x="53" y="7"/>
                    <a:pt x="60" y="11"/>
                  </a:cubicBezTo>
                  <a:cubicBezTo>
                    <a:pt x="67" y="16"/>
                    <a:pt x="71" y="21"/>
                    <a:pt x="71" y="27"/>
                  </a:cubicBezTo>
                  <a:cubicBezTo>
                    <a:pt x="71" y="33"/>
                    <a:pt x="67" y="38"/>
                    <a:pt x="60" y="42"/>
                  </a:cubicBezTo>
                  <a:cubicBezTo>
                    <a:pt x="53" y="46"/>
                    <a:pt x="43" y="49"/>
                    <a:pt x="33" y="49"/>
                  </a:cubicBezTo>
                  <a:cubicBezTo>
                    <a:pt x="23" y="49"/>
                    <a:pt x="13" y="46"/>
                    <a:pt x="6" y="42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8" name="îšḷîḋe">
              <a:extLst>
                <a:ext uri="{FF2B5EF4-FFF2-40B4-BE49-F238E27FC236}">
                  <a16:creationId xmlns:a16="http://schemas.microsoft.com/office/drawing/2014/main" xmlns="" id="{A4E05FE4-0ACD-48B1-A1F3-9C77BC1AE8F3}"/>
                </a:ext>
              </a:extLst>
            </p:cNvPr>
            <p:cNvSpPr/>
            <p:nvPr userDrawn="1"/>
          </p:nvSpPr>
          <p:spPr bwMode="auto">
            <a:xfrm>
              <a:off x="3365501" y="4122738"/>
              <a:ext cx="811213" cy="468313"/>
            </a:xfrm>
            <a:custGeom>
              <a:avLst/>
              <a:gdLst>
                <a:gd name="T0" fmla="*/ 0 w 511"/>
                <a:gd name="T1" fmla="*/ 274 h 295"/>
                <a:gd name="T2" fmla="*/ 35 w 511"/>
                <a:gd name="T3" fmla="*/ 295 h 295"/>
                <a:gd name="T4" fmla="*/ 511 w 511"/>
                <a:gd name="T5" fmla="*/ 19 h 295"/>
                <a:gd name="T6" fmla="*/ 478 w 511"/>
                <a:gd name="T7" fmla="*/ 0 h 295"/>
                <a:gd name="T8" fmla="*/ 0 w 511"/>
                <a:gd name="T9" fmla="*/ 27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1" h="295">
                  <a:moveTo>
                    <a:pt x="0" y="274"/>
                  </a:moveTo>
                  <a:lnTo>
                    <a:pt x="35" y="295"/>
                  </a:lnTo>
                  <a:lnTo>
                    <a:pt x="511" y="19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9" name="işľíḋê">
              <a:extLst>
                <a:ext uri="{FF2B5EF4-FFF2-40B4-BE49-F238E27FC236}">
                  <a16:creationId xmlns:a16="http://schemas.microsoft.com/office/drawing/2014/main" xmlns="" id="{71687ACB-6061-41E9-998E-910380C3E680}"/>
                </a:ext>
              </a:extLst>
            </p:cNvPr>
            <p:cNvSpPr/>
            <p:nvPr userDrawn="1"/>
          </p:nvSpPr>
          <p:spPr bwMode="auto">
            <a:xfrm>
              <a:off x="4197351" y="4578351"/>
              <a:ext cx="25400" cy="15875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4 h 5"/>
                <a:gd name="T4" fmla="*/ 7 w 8"/>
                <a:gd name="T5" fmla="*/ 1 h 5"/>
                <a:gd name="T6" fmla="*/ 2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0" y="1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0" name="îṣḷide">
              <a:extLst>
                <a:ext uri="{FF2B5EF4-FFF2-40B4-BE49-F238E27FC236}">
                  <a16:creationId xmlns:a16="http://schemas.microsoft.com/office/drawing/2014/main" xmlns="" id="{79296AD1-B3F5-4765-936A-A9E7987D8615}"/>
                </a:ext>
              </a:extLst>
            </p:cNvPr>
            <p:cNvSpPr/>
            <p:nvPr userDrawn="1"/>
          </p:nvSpPr>
          <p:spPr bwMode="auto">
            <a:xfrm>
              <a:off x="4078288" y="4535488"/>
              <a:ext cx="250825" cy="144463"/>
            </a:xfrm>
            <a:custGeom>
              <a:avLst/>
              <a:gdLst>
                <a:gd name="T0" fmla="*/ 12 w 76"/>
                <a:gd name="T1" fmla="*/ 37 h 44"/>
                <a:gd name="T2" fmla="*/ 1 w 76"/>
                <a:gd name="T3" fmla="*/ 21 h 44"/>
                <a:gd name="T4" fmla="*/ 12 w 76"/>
                <a:gd name="T5" fmla="*/ 6 h 44"/>
                <a:gd name="T6" fmla="*/ 39 w 76"/>
                <a:gd name="T7" fmla="*/ 0 h 44"/>
                <a:gd name="T8" fmla="*/ 65 w 76"/>
                <a:gd name="T9" fmla="*/ 6 h 44"/>
                <a:gd name="T10" fmla="*/ 76 w 76"/>
                <a:gd name="T11" fmla="*/ 22 h 44"/>
                <a:gd name="T12" fmla="*/ 65 w 76"/>
                <a:gd name="T13" fmla="*/ 37 h 44"/>
                <a:gd name="T14" fmla="*/ 38 w 76"/>
                <a:gd name="T15" fmla="*/ 44 h 44"/>
                <a:gd name="T16" fmla="*/ 12 w 76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12" y="37"/>
                  </a:moveTo>
                  <a:cubicBezTo>
                    <a:pt x="4" y="33"/>
                    <a:pt x="0" y="27"/>
                    <a:pt x="1" y="21"/>
                  </a:cubicBezTo>
                  <a:cubicBezTo>
                    <a:pt x="1" y="16"/>
                    <a:pt x="5" y="10"/>
                    <a:pt x="12" y="6"/>
                  </a:cubicBezTo>
                  <a:cubicBezTo>
                    <a:pt x="19" y="2"/>
                    <a:pt x="29" y="0"/>
                    <a:pt x="39" y="0"/>
                  </a:cubicBezTo>
                  <a:cubicBezTo>
                    <a:pt x="49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8"/>
                    <a:pt x="72" y="33"/>
                    <a:pt x="65" y="37"/>
                  </a:cubicBezTo>
                  <a:cubicBezTo>
                    <a:pt x="58" y="41"/>
                    <a:pt x="48" y="44"/>
                    <a:pt x="38" y="44"/>
                  </a:cubicBezTo>
                  <a:cubicBezTo>
                    <a:pt x="28" y="44"/>
                    <a:pt x="19" y="41"/>
                    <a:pt x="12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1" name="iṣḻídé">
              <a:extLst>
                <a:ext uri="{FF2B5EF4-FFF2-40B4-BE49-F238E27FC236}">
                  <a16:creationId xmlns:a16="http://schemas.microsoft.com/office/drawing/2014/main" xmlns="" id="{B5EC0E9F-27DF-48DD-AD3B-776338584D99}"/>
                </a:ext>
              </a:extLst>
            </p:cNvPr>
            <p:cNvSpPr/>
            <p:nvPr userDrawn="1"/>
          </p:nvSpPr>
          <p:spPr bwMode="auto">
            <a:xfrm>
              <a:off x="4191001" y="4624388"/>
              <a:ext cx="25400" cy="15875"/>
            </a:xfrm>
            <a:custGeom>
              <a:avLst/>
              <a:gdLst>
                <a:gd name="T0" fmla="*/ 7 w 8"/>
                <a:gd name="T1" fmla="*/ 1 h 5"/>
                <a:gd name="T2" fmla="*/ 1 w 8"/>
                <a:gd name="T3" fmla="*/ 1 h 5"/>
                <a:gd name="T4" fmla="*/ 2 w 8"/>
                <a:gd name="T5" fmla="*/ 4 h 5"/>
                <a:gd name="T6" fmla="*/ 7 w 8"/>
                <a:gd name="T7" fmla="*/ 4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5" y="0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2" name="i$lîḓe">
              <a:extLst>
                <a:ext uri="{FF2B5EF4-FFF2-40B4-BE49-F238E27FC236}">
                  <a16:creationId xmlns:a16="http://schemas.microsoft.com/office/drawing/2014/main" xmlns="" id="{90156F32-A35C-4763-B827-BCCBC814BF41}"/>
                </a:ext>
              </a:extLst>
            </p:cNvPr>
            <p:cNvSpPr/>
            <p:nvPr userDrawn="1"/>
          </p:nvSpPr>
          <p:spPr bwMode="auto">
            <a:xfrm>
              <a:off x="3521076" y="4208463"/>
              <a:ext cx="781050" cy="455613"/>
            </a:xfrm>
            <a:custGeom>
              <a:avLst/>
              <a:gdLst>
                <a:gd name="T0" fmla="*/ 0 w 492"/>
                <a:gd name="T1" fmla="*/ 276 h 287"/>
                <a:gd name="T2" fmla="*/ 14 w 492"/>
                <a:gd name="T3" fmla="*/ 287 h 287"/>
                <a:gd name="T4" fmla="*/ 492 w 492"/>
                <a:gd name="T5" fmla="*/ 11 h 287"/>
                <a:gd name="T6" fmla="*/ 476 w 492"/>
                <a:gd name="T7" fmla="*/ 0 h 287"/>
                <a:gd name="T8" fmla="*/ 0 w 492"/>
                <a:gd name="T9" fmla="*/ 27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7">
                  <a:moveTo>
                    <a:pt x="0" y="276"/>
                  </a:moveTo>
                  <a:lnTo>
                    <a:pt x="14" y="287"/>
                  </a:lnTo>
                  <a:lnTo>
                    <a:pt x="492" y="11"/>
                  </a:lnTo>
                  <a:lnTo>
                    <a:pt x="476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3" name="ïŝļidè">
              <a:extLst>
                <a:ext uri="{FF2B5EF4-FFF2-40B4-BE49-F238E27FC236}">
                  <a16:creationId xmlns:a16="http://schemas.microsoft.com/office/drawing/2014/main" xmlns="" id="{FA7D25DC-C217-48E0-A622-853FF0C899C7}"/>
                </a:ext>
              </a:extLst>
            </p:cNvPr>
            <p:cNvSpPr/>
            <p:nvPr userDrawn="1"/>
          </p:nvSpPr>
          <p:spPr bwMode="auto">
            <a:xfrm>
              <a:off x="3573463" y="4241801"/>
              <a:ext cx="782638" cy="450850"/>
            </a:xfrm>
            <a:custGeom>
              <a:avLst/>
              <a:gdLst>
                <a:gd name="T0" fmla="*/ 0 w 493"/>
                <a:gd name="T1" fmla="*/ 276 h 284"/>
                <a:gd name="T2" fmla="*/ 15 w 493"/>
                <a:gd name="T3" fmla="*/ 284 h 284"/>
                <a:gd name="T4" fmla="*/ 493 w 493"/>
                <a:gd name="T5" fmla="*/ 8 h 284"/>
                <a:gd name="T6" fmla="*/ 478 w 493"/>
                <a:gd name="T7" fmla="*/ 0 h 284"/>
                <a:gd name="T8" fmla="*/ 0 w 493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3" h="284">
                  <a:moveTo>
                    <a:pt x="0" y="276"/>
                  </a:moveTo>
                  <a:lnTo>
                    <a:pt x="15" y="284"/>
                  </a:lnTo>
                  <a:lnTo>
                    <a:pt x="493" y="8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4" name="íşļíďe">
              <a:extLst>
                <a:ext uri="{FF2B5EF4-FFF2-40B4-BE49-F238E27FC236}">
                  <a16:creationId xmlns:a16="http://schemas.microsoft.com/office/drawing/2014/main" xmlns="" id="{3C698D0F-237F-4C65-8E38-4010A3F6EF96}"/>
                </a:ext>
              </a:extLst>
            </p:cNvPr>
            <p:cNvSpPr/>
            <p:nvPr userDrawn="1"/>
          </p:nvSpPr>
          <p:spPr bwMode="auto">
            <a:xfrm>
              <a:off x="4078288" y="4518026"/>
              <a:ext cx="280988" cy="179388"/>
            </a:xfrm>
            <a:custGeom>
              <a:avLst/>
              <a:gdLst>
                <a:gd name="T0" fmla="*/ 6 w 85"/>
                <a:gd name="T1" fmla="*/ 8 h 54"/>
                <a:gd name="T2" fmla="*/ 12 w 85"/>
                <a:gd name="T3" fmla="*/ 11 h 54"/>
                <a:gd name="T4" fmla="*/ 1 w 85"/>
                <a:gd name="T5" fmla="*/ 26 h 54"/>
                <a:gd name="T6" fmla="*/ 12 w 85"/>
                <a:gd name="T7" fmla="*/ 42 h 54"/>
                <a:gd name="T8" fmla="*/ 1 w 85"/>
                <a:gd name="T9" fmla="*/ 26 h 54"/>
                <a:gd name="T10" fmla="*/ 12 w 85"/>
                <a:gd name="T11" fmla="*/ 11 h 54"/>
                <a:gd name="T12" fmla="*/ 39 w 85"/>
                <a:gd name="T13" fmla="*/ 5 h 54"/>
                <a:gd name="T14" fmla="*/ 65 w 85"/>
                <a:gd name="T15" fmla="*/ 11 h 54"/>
                <a:gd name="T16" fmla="*/ 76 w 85"/>
                <a:gd name="T17" fmla="*/ 27 h 54"/>
                <a:gd name="T18" fmla="*/ 65 w 85"/>
                <a:gd name="T19" fmla="*/ 42 h 54"/>
                <a:gd name="T20" fmla="*/ 71 w 85"/>
                <a:gd name="T21" fmla="*/ 46 h 54"/>
                <a:gd name="T22" fmla="*/ 38 w 85"/>
                <a:gd name="T23" fmla="*/ 54 h 54"/>
                <a:gd name="T24" fmla="*/ 5 w 85"/>
                <a:gd name="T25" fmla="*/ 46 h 54"/>
                <a:gd name="T26" fmla="*/ 38 w 85"/>
                <a:gd name="T27" fmla="*/ 54 h 54"/>
                <a:gd name="T28" fmla="*/ 71 w 85"/>
                <a:gd name="T29" fmla="*/ 46 h 54"/>
                <a:gd name="T30" fmla="*/ 85 w 85"/>
                <a:gd name="T31" fmla="*/ 27 h 54"/>
                <a:gd name="T32" fmla="*/ 72 w 85"/>
                <a:gd name="T33" fmla="*/ 8 h 54"/>
                <a:gd name="T34" fmla="*/ 39 w 85"/>
                <a:gd name="T35" fmla="*/ 0 h 54"/>
                <a:gd name="T36" fmla="*/ 6 w 85"/>
                <a:gd name="T37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54">
                  <a:moveTo>
                    <a:pt x="6" y="8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5" y="15"/>
                    <a:pt x="1" y="21"/>
                    <a:pt x="1" y="26"/>
                  </a:cubicBezTo>
                  <a:cubicBezTo>
                    <a:pt x="0" y="32"/>
                    <a:pt x="4" y="38"/>
                    <a:pt x="12" y="42"/>
                  </a:cubicBezTo>
                  <a:cubicBezTo>
                    <a:pt x="4" y="38"/>
                    <a:pt x="0" y="32"/>
                    <a:pt x="1" y="26"/>
                  </a:cubicBezTo>
                  <a:cubicBezTo>
                    <a:pt x="1" y="21"/>
                    <a:pt x="5" y="15"/>
                    <a:pt x="12" y="11"/>
                  </a:cubicBezTo>
                  <a:cubicBezTo>
                    <a:pt x="19" y="7"/>
                    <a:pt x="29" y="5"/>
                    <a:pt x="39" y="5"/>
                  </a:cubicBezTo>
                  <a:cubicBezTo>
                    <a:pt x="49" y="5"/>
                    <a:pt x="58" y="7"/>
                    <a:pt x="65" y="11"/>
                  </a:cubicBezTo>
                  <a:cubicBezTo>
                    <a:pt x="72" y="15"/>
                    <a:pt x="76" y="21"/>
                    <a:pt x="76" y="27"/>
                  </a:cubicBezTo>
                  <a:cubicBezTo>
                    <a:pt x="76" y="33"/>
                    <a:pt x="72" y="38"/>
                    <a:pt x="65" y="42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63" y="51"/>
                    <a:pt x="51" y="54"/>
                    <a:pt x="38" y="54"/>
                  </a:cubicBezTo>
                  <a:cubicBezTo>
                    <a:pt x="26" y="54"/>
                    <a:pt x="14" y="51"/>
                    <a:pt x="5" y="46"/>
                  </a:cubicBezTo>
                  <a:cubicBezTo>
                    <a:pt x="14" y="51"/>
                    <a:pt x="26" y="54"/>
                    <a:pt x="38" y="54"/>
                  </a:cubicBezTo>
                  <a:cubicBezTo>
                    <a:pt x="51" y="54"/>
                    <a:pt x="63" y="51"/>
                    <a:pt x="71" y="46"/>
                  </a:cubicBezTo>
                  <a:cubicBezTo>
                    <a:pt x="80" y="41"/>
                    <a:pt x="85" y="34"/>
                    <a:pt x="85" y="27"/>
                  </a:cubicBezTo>
                  <a:cubicBezTo>
                    <a:pt x="85" y="19"/>
                    <a:pt x="80" y="13"/>
                    <a:pt x="72" y="8"/>
                  </a:cubicBezTo>
                  <a:cubicBezTo>
                    <a:pt x="63" y="2"/>
                    <a:pt x="51" y="0"/>
                    <a:pt x="39" y="0"/>
                  </a:cubicBezTo>
                  <a:cubicBezTo>
                    <a:pt x="26" y="0"/>
                    <a:pt x="14" y="2"/>
                    <a:pt x="6" y="8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5" name="îsļíḋé">
              <a:extLst>
                <a:ext uri="{FF2B5EF4-FFF2-40B4-BE49-F238E27FC236}">
                  <a16:creationId xmlns:a16="http://schemas.microsoft.com/office/drawing/2014/main" xmlns="" id="{601F520E-F541-4F09-94DB-64CF14B54E73}"/>
                </a:ext>
              </a:extLst>
            </p:cNvPr>
            <p:cNvSpPr/>
            <p:nvPr userDrawn="1"/>
          </p:nvSpPr>
          <p:spPr bwMode="auto">
            <a:xfrm>
              <a:off x="4048126" y="4545013"/>
              <a:ext cx="265113" cy="152400"/>
            </a:xfrm>
            <a:custGeom>
              <a:avLst/>
              <a:gdLst>
                <a:gd name="T0" fmla="*/ 15 w 80"/>
                <a:gd name="T1" fmla="*/ 0 h 46"/>
                <a:gd name="T2" fmla="*/ 1 w 80"/>
                <a:gd name="T3" fmla="*/ 18 h 46"/>
                <a:gd name="T4" fmla="*/ 14 w 80"/>
                <a:gd name="T5" fmla="*/ 38 h 46"/>
                <a:gd name="T6" fmla="*/ 47 w 80"/>
                <a:gd name="T7" fmla="*/ 46 h 46"/>
                <a:gd name="T8" fmla="*/ 80 w 80"/>
                <a:gd name="T9" fmla="*/ 38 h 46"/>
                <a:gd name="T10" fmla="*/ 74 w 80"/>
                <a:gd name="T11" fmla="*/ 34 h 46"/>
                <a:gd name="T12" fmla="*/ 47 w 80"/>
                <a:gd name="T13" fmla="*/ 41 h 46"/>
                <a:gd name="T14" fmla="*/ 21 w 80"/>
                <a:gd name="T15" fmla="*/ 34 h 46"/>
                <a:gd name="T16" fmla="*/ 10 w 80"/>
                <a:gd name="T17" fmla="*/ 18 h 46"/>
                <a:gd name="T18" fmla="*/ 21 w 80"/>
                <a:gd name="T19" fmla="*/ 3 h 46"/>
                <a:gd name="T20" fmla="*/ 15 w 80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46">
                  <a:moveTo>
                    <a:pt x="15" y="0"/>
                  </a:moveTo>
                  <a:cubicBezTo>
                    <a:pt x="6" y="5"/>
                    <a:pt x="1" y="11"/>
                    <a:pt x="1" y="18"/>
                  </a:cubicBezTo>
                  <a:cubicBezTo>
                    <a:pt x="0" y="25"/>
                    <a:pt x="5" y="33"/>
                    <a:pt x="14" y="38"/>
                  </a:cubicBezTo>
                  <a:cubicBezTo>
                    <a:pt x="23" y="43"/>
                    <a:pt x="35" y="46"/>
                    <a:pt x="47" y="46"/>
                  </a:cubicBezTo>
                  <a:cubicBezTo>
                    <a:pt x="60" y="46"/>
                    <a:pt x="72" y="43"/>
                    <a:pt x="80" y="38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67" y="38"/>
                    <a:pt x="57" y="41"/>
                    <a:pt x="47" y="41"/>
                  </a:cubicBezTo>
                  <a:cubicBezTo>
                    <a:pt x="37" y="41"/>
                    <a:pt x="28" y="38"/>
                    <a:pt x="21" y="34"/>
                  </a:cubicBezTo>
                  <a:cubicBezTo>
                    <a:pt x="13" y="30"/>
                    <a:pt x="9" y="24"/>
                    <a:pt x="10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6" name="íṣḻïdé">
              <a:extLst>
                <a:ext uri="{FF2B5EF4-FFF2-40B4-BE49-F238E27FC236}">
                  <a16:creationId xmlns:a16="http://schemas.microsoft.com/office/drawing/2014/main" xmlns="" id="{8CAAAE56-04CB-4951-BE38-ACD024623FAC}"/>
                </a:ext>
              </a:extLst>
            </p:cNvPr>
            <p:cNvSpPr/>
            <p:nvPr userDrawn="1"/>
          </p:nvSpPr>
          <p:spPr bwMode="auto">
            <a:xfrm>
              <a:off x="3625851" y="4271963"/>
              <a:ext cx="785813" cy="454025"/>
            </a:xfrm>
            <a:custGeom>
              <a:avLst/>
              <a:gdLst>
                <a:gd name="T0" fmla="*/ 0 w 495"/>
                <a:gd name="T1" fmla="*/ 276 h 286"/>
                <a:gd name="T2" fmla="*/ 17 w 495"/>
                <a:gd name="T3" fmla="*/ 286 h 286"/>
                <a:gd name="T4" fmla="*/ 495 w 495"/>
                <a:gd name="T5" fmla="*/ 10 h 286"/>
                <a:gd name="T6" fmla="*/ 478 w 495"/>
                <a:gd name="T7" fmla="*/ 0 h 286"/>
                <a:gd name="T8" fmla="*/ 0 w 495"/>
                <a:gd name="T9" fmla="*/ 27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6">
                  <a:moveTo>
                    <a:pt x="0" y="276"/>
                  </a:moveTo>
                  <a:lnTo>
                    <a:pt x="17" y="286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7" name="ïsḷiḑe">
              <a:extLst>
                <a:ext uri="{FF2B5EF4-FFF2-40B4-BE49-F238E27FC236}">
                  <a16:creationId xmlns:a16="http://schemas.microsoft.com/office/drawing/2014/main" xmlns="" id="{34CC7713-D081-445D-8ECB-73ADD9D3E4A6}"/>
                </a:ext>
              </a:extLst>
            </p:cNvPr>
            <p:cNvSpPr/>
            <p:nvPr userDrawn="1"/>
          </p:nvSpPr>
          <p:spPr bwMode="auto">
            <a:xfrm>
              <a:off x="3943351" y="4722813"/>
              <a:ext cx="25400" cy="17463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5 h 5"/>
                <a:gd name="T4" fmla="*/ 6 w 8"/>
                <a:gd name="T5" fmla="*/ 2 h 5"/>
                <a:gd name="T6" fmla="*/ 1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3" y="5"/>
                    <a:pt x="5" y="5"/>
                    <a:pt x="7" y="5"/>
                  </a:cubicBezTo>
                  <a:cubicBezTo>
                    <a:pt x="8" y="4"/>
                    <a:pt x="8" y="3"/>
                    <a:pt x="6" y="2"/>
                  </a:cubicBezTo>
                  <a:cubicBezTo>
                    <a:pt x="5" y="1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8" name="ïṣ1íḍé">
              <a:extLst>
                <a:ext uri="{FF2B5EF4-FFF2-40B4-BE49-F238E27FC236}">
                  <a16:creationId xmlns:a16="http://schemas.microsoft.com/office/drawing/2014/main" xmlns="" id="{7284EE1F-DAA4-465B-8A79-03EF8BCDBB5B}"/>
                </a:ext>
              </a:extLst>
            </p:cNvPr>
            <p:cNvSpPr/>
            <p:nvPr userDrawn="1"/>
          </p:nvSpPr>
          <p:spPr bwMode="auto">
            <a:xfrm>
              <a:off x="3824288" y="4683126"/>
              <a:ext cx="250825" cy="142875"/>
            </a:xfrm>
            <a:custGeom>
              <a:avLst/>
              <a:gdLst>
                <a:gd name="T0" fmla="*/ 11 w 76"/>
                <a:gd name="T1" fmla="*/ 37 h 43"/>
                <a:gd name="T2" fmla="*/ 0 w 76"/>
                <a:gd name="T3" fmla="*/ 21 h 43"/>
                <a:gd name="T4" fmla="*/ 11 w 76"/>
                <a:gd name="T5" fmla="*/ 6 h 43"/>
                <a:gd name="T6" fmla="*/ 38 w 76"/>
                <a:gd name="T7" fmla="*/ 0 h 43"/>
                <a:gd name="T8" fmla="*/ 65 w 76"/>
                <a:gd name="T9" fmla="*/ 6 h 43"/>
                <a:gd name="T10" fmla="*/ 76 w 76"/>
                <a:gd name="T11" fmla="*/ 22 h 43"/>
                <a:gd name="T12" fmla="*/ 64 w 76"/>
                <a:gd name="T13" fmla="*/ 37 h 43"/>
                <a:gd name="T14" fmla="*/ 38 w 76"/>
                <a:gd name="T15" fmla="*/ 43 h 43"/>
                <a:gd name="T16" fmla="*/ 11 w 76"/>
                <a:gd name="T17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3">
                  <a:moveTo>
                    <a:pt x="11" y="37"/>
                  </a:moveTo>
                  <a:cubicBezTo>
                    <a:pt x="4" y="33"/>
                    <a:pt x="0" y="27"/>
                    <a:pt x="0" y="21"/>
                  </a:cubicBezTo>
                  <a:cubicBezTo>
                    <a:pt x="0" y="15"/>
                    <a:pt x="4" y="10"/>
                    <a:pt x="11" y="6"/>
                  </a:cubicBezTo>
                  <a:cubicBezTo>
                    <a:pt x="18" y="2"/>
                    <a:pt x="28" y="0"/>
                    <a:pt x="38" y="0"/>
                  </a:cubicBezTo>
                  <a:cubicBezTo>
                    <a:pt x="48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7"/>
                    <a:pt x="72" y="33"/>
                    <a:pt x="64" y="37"/>
                  </a:cubicBezTo>
                  <a:cubicBezTo>
                    <a:pt x="57" y="41"/>
                    <a:pt x="48" y="43"/>
                    <a:pt x="38" y="43"/>
                  </a:cubicBezTo>
                  <a:cubicBezTo>
                    <a:pt x="28" y="43"/>
                    <a:pt x="18" y="41"/>
                    <a:pt x="11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9" name="íṥľíḓe">
              <a:extLst>
                <a:ext uri="{FF2B5EF4-FFF2-40B4-BE49-F238E27FC236}">
                  <a16:creationId xmlns:a16="http://schemas.microsoft.com/office/drawing/2014/main" xmlns="" id="{7A7EB734-57EE-45BB-ABCC-2B2808DE8779}"/>
                </a:ext>
              </a:extLst>
            </p:cNvPr>
            <p:cNvSpPr/>
            <p:nvPr userDrawn="1"/>
          </p:nvSpPr>
          <p:spPr bwMode="auto">
            <a:xfrm>
              <a:off x="3937001" y="4772026"/>
              <a:ext cx="25400" cy="17463"/>
            </a:xfrm>
            <a:custGeom>
              <a:avLst/>
              <a:gdLst>
                <a:gd name="T0" fmla="*/ 6 w 8"/>
                <a:gd name="T1" fmla="*/ 1 h 5"/>
                <a:gd name="T2" fmla="*/ 1 w 8"/>
                <a:gd name="T3" fmla="*/ 0 h 5"/>
                <a:gd name="T4" fmla="*/ 1 w 8"/>
                <a:gd name="T5" fmla="*/ 3 h 5"/>
                <a:gd name="T6" fmla="*/ 7 w 8"/>
                <a:gd name="T7" fmla="*/ 4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4" y="0"/>
                    <a:pt x="2" y="0"/>
                    <a:pt x="1" y="0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3" y="4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0" name="íŝḷîḓê">
              <a:extLst>
                <a:ext uri="{FF2B5EF4-FFF2-40B4-BE49-F238E27FC236}">
                  <a16:creationId xmlns:a16="http://schemas.microsoft.com/office/drawing/2014/main" xmlns="" id="{0CC136B3-AAD3-49EA-9CE5-5254C121792E}"/>
                </a:ext>
              </a:extLst>
            </p:cNvPr>
            <p:cNvSpPr/>
            <p:nvPr userDrawn="1"/>
          </p:nvSpPr>
          <p:spPr bwMode="auto">
            <a:xfrm>
              <a:off x="4895851" y="4606926"/>
              <a:ext cx="320675" cy="188913"/>
            </a:xfrm>
            <a:custGeom>
              <a:avLst/>
              <a:gdLst>
                <a:gd name="T0" fmla="*/ 0 w 202"/>
                <a:gd name="T1" fmla="*/ 27 h 119"/>
                <a:gd name="T2" fmla="*/ 156 w 202"/>
                <a:gd name="T3" fmla="*/ 119 h 119"/>
                <a:gd name="T4" fmla="*/ 202 w 202"/>
                <a:gd name="T5" fmla="*/ 92 h 119"/>
                <a:gd name="T6" fmla="*/ 44 w 202"/>
                <a:gd name="T7" fmla="*/ 0 h 119"/>
                <a:gd name="T8" fmla="*/ 0 w 202"/>
                <a:gd name="T9" fmla="*/ 2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119">
                  <a:moveTo>
                    <a:pt x="0" y="27"/>
                  </a:moveTo>
                  <a:lnTo>
                    <a:pt x="156" y="119"/>
                  </a:lnTo>
                  <a:lnTo>
                    <a:pt x="202" y="92"/>
                  </a:lnTo>
                  <a:lnTo>
                    <a:pt x="44" y="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1" name="ïṧḻîde">
              <a:extLst>
                <a:ext uri="{FF2B5EF4-FFF2-40B4-BE49-F238E27FC236}">
                  <a16:creationId xmlns:a16="http://schemas.microsoft.com/office/drawing/2014/main" xmlns="" id="{C4872023-D4F1-43E7-9264-5D63237013B9}"/>
                </a:ext>
              </a:extLst>
            </p:cNvPr>
            <p:cNvSpPr/>
            <p:nvPr userDrawn="1"/>
          </p:nvSpPr>
          <p:spPr bwMode="auto">
            <a:xfrm>
              <a:off x="3824288" y="4667251"/>
              <a:ext cx="234950" cy="138113"/>
            </a:xfrm>
            <a:custGeom>
              <a:avLst/>
              <a:gdLst>
                <a:gd name="T0" fmla="*/ 5 w 71"/>
                <a:gd name="T1" fmla="*/ 7 h 42"/>
                <a:gd name="T2" fmla="*/ 11 w 71"/>
                <a:gd name="T3" fmla="*/ 11 h 42"/>
                <a:gd name="T4" fmla="*/ 0 w 71"/>
                <a:gd name="T5" fmla="*/ 26 h 42"/>
                <a:gd name="T6" fmla="*/ 11 w 71"/>
                <a:gd name="T7" fmla="*/ 42 h 42"/>
                <a:gd name="T8" fmla="*/ 0 w 71"/>
                <a:gd name="T9" fmla="*/ 26 h 42"/>
                <a:gd name="T10" fmla="*/ 11 w 71"/>
                <a:gd name="T11" fmla="*/ 11 h 42"/>
                <a:gd name="T12" fmla="*/ 38 w 71"/>
                <a:gd name="T13" fmla="*/ 5 h 42"/>
                <a:gd name="T14" fmla="*/ 65 w 71"/>
                <a:gd name="T15" fmla="*/ 11 h 42"/>
                <a:gd name="T16" fmla="*/ 71 w 71"/>
                <a:gd name="T17" fmla="*/ 7 h 42"/>
                <a:gd name="T18" fmla="*/ 38 w 71"/>
                <a:gd name="T19" fmla="*/ 0 h 42"/>
                <a:gd name="T20" fmla="*/ 5 w 71"/>
                <a:gd name="T21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42">
                  <a:moveTo>
                    <a:pt x="5" y="7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4" y="15"/>
                    <a:pt x="0" y="20"/>
                    <a:pt x="0" y="26"/>
                  </a:cubicBezTo>
                  <a:cubicBezTo>
                    <a:pt x="0" y="32"/>
                    <a:pt x="4" y="38"/>
                    <a:pt x="11" y="42"/>
                  </a:cubicBezTo>
                  <a:cubicBezTo>
                    <a:pt x="4" y="38"/>
                    <a:pt x="0" y="32"/>
                    <a:pt x="0" y="26"/>
                  </a:cubicBezTo>
                  <a:cubicBezTo>
                    <a:pt x="0" y="20"/>
                    <a:pt x="4" y="15"/>
                    <a:pt x="11" y="11"/>
                  </a:cubicBezTo>
                  <a:cubicBezTo>
                    <a:pt x="18" y="7"/>
                    <a:pt x="28" y="5"/>
                    <a:pt x="38" y="5"/>
                  </a:cubicBezTo>
                  <a:cubicBezTo>
                    <a:pt x="48" y="5"/>
                    <a:pt x="58" y="7"/>
                    <a:pt x="65" y="1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2" y="2"/>
                    <a:pt x="50" y="0"/>
                    <a:pt x="38" y="0"/>
                  </a:cubicBezTo>
                  <a:cubicBezTo>
                    <a:pt x="26" y="0"/>
                    <a:pt x="14" y="2"/>
                    <a:pt x="5" y="7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2" name="i$ļiḋe">
              <a:extLst>
                <a:ext uri="{FF2B5EF4-FFF2-40B4-BE49-F238E27FC236}">
                  <a16:creationId xmlns:a16="http://schemas.microsoft.com/office/drawing/2014/main" xmlns="" id="{DDA3A9E1-1032-42FB-A218-FE0AF5FF68D4}"/>
                </a:ext>
              </a:extLst>
            </p:cNvPr>
            <p:cNvSpPr/>
            <p:nvPr userDrawn="1"/>
          </p:nvSpPr>
          <p:spPr bwMode="auto">
            <a:xfrm>
              <a:off x="4938713" y="4725988"/>
              <a:ext cx="198438" cy="115888"/>
            </a:xfrm>
            <a:custGeom>
              <a:avLst/>
              <a:gdLst>
                <a:gd name="T0" fmla="*/ 0 w 125"/>
                <a:gd name="T1" fmla="*/ 25 h 73"/>
                <a:gd name="T2" fmla="*/ 79 w 125"/>
                <a:gd name="T3" fmla="*/ 73 h 73"/>
                <a:gd name="T4" fmla="*/ 125 w 125"/>
                <a:gd name="T5" fmla="*/ 46 h 73"/>
                <a:gd name="T6" fmla="*/ 44 w 125"/>
                <a:gd name="T7" fmla="*/ 0 h 73"/>
                <a:gd name="T8" fmla="*/ 0 w 125"/>
                <a:gd name="T9" fmla="*/ 2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73">
                  <a:moveTo>
                    <a:pt x="0" y="25"/>
                  </a:moveTo>
                  <a:lnTo>
                    <a:pt x="79" y="73"/>
                  </a:lnTo>
                  <a:lnTo>
                    <a:pt x="125" y="46"/>
                  </a:lnTo>
                  <a:lnTo>
                    <a:pt x="44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3" name="îslîḍè">
              <a:extLst>
                <a:ext uri="{FF2B5EF4-FFF2-40B4-BE49-F238E27FC236}">
                  <a16:creationId xmlns:a16="http://schemas.microsoft.com/office/drawing/2014/main" xmlns="" id="{2D7BED4C-B59B-4884-9E3C-43D6F4ED50F5}"/>
                </a:ext>
              </a:extLst>
            </p:cNvPr>
            <p:cNvSpPr/>
            <p:nvPr userDrawn="1"/>
          </p:nvSpPr>
          <p:spPr bwMode="auto">
            <a:xfrm>
              <a:off x="4810126" y="4835526"/>
              <a:ext cx="168275" cy="95250"/>
            </a:xfrm>
            <a:custGeom>
              <a:avLst/>
              <a:gdLst>
                <a:gd name="T0" fmla="*/ 0 w 106"/>
                <a:gd name="T1" fmla="*/ 25 h 60"/>
                <a:gd name="T2" fmla="*/ 61 w 106"/>
                <a:gd name="T3" fmla="*/ 60 h 60"/>
                <a:gd name="T4" fmla="*/ 106 w 106"/>
                <a:gd name="T5" fmla="*/ 35 h 60"/>
                <a:gd name="T6" fmla="*/ 46 w 106"/>
                <a:gd name="T7" fmla="*/ 0 h 60"/>
                <a:gd name="T8" fmla="*/ 0 w 106"/>
                <a:gd name="T9" fmla="*/ 2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60">
                  <a:moveTo>
                    <a:pt x="0" y="25"/>
                  </a:moveTo>
                  <a:lnTo>
                    <a:pt x="61" y="60"/>
                  </a:lnTo>
                  <a:lnTo>
                    <a:pt x="106" y="35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4" name="iśḷiďê">
              <a:extLst>
                <a:ext uri="{FF2B5EF4-FFF2-40B4-BE49-F238E27FC236}">
                  <a16:creationId xmlns:a16="http://schemas.microsoft.com/office/drawing/2014/main" xmlns="" id="{37E6A579-5E2F-46E7-9A14-AC4053641A7A}"/>
                </a:ext>
              </a:extLst>
            </p:cNvPr>
            <p:cNvSpPr/>
            <p:nvPr userDrawn="1"/>
          </p:nvSpPr>
          <p:spPr bwMode="auto">
            <a:xfrm>
              <a:off x="4081463" y="4538663"/>
              <a:ext cx="785813" cy="450850"/>
            </a:xfrm>
            <a:custGeom>
              <a:avLst/>
              <a:gdLst>
                <a:gd name="T0" fmla="*/ 0 w 495"/>
                <a:gd name="T1" fmla="*/ 274 h 284"/>
                <a:gd name="T2" fmla="*/ 17 w 495"/>
                <a:gd name="T3" fmla="*/ 284 h 284"/>
                <a:gd name="T4" fmla="*/ 495 w 495"/>
                <a:gd name="T5" fmla="*/ 8 h 284"/>
                <a:gd name="T6" fmla="*/ 478 w 495"/>
                <a:gd name="T7" fmla="*/ 0 h 284"/>
                <a:gd name="T8" fmla="*/ 0 w 495"/>
                <a:gd name="T9" fmla="*/ 27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4"/>
                  </a:moveTo>
                  <a:lnTo>
                    <a:pt x="17" y="284"/>
                  </a:lnTo>
                  <a:lnTo>
                    <a:pt x="495" y="8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5" name="i$ḻïḍè">
              <a:extLst>
                <a:ext uri="{FF2B5EF4-FFF2-40B4-BE49-F238E27FC236}">
                  <a16:creationId xmlns:a16="http://schemas.microsoft.com/office/drawing/2014/main" xmlns="" id="{7A85B819-1A88-42C0-B671-C2328854977F}"/>
                </a:ext>
              </a:extLst>
            </p:cNvPr>
            <p:cNvSpPr/>
            <p:nvPr userDrawn="1"/>
          </p:nvSpPr>
          <p:spPr bwMode="auto">
            <a:xfrm>
              <a:off x="4154488" y="4578351"/>
              <a:ext cx="781050" cy="450850"/>
            </a:xfrm>
            <a:custGeom>
              <a:avLst/>
              <a:gdLst>
                <a:gd name="T0" fmla="*/ 0 w 492"/>
                <a:gd name="T1" fmla="*/ 276 h 284"/>
                <a:gd name="T2" fmla="*/ 14 w 492"/>
                <a:gd name="T3" fmla="*/ 284 h 284"/>
                <a:gd name="T4" fmla="*/ 492 w 492"/>
                <a:gd name="T5" fmla="*/ 10 h 284"/>
                <a:gd name="T6" fmla="*/ 478 w 492"/>
                <a:gd name="T7" fmla="*/ 0 h 284"/>
                <a:gd name="T8" fmla="*/ 0 w 492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4">
                  <a:moveTo>
                    <a:pt x="0" y="276"/>
                  </a:moveTo>
                  <a:lnTo>
                    <a:pt x="14" y="284"/>
                  </a:lnTo>
                  <a:lnTo>
                    <a:pt x="492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6" name="ï$lïḍê">
              <a:extLst>
                <a:ext uri="{FF2B5EF4-FFF2-40B4-BE49-F238E27FC236}">
                  <a16:creationId xmlns:a16="http://schemas.microsoft.com/office/drawing/2014/main" xmlns="" id="{A4051E30-DBA7-4A04-8257-47C20CF97C7E}"/>
                </a:ext>
              </a:extLst>
            </p:cNvPr>
            <p:cNvSpPr/>
            <p:nvPr userDrawn="1"/>
          </p:nvSpPr>
          <p:spPr bwMode="auto">
            <a:xfrm>
              <a:off x="4295776" y="4848226"/>
              <a:ext cx="379413" cy="217488"/>
            </a:xfrm>
            <a:custGeom>
              <a:avLst/>
              <a:gdLst>
                <a:gd name="T0" fmla="*/ 0 w 239"/>
                <a:gd name="T1" fmla="*/ 129 h 137"/>
                <a:gd name="T2" fmla="*/ 15 w 239"/>
                <a:gd name="T3" fmla="*/ 137 h 137"/>
                <a:gd name="T4" fmla="*/ 239 w 239"/>
                <a:gd name="T5" fmla="*/ 8 h 137"/>
                <a:gd name="T6" fmla="*/ 225 w 239"/>
                <a:gd name="T7" fmla="*/ 0 h 137"/>
                <a:gd name="T8" fmla="*/ 0 w 239"/>
                <a:gd name="T9" fmla="*/ 12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9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5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7" name="iṡļïḋe">
              <a:extLst>
                <a:ext uri="{FF2B5EF4-FFF2-40B4-BE49-F238E27FC236}">
                  <a16:creationId xmlns:a16="http://schemas.microsoft.com/office/drawing/2014/main" xmlns="" id="{217D5261-1D05-42C3-A72A-3C46FF094ED1}"/>
                </a:ext>
              </a:extLst>
            </p:cNvPr>
            <p:cNvSpPr/>
            <p:nvPr userDrawn="1"/>
          </p:nvSpPr>
          <p:spPr bwMode="auto">
            <a:xfrm>
              <a:off x="4356101" y="4881563"/>
              <a:ext cx="379413" cy="220663"/>
            </a:xfrm>
            <a:custGeom>
              <a:avLst/>
              <a:gdLst>
                <a:gd name="T0" fmla="*/ 0 w 239"/>
                <a:gd name="T1" fmla="*/ 129 h 139"/>
                <a:gd name="T2" fmla="*/ 14 w 239"/>
                <a:gd name="T3" fmla="*/ 139 h 139"/>
                <a:gd name="T4" fmla="*/ 239 w 239"/>
                <a:gd name="T5" fmla="*/ 8 h 139"/>
                <a:gd name="T6" fmla="*/ 224 w 239"/>
                <a:gd name="T7" fmla="*/ 0 h 139"/>
                <a:gd name="T8" fmla="*/ 0 w 239"/>
                <a:gd name="T9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9">
                  <a:moveTo>
                    <a:pt x="0" y="129"/>
                  </a:moveTo>
                  <a:lnTo>
                    <a:pt x="14" y="139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8" name="ï$líḓé">
              <a:extLst>
                <a:ext uri="{FF2B5EF4-FFF2-40B4-BE49-F238E27FC236}">
                  <a16:creationId xmlns:a16="http://schemas.microsoft.com/office/drawing/2014/main" xmlns="" id="{268197A6-259C-4465-A889-9390731365A8}"/>
                </a:ext>
              </a:extLst>
            </p:cNvPr>
            <p:cNvSpPr/>
            <p:nvPr userDrawn="1"/>
          </p:nvSpPr>
          <p:spPr bwMode="auto">
            <a:xfrm>
              <a:off x="4414838" y="4918076"/>
              <a:ext cx="379413" cy="217488"/>
            </a:xfrm>
            <a:custGeom>
              <a:avLst/>
              <a:gdLst>
                <a:gd name="T0" fmla="*/ 0 w 239"/>
                <a:gd name="T1" fmla="*/ 128 h 137"/>
                <a:gd name="T2" fmla="*/ 15 w 239"/>
                <a:gd name="T3" fmla="*/ 137 h 137"/>
                <a:gd name="T4" fmla="*/ 239 w 239"/>
                <a:gd name="T5" fmla="*/ 8 h 137"/>
                <a:gd name="T6" fmla="*/ 224 w 239"/>
                <a:gd name="T7" fmla="*/ 0 h 137"/>
                <a:gd name="T8" fmla="*/ 0 w 239"/>
                <a:gd name="T9" fmla="*/ 12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8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9" name="ïşľíḑè">
              <a:extLst>
                <a:ext uri="{FF2B5EF4-FFF2-40B4-BE49-F238E27FC236}">
                  <a16:creationId xmlns:a16="http://schemas.microsoft.com/office/drawing/2014/main" xmlns="" id="{6EA84D29-E7CF-4FAA-8C17-E2508AB603C7}"/>
                </a:ext>
              </a:extLst>
            </p:cNvPr>
            <p:cNvSpPr/>
            <p:nvPr userDrawn="1"/>
          </p:nvSpPr>
          <p:spPr bwMode="auto">
            <a:xfrm>
              <a:off x="4464051" y="4943476"/>
              <a:ext cx="382588" cy="220663"/>
            </a:xfrm>
            <a:custGeom>
              <a:avLst/>
              <a:gdLst>
                <a:gd name="T0" fmla="*/ 0 w 241"/>
                <a:gd name="T1" fmla="*/ 131 h 139"/>
                <a:gd name="T2" fmla="*/ 17 w 241"/>
                <a:gd name="T3" fmla="*/ 139 h 139"/>
                <a:gd name="T4" fmla="*/ 241 w 241"/>
                <a:gd name="T5" fmla="*/ 11 h 139"/>
                <a:gd name="T6" fmla="*/ 225 w 241"/>
                <a:gd name="T7" fmla="*/ 0 h 139"/>
                <a:gd name="T8" fmla="*/ 0 w 241"/>
                <a:gd name="T9" fmla="*/ 13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0" y="131"/>
                  </a:moveTo>
                  <a:lnTo>
                    <a:pt x="17" y="139"/>
                  </a:lnTo>
                  <a:lnTo>
                    <a:pt x="241" y="11"/>
                  </a:lnTo>
                  <a:lnTo>
                    <a:pt x="225" y="0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0" name="iŝḻiḑê">
              <a:extLst>
                <a:ext uri="{FF2B5EF4-FFF2-40B4-BE49-F238E27FC236}">
                  <a16:creationId xmlns:a16="http://schemas.microsoft.com/office/drawing/2014/main" xmlns="" id="{BD42FB21-B526-4BA8-94D8-48A82A7472A3}"/>
                </a:ext>
              </a:extLst>
            </p:cNvPr>
            <p:cNvSpPr/>
            <p:nvPr userDrawn="1"/>
          </p:nvSpPr>
          <p:spPr bwMode="auto">
            <a:xfrm>
              <a:off x="3249613" y="4054476"/>
              <a:ext cx="2132013" cy="1231900"/>
            </a:xfrm>
            <a:custGeom>
              <a:avLst/>
              <a:gdLst>
                <a:gd name="T0" fmla="*/ 378 w 646"/>
                <a:gd name="T1" fmla="*/ 374 h 374"/>
                <a:gd name="T2" fmla="*/ 268 w 646"/>
                <a:gd name="T3" fmla="*/ 0 h 374"/>
                <a:gd name="T4" fmla="*/ 323 w 646"/>
                <a:gd name="T5" fmla="*/ 149 h 374"/>
                <a:gd name="T6" fmla="*/ 257 w 646"/>
                <a:gd name="T7" fmla="*/ 149 h 374"/>
                <a:gd name="T8" fmla="*/ 256 w 646"/>
                <a:gd name="T9" fmla="*/ 187 h 374"/>
                <a:gd name="T10" fmla="*/ 322 w 646"/>
                <a:gd name="T11" fmla="*/ 187 h 374"/>
                <a:gd name="T12" fmla="*/ 323 w 646"/>
                <a:gd name="T13" fmla="*/ 149 h 374"/>
                <a:gd name="T14" fmla="*/ 212 w 646"/>
                <a:gd name="T15" fmla="*/ 186 h 374"/>
                <a:gd name="T16" fmla="*/ 165 w 646"/>
                <a:gd name="T17" fmla="*/ 212 h 374"/>
                <a:gd name="T18" fmla="*/ 212 w 646"/>
                <a:gd name="T19" fmla="*/ 240 h 374"/>
                <a:gd name="T20" fmla="*/ 258 w 646"/>
                <a:gd name="T21" fmla="*/ 213 h 374"/>
                <a:gd name="T22" fmla="*/ 400 w 646"/>
                <a:gd name="T23" fmla="*/ 104 h 374"/>
                <a:gd name="T24" fmla="*/ 334 w 646"/>
                <a:gd name="T25" fmla="*/ 104 h 374"/>
                <a:gd name="T26" fmla="*/ 334 w 646"/>
                <a:gd name="T27" fmla="*/ 142 h 374"/>
                <a:gd name="T28" fmla="*/ 400 w 646"/>
                <a:gd name="T29" fmla="*/ 142 h 374"/>
                <a:gd name="T30" fmla="*/ 400 w 646"/>
                <a:gd name="T31" fmla="*/ 104 h 374"/>
                <a:gd name="T32" fmla="*/ 281 w 646"/>
                <a:gd name="T33" fmla="*/ 30 h 374"/>
                <a:gd name="T34" fmla="*/ 35 w 646"/>
                <a:gd name="T35" fmla="*/ 153 h 374"/>
                <a:gd name="T36" fmla="*/ 105 w 646"/>
                <a:gd name="T37" fmla="*/ 194 h 374"/>
                <a:gd name="T38" fmla="*/ 328 w 646"/>
                <a:gd name="T39" fmla="*/ 57 h 374"/>
                <a:gd name="T40" fmla="*/ 105 w 646"/>
                <a:gd name="T41" fmla="*/ 194 h 374"/>
                <a:gd name="T42" fmla="*/ 303 w 646"/>
                <a:gd name="T43" fmla="*/ 42 h 374"/>
                <a:gd name="T44" fmla="*/ 65 w 646"/>
                <a:gd name="T45" fmla="*/ 171 h 374"/>
                <a:gd name="T46" fmla="*/ 89 w 646"/>
                <a:gd name="T47" fmla="*/ 185 h 374"/>
                <a:gd name="T48" fmla="*/ 311 w 646"/>
                <a:gd name="T49" fmla="*/ 47 h 374"/>
                <a:gd name="T50" fmla="*/ 89 w 646"/>
                <a:gd name="T51" fmla="*/ 185 h 374"/>
                <a:gd name="T52" fmla="*/ 352 w 646"/>
                <a:gd name="T53" fmla="*/ 71 h 374"/>
                <a:gd name="T54" fmla="*/ 114 w 646"/>
                <a:gd name="T55" fmla="*/ 199 h 374"/>
                <a:gd name="T56" fmla="*/ 281 w 646"/>
                <a:gd name="T57" fmla="*/ 296 h 374"/>
                <a:gd name="T58" fmla="*/ 504 w 646"/>
                <a:gd name="T59" fmla="*/ 159 h 374"/>
                <a:gd name="T60" fmla="*/ 281 w 646"/>
                <a:gd name="T61" fmla="*/ 296 h 374"/>
                <a:gd name="T62" fmla="*/ 490 w 646"/>
                <a:gd name="T63" fmla="*/ 151 h 374"/>
                <a:gd name="T64" fmla="*/ 252 w 646"/>
                <a:gd name="T65" fmla="*/ 279 h 374"/>
                <a:gd name="T66" fmla="*/ 237 w 646"/>
                <a:gd name="T67" fmla="*/ 270 h 374"/>
                <a:gd name="T68" fmla="*/ 459 w 646"/>
                <a:gd name="T69" fmla="*/ 133 h 374"/>
                <a:gd name="T70" fmla="*/ 237 w 646"/>
                <a:gd name="T71" fmla="*/ 270 h 374"/>
                <a:gd name="T72" fmla="*/ 596 w 646"/>
                <a:gd name="T73" fmla="*/ 212 h 374"/>
                <a:gd name="T74" fmla="*/ 499 w 646"/>
                <a:gd name="T75" fmla="*/ 181 h 374"/>
                <a:gd name="T76" fmla="*/ 526 w 646"/>
                <a:gd name="T77" fmla="*/ 252 h 374"/>
                <a:gd name="T78" fmla="*/ 491 w 646"/>
                <a:gd name="T79" fmla="*/ 207 h 374"/>
                <a:gd name="T80" fmla="*/ 526 w 646"/>
                <a:gd name="T81" fmla="*/ 252 h 374"/>
                <a:gd name="T82" fmla="*/ 572 w 646"/>
                <a:gd name="T83" fmla="*/ 226 h 374"/>
                <a:gd name="T84" fmla="*/ 512 w 646"/>
                <a:gd name="T85" fmla="*/ 216 h 374"/>
                <a:gd name="T86" fmla="*/ 342 w 646"/>
                <a:gd name="T87" fmla="*/ 318 h 374"/>
                <a:gd name="T88" fmla="*/ 443 w 646"/>
                <a:gd name="T89" fmla="*/ 251 h 374"/>
                <a:gd name="T90" fmla="*/ 342 w 646"/>
                <a:gd name="T91" fmla="*/ 318 h 374"/>
                <a:gd name="T92" fmla="*/ 432 w 646"/>
                <a:gd name="T93" fmla="*/ 245 h 374"/>
                <a:gd name="T94" fmla="*/ 317 w 646"/>
                <a:gd name="T95" fmla="*/ 303 h 374"/>
                <a:gd name="T96" fmla="*/ 360 w 646"/>
                <a:gd name="T97" fmla="*/ 328 h 374"/>
                <a:gd name="T98" fmla="*/ 461 w 646"/>
                <a:gd name="T99" fmla="*/ 262 h 374"/>
                <a:gd name="T100" fmla="*/ 360 w 646"/>
                <a:gd name="T101" fmla="*/ 328 h 374"/>
                <a:gd name="T102" fmla="*/ 484 w 646"/>
                <a:gd name="T103" fmla="*/ 275 h 374"/>
                <a:gd name="T104" fmla="*/ 368 w 646"/>
                <a:gd name="T105" fmla="*/ 333 h 374"/>
                <a:gd name="T106" fmla="*/ 502 w 646"/>
                <a:gd name="T107" fmla="*/ 266 h 374"/>
                <a:gd name="T108" fmla="*/ 495 w 646"/>
                <a:gd name="T109" fmla="*/ 237 h 374"/>
                <a:gd name="T110" fmla="*/ 502 w 646"/>
                <a:gd name="T111" fmla="*/ 26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6" h="374">
                  <a:moveTo>
                    <a:pt x="646" y="219"/>
                  </a:moveTo>
                  <a:cubicBezTo>
                    <a:pt x="378" y="374"/>
                    <a:pt x="378" y="374"/>
                    <a:pt x="378" y="37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646" y="219"/>
                    <a:pt x="646" y="219"/>
                    <a:pt x="646" y="219"/>
                  </a:cubicBezTo>
                  <a:moveTo>
                    <a:pt x="323" y="149"/>
                  </a:moveTo>
                  <a:cubicBezTo>
                    <a:pt x="314" y="143"/>
                    <a:pt x="302" y="141"/>
                    <a:pt x="290" y="141"/>
                  </a:cubicBezTo>
                  <a:cubicBezTo>
                    <a:pt x="277" y="141"/>
                    <a:pt x="265" y="143"/>
                    <a:pt x="257" y="149"/>
                  </a:cubicBezTo>
                  <a:cubicBezTo>
                    <a:pt x="248" y="154"/>
                    <a:pt x="243" y="160"/>
                    <a:pt x="243" y="167"/>
                  </a:cubicBezTo>
                  <a:cubicBezTo>
                    <a:pt x="242" y="174"/>
                    <a:pt x="247" y="182"/>
                    <a:pt x="256" y="187"/>
                  </a:cubicBezTo>
                  <a:cubicBezTo>
                    <a:pt x="265" y="192"/>
                    <a:pt x="277" y="195"/>
                    <a:pt x="289" y="195"/>
                  </a:cubicBezTo>
                  <a:cubicBezTo>
                    <a:pt x="302" y="195"/>
                    <a:pt x="314" y="192"/>
                    <a:pt x="322" y="187"/>
                  </a:cubicBezTo>
                  <a:cubicBezTo>
                    <a:pt x="331" y="182"/>
                    <a:pt x="336" y="175"/>
                    <a:pt x="336" y="168"/>
                  </a:cubicBezTo>
                  <a:cubicBezTo>
                    <a:pt x="336" y="160"/>
                    <a:pt x="331" y="154"/>
                    <a:pt x="323" y="149"/>
                  </a:cubicBezTo>
                  <a:moveTo>
                    <a:pt x="245" y="193"/>
                  </a:moveTo>
                  <a:cubicBezTo>
                    <a:pt x="236" y="188"/>
                    <a:pt x="224" y="186"/>
                    <a:pt x="212" y="186"/>
                  </a:cubicBezTo>
                  <a:cubicBezTo>
                    <a:pt x="200" y="186"/>
                    <a:pt x="188" y="188"/>
                    <a:pt x="179" y="193"/>
                  </a:cubicBezTo>
                  <a:cubicBezTo>
                    <a:pt x="170" y="198"/>
                    <a:pt x="166" y="205"/>
                    <a:pt x="165" y="212"/>
                  </a:cubicBezTo>
                  <a:cubicBezTo>
                    <a:pt x="165" y="219"/>
                    <a:pt x="170" y="226"/>
                    <a:pt x="179" y="232"/>
                  </a:cubicBezTo>
                  <a:cubicBezTo>
                    <a:pt x="187" y="237"/>
                    <a:pt x="199" y="240"/>
                    <a:pt x="212" y="240"/>
                  </a:cubicBezTo>
                  <a:cubicBezTo>
                    <a:pt x="224" y="240"/>
                    <a:pt x="236" y="237"/>
                    <a:pt x="245" y="232"/>
                  </a:cubicBezTo>
                  <a:cubicBezTo>
                    <a:pt x="254" y="227"/>
                    <a:pt x="258" y="220"/>
                    <a:pt x="258" y="213"/>
                  </a:cubicBezTo>
                  <a:cubicBezTo>
                    <a:pt x="259" y="205"/>
                    <a:pt x="254" y="199"/>
                    <a:pt x="245" y="193"/>
                  </a:cubicBezTo>
                  <a:moveTo>
                    <a:pt x="400" y="104"/>
                  </a:moveTo>
                  <a:cubicBezTo>
                    <a:pt x="391" y="99"/>
                    <a:pt x="380" y="96"/>
                    <a:pt x="367" y="96"/>
                  </a:cubicBezTo>
                  <a:cubicBezTo>
                    <a:pt x="355" y="96"/>
                    <a:pt x="343" y="99"/>
                    <a:pt x="334" y="104"/>
                  </a:cubicBezTo>
                  <a:cubicBezTo>
                    <a:pt x="326" y="109"/>
                    <a:pt x="321" y="115"/>
                    <a:pt x="320" y="122"/>
                  </a:cubicBezTo>
                  <a:cubicBezTo>
                    <a:pt x="320" y="130"/>
                    <a:pt x="325" y="137"/>
                    <a:pt x="334" y="142"/>
                  </a:cubicBezTo>
                  <a:cubicBezTo>
                    <a:pt x="343" y="147"/>
                    <a:pt x="355" y="150"/>
                    <a:pt x="367" y="150"/>
                  </a:cubicBezTo>
                  <a:cubicBezTo>
                    <a:pt x="379" y="150"/>
                    <a:pt x="391" y="147"/>
                    <a:pt x="400" y="142"/>
                  </a:cubicBezTo>
                  <a:cubicBezTo>
                    <a:pt x="409" y="137"/>
                    <a:pt x="414" y="130"/>
                    <a:pt x="414" y="123"/>
                  </a:cubicBezTo>
                  <a:cubicBezTo>
                    <a:pt x="414" y="116"/>
                    <a:pt x="409" y="109"/>
                    <a:pt x="400" y="104"/>
                  </a:cubicBezTo>
                  <a:moveTo>
                    <a:pt x="52" y="163"/>
                  </a:moveTo>
                  <a:cubicBezTo>
                    <a:pt x="281" y="30"/>
                    <a:pt x="281" y="30"/>
                    <a:pt x="281" y="30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52" y="163"/>
                    <a:pt x="52" y="163"/>
                    <a:pt x="52" y="163"/>
                  </a:cubicBezTo>
                  <a:moveTo>
                    <a:pt x="105" y="194"/>
                  </a:moveTo>
                  <a:cubicBezTo>
                    <a:pt x="335" y="61"/>
                    <a:pt x="335" y="61"/>
                    <a:pt x="335" y="61"/>
                  </a:cubicBezTo>
                  <a:cubicBezTo>
                    <a:pt x="328" y="57"/>
                    <a:pt x="328" y="57"/>
                    <a:pt x="328" y="57"/>
                  </a:cubicBezTo>
                  <a:cubicBezTo>
                    <a:pt x="98" y="190"/>
                    <a:pt x="98" y="190"/>
                    <a:pt x="98" y="190"/>
                  </a:cubicBezTo>
                  <a:cubicBezTo>
                    <a:pt x="105" y="194"/>
                    <a:pt x="105" y="194"/>
                    <a:pt x="105" y="194"/>
                  </a:cubicBezTo>
                  <a:moveTo>
                    <a:pt x="73" y="175"/>
                  </a:moveTo>
                  <a:cubicBezTo>
                    <a:pt x="303" y="42"/>
                    <a:pt x="303" y="42"/>
                    <a:pt x="303" y="42"/>
                  </a:cubicBezTo>
                  <a:cubicBezTo>
                    <a:pt x="295" y="38"/>
                    <a:pt x="295" y="38"/>
                    <a:pt x="295" y="38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73" y="175"/>
                    <a:pt x="73" y="175"/>
                    <a:pt x="73" y="175"/>
                  </a:cubicBezTo>
                  <a:moveTo>
                    <a:pt x="89" y="185"/>
                  </a:moveTo>
                  <a:cubicBezTo>
                    <a:pt x="319" y="52"/>
                    <a:pt x="319" y="52"/>
                    <a:pt x="319" y="52"/>
                  </a:cubicBezTo>
                  <a:cubicBezTo>
                    <a:pt x="311" y="47"/>
                    <a:pt x="311" y="47"/>
                    <a:pt x="311" y="47"/>
                  </a:cubicBezTo>
                  <a:cubicBezTo>
                    <a:pt x="82" y="180"/>
                    <a:pt x="82" y="180"/>
                    <a:pt x="82" y="180"/>
                  </a:cubicBezTo>
                  <a:cubicBezTo>
                    <a:pt x="89" y="185"/>
                    <a:pt x="89" y="185"/>
                    <a:pt x="89" y="185"/>
                  </a:cubicBezTo>
                  <a:moveTo>
                    <a:pt x="122" y="204"/>
                  </a:moveTo>
                  <a:cubicBezTo>
                    <a:pt x="352" y="71"/>
                    <a:pt x="352" y="71"/>
                    <a:pt x="352" y="71"/>
                  </a:cubicBezTo>
                  <a:cubicBezTo>
                    <a:pt x="344" y="66"/>
                    <a:pt x="344" y="66"/>
                    <a:pt x="344" y="66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122" y="204"/>
                    <a:pt x="122" y="204"/>
                    <a:pt x="122" y="204"/>
                  </a:cubicBezTo>
                  <a:moveTo>
                    <a:pt x="281" y="296"/>
                  </a:moveTo>
                  <a:cubicBezTo>
                    <a:pt x="511" y="164"/>
                    <a:pt x="511" y="164"/>
                    <a:pt x="511" y="164"/>
                  </a:cubicBezTo>
                  <a:cubicBezTo>
                    <a:pt x="504" y="159"/>
                    <a:pt x="504" y="159"/>
                    <a:pt x="504" y="159"/>
                  </a:cubicBezTo>
                  <a:cubicBezTo>
                    <a:pt x="274" y="292"/>
                    <a:pt x="274" y="292"/>
                    <a:pt x="274" y="292"/>
                  </a:cubicBezTo>
                  <a:cubicBezTo>
                    <a:pt x="281" y="296"/>
                    <a:pt x="281" y="296"/>
                    <a:pt x="281" y="296"/>
                  </a:cubicBezTo>
                  <a:moveTo>
                    <a:pt x="260" y="284"/>
                  </a:moveTo>
                  <a:cubicBezTo>
                    <a:pt x="490" y="151"/>
                    <a:pt x="490" y="151"/>
                    <a:pt x="490" y="151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252" y="279"/>
                    <a:pt x="252" y="279"/>
                    <a:pt x="252" y="279"/>
                  </a:cubicBezTo>
                  <a:cubicBezTo>
                    <a:pt x="260" y="284"/>
                    <a:pt x="260" y="284"/>
                    <a:pt x="260" y="284"/>
                  </a:cubicBezTo>
                  <a:moveTo>
                    <a:pt x="237" y="270"/>
                  </a:moveTo>
                  <a:cubicBezTo>
                    <a:pt x="467" y="138"/>
                    <a:pt x="467" y="138"/>
                    <a:pt x="467" y="138"/>
                  </a:cubicBezTo>
                  <a:cubicBezTo>
                    <a:pt x="459" y="133"/>
                    <a:pt x="459" y="133"/>
                    <a:pt x="459" y="133"/>
                  </a:cubicBezTo>
                  <a:cubicBezTo>
                    <a:pt x="229" y="266"/>
                    <a:pt x="229" y="266"/>
                    <a:pt x="229" y="266"/>
                  </a:cubicBezTo>
                  <a:cubicBezTo>
                    <a:pt x="237" y="270"/>
                    <a:pt x="237" y="270"/>
                    <a:pt x="237" y="270"/>
                  </a:cubicBezTo>
                  <a:moveTo>
                    <a:pt x="574" y="225"/>
                  </a:moveTo>
                  <a:cubicBezTo>
                    <a:pt x="596" y="212"/>
                    <a:pt x="596" y="212"/>
                    <a:pt x="596" y="212"/>
                  </a:cubicBezTo>
                  <a:cubicBezTo>
                    <a:pt x="520" y="168"/>
                    <a:pt x="520" y="168"/>
                    <a:pt x="520" y="168"/>
                  </a:cubicBezTo>
                  <a:cubicBezTo>
                    <a:pt x="499" y="181"/>
                    <a:pt x="499" y="181"/>
                    <a:pt x="499" y="181"/>
                  </a:cubicBezTo>
                  <a:cubicBezTo>
                    <a:pt x="574" y="225"/>
                    <a:pt x="574" y="225"/>
                    <a:pt x="574" y="225"/>
                  </a:cubicBezTo>
                  <a:moveTo>
                    <a:pt x="526" y="252"/>
                  </a:moveTo>
                  <a:cubicBezTo>
                    <a:pt x="548" y="240"/>
                    <a:pt x="548" y="240"/>
                    <a:pt x="548" y="240"/>
                  </a:cubicBezTo>
                  <a:cubicBezTo>
                    <a:pt x="491" y="207"/>
                    <a:pt x="491" y="207"/>
                    <a:pt x="491" y="207"/>
                  </a:cubicBezTo>
                  <a:cubicBezTo>
                    <a:pt x="469" y="219"/>
                    <a:pt x="469" y="219"/>
                    <a:pt x="469" y="219"/>
                  </a:cubicBezTo>
                  <a:cubicBezTo>
                    <a:pt x="526" y="252"/>
                    <a:pt x="526" y="252"/>
                    <a:pt x="526" y="252"/>
                  </a:cubicBezTo>
                  <a:moveTo>
                    <a:pt x="550" y="239"/>
                  </a:moveTo>
                  <a:cubicBezTo>
                    <a:pt x="572" y="226"/>
                    <a:pt x="572" y="226"/>
                    <a:pt x="572" y="226"/>
                  </a:cubicBezTo>
                  <a:cubicBezTo>
                    <a:pt x="533" y="204"/>
                    <a:pt x="533" y="204"/>
                    <a:pt x="533" y="204"/>
                  </a:cubicBezTo>
                  <a:cubicBezTo>
                    <a:pt x="512" y="216"/>
                    <a:pt x="512" y="216"/>
                    <a:pt x="512" y="216"/>
                  </a:cubicBezTo>
                  <a:cubicBezTo>
                    <a:pt x="550" y="239"/>
                    <a:pt x="550" y="239"/>
                    <a:pt x="550" y="239"/>
                  </a:cubicBezTo>
                  <a:moveTo>
                    <a:pt x="342" y="318"/>
                  </a:moveTo>
                  <a:cubicBezTo>
                    <a:pt x="450" y="255"/>
                    <a:pt x="450" y="255"/>
                    <a:pt x="450" y="255"/>
                  </a:cubicBezTo>
                  <a:cubicBezTo>
                    <a:pt x="443" y="251"/>
                    <a:pt x="443" y="251"/>
                    <a:pt x="443" y="251"/>
                  </a:cubicBezTo>
                  <a:cubicBezTo>
                    <a:pt x="335" y="313"/>
                    <a:pt x="335" y="313"/>
                    <a:pt x="335" y="313"/>
                  </a:cubicBezTo>
                  <a:cubicBezTo>
                    <a:pt x="342" y="318"/>
                    <a:pt x="342" y="318"/>
                    <a:pt x="342" y="318"/>
                  </a:cubicBezTo>
                  <a:moveTo>
                    <a:pt x="324" y="307"/>
                  </a:moveTo>
                  <a:cubicBezTo>
                    <a:pt x="432" y="245"/>
                    <a:pt x="432" y="245"/>
                    <a:pt x="432" y="245"/>
                  </a:cubicBezTo>
                  <a:cubicBezTo>
                    <a:pt x="425" y="241"/>
                    <a:pt x="425" y="241"/>
                    <a:pt x="425" y="241"/>
                  </a:cubicBezTo>
                  <a:cubicBezTo>
                    <a:pt x="317" y="303"/>
                    <a:pt x="317" y="303"/>
                    <a:pt x="317" y="303"/>
                  </a:cubicBezTo>
                  <a:cubicBezTo>
                    <a:pt x="324" y="307"/>
                    <a:pt x="324" y="307"/>
                    <a:pt x="324" y="307"/>
                  </a:cubicBezTo>
                  <a:moveTo>
                    <a:pt x="360" y="328"/>
                  </a:moveTo>
                  <a:cubicBezTo>
                    <a:pt x="468" y="266"/>
                    <a:pt x="468" y="266"/>
                    <a:pt x="468" y="266"/>
                  </a:cubicBezTo>
                  <a:cubicBezTo>
                    <a:pt x="461" y="262"/>
                    <a:pt x="461" y="262"/>
                    <a:pt x="461" y="262"/>
                  </a:cubicBezTo>
                  <a:cubicBezTo>
                    <a:pt x="353" y="324"/>
                    <a:pt x="353" y="324"/>
                    <a:pt x="353" y="324"/>
                  </a:cubicBezTo>
                  <a:cubicBezTo>
                    <a:pt x="360" y="328"/>
                    <a:pt x="360" y="328"/>
                    <a:pt x="360" y="328"/>
                  </a:cubicBezTo>
                  <a:moveTo>
                    <a:pt x="376" y="337"/>
                  </a:moveTo>
                  <a:cubicBezTo>
                    <a:pt x="484" y="275"/>
                    <a:pt x="484" y="275"/>
                    <a:pt x="484" y="275"/>
                  </a:cubicBezTo>
                  <a:cubicBezTo>
                    <a:pt x="476" y="270"/>
                    <a:pt x="476" y="270"/>
                    <a:pt x="476" y="270"/>
                  </a:cubicBezTo>
                  <a:cubicBezTo>
                    <a:pt x="368" y="333"/>
                    <a:pt x="368" y="333"/>
                    <a:pt x="368" y="333"/>
                  </a:cubicBezTo>
                  <a:cubicBezTo>
                    <a:pt x="376" y="337"/>
                    <a:pt x="376" y="337"/>
                    <a:pt x="376" y="337"/>
                  </a:cubicBezTo>
                  <a:moveTo>
                    <a:pt x="502" y="266"/>
                  </a:moveTo>
                  <a:cubicBezTo>
                    <a:pt x="524" y="254"/>
                    <a:pt x="524" y="254"/>
                    <a:pt x="524" y="254"/>
                  </a:cubicBezTo>
                  <a:cubicBezTo>
                    <a:pt x="495" y="237"/>
                    <a:pt x="495" y="237"/>
                    <a:pt x="495" y="237"/>
                  </a:cubicBezTo>
                  <a:cubicBezTo>
                    <a:pt x="473" y="249"/>
                    <a:pt x="473" y="249"/>
                    <a:pt x="473" y="249"/>
                  </a:cubicBezTo>
                  <a:cubicBezTo>
                    <a:pt x="502" y="266"/>
                    <a:pt x="502" y="266"/>
                    <a:pt x="502" y="266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1" name="iśḷíḋe">
              <a:extLst>
                <a:ext uri="{FF2B5EF4-FFF2-40B4-BE49-F238E27FC236}">
                  <a16:creationId xmlns:a16="http://schemas.microsoft.com/office/drawing/2014/main" xmlns="" id="{A3E0E8A0-C930-4F76-9797-AC6BD1D758CB}"/>
                </a:ext>
              </a:extLst>
            </p:cNvPr>
            <p:cNvSpPr/>
            <p:nvPr userDrawn="1"/>
          </p:nvSpPr>
          <p:spPr bwMode="auto">
            <a:xfrm>
              <a:off x="4305301" y="4397376"/>
              <a:ext cx="69850" cy="123825"/>
            </a:xfrm>
            <a:custGeom>
              <a:avLst/>
              <a:gdLst>
                <a:gd name="T0" fmla="*/ 14 w 21"/>
                <a:gd name="T1" fmla="*/ 0 h 38"/>
                <a:gd name="T2" fmla="*/ 0 w 21"/>
                <a:gd name="T3" fmla="*/ 18 h 38"/>
                <a:gd name="T4" fmla="*/ 14 w 21"/>
                <a:gd name="T5" fmla="*/ 38 h 38"/>
                <a:gd name="T6" fmla="*/ 20 w 21"/>
                <a:gd name="T7" fmla="*/ 34 h 38"/>
                <a:gd name="T8" fmla="*/ 9 w 21"/>
                <a:gd name="T9" fmla="*/ 18 h 38"/>
                <a:gd name="T10" fmla="*/ 21 w 21"/>
                <a:gd name="T11" fmla="*/ 3 h 38"/>
                <a:gd name="T12" fmla="*/ 14 w 21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8">
                  <a:moveTo>
                    <a:pt x="14" y="0"/>
                  </a:moveTo>
                  <a:cubicBezTo>
                    <a:pt x="6" y="5"/>
                    <a:pt x="1" y="11"/>
                    <a:pt x="0" y="18"/>
                  </a:cubicBezTo>
                  <a:cubicBezTo>
                    <a:pt x="0" y="26"/>
                    <a:pt x="5" y="33"/>
                    <a:pt x="14" y="38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3" y="30"/>
                    <a:pt x="9" y="24"/>
                    <a:pt x="9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2" name="îŝḷíḍe">
              <a:extLst>
                <a:ext uri="{FF2B5EF4-FFF2-40B4-BE49-F238E27FC236}">
                  <a16:creationId xmlns:a16="http://schemas.microsoft.com/office/drawing/2014/main" xmlns="" id="{807DD1FB-498A-4EE2-B7E1-B879281816BE}"/>
                </a:ext>
              </a:extLst>
            </p:cNvPr>
            <p:cNvSpPr/>
            <p:nvPr userDrawn="1"/>
          </p:nvSpPr>
          <p:spPr bwMode="auto">
            <a:xfrm>
              <a:off x="4335463" y="4386263"/>
              <a:ext cx="250825" cy="146050"/>
            </a:xfrm>
            <a:custGeom>
              <a:avLst/>
              <a:gdLst>
                <a:gd name="T0" fmla="*/ 76 w 76"/>
                <a:gd name="T1" fmla="*/ 22 h 44"/>
                <a:gd name="T2" fmla="*/ 65 w 76"/>
                <a:gd name="T3" fmla="*/ 6 h 44"/>
                <a:gd name="T4" fmla="*/ 38 w 76"/>
                <a:gd name="T5" fmla="*/ 0 h 44"/>
                <a:gd name="T6" fmla="*/ 12 w 76"/>
                <a:gd name="T7" fmla="*/ 6 h 44"/>
                <a:gd name="T8" fmla="*/ 0 w 76"/>
                <a:gd name="T9" fmla="*/ 21 h 44"/>
                <a:gd name="T10" fmla="*/ 11 w 76"/>
                <a:gd name="T11" fmla="*/ 37 h 44"/>
                <a:gd name="T12" fmla="*/ 38 w 76"/>
                <a:gd name="T13" fmla="*/ 44 h 44"/>
                <a:gd name="T14" fmla="*/ 65 w 76"/>
                <a:gd name="T15" fmla="*/ 37 h 44"/>
                <a:gd name="T16" fmla="*/ 76 w 76"/>
                <a:gd name="T17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76" y="22"/>
                  </a:moveTo>
                  <a:cubicBezTo>
                    <a:pt x="76" y="16"/>
                    <a:pt x="72" y="11"/>
                    <a:pt x="65" y="6"/>
                  </a:cubicBezTo>
                  <a:cubicBezTo>
                    <a:pt x="58" y="2"/>
                    <a:pt x="48" y="0"/>
                    <a:pt x="38" y="0"/>
                  </a:cubicBezTo>
                  <a:cubicBezTo>
                    <a:pt x="28" y="0"/>
                    <a:pt x="19" y="2"/>
                    <a:pt x="12" y="6"/>
                  </a:cubicBezTo>
                  <a:cubicBezTo>
                    <a:pt x="5" y="10"/>
                    <a:pt x="1" y="16"/>
                    <a:pt x="0" y="21"/>
                  </a:cubicBezTo>
                  <a:cubicBezTo>
                    <a:pt x="0" y="27"/>
                    <a:pt x="4" y="33"/>
                    <a:pt x="11" y="37"/>
                  </a:cubicBezTo>
                  <a:cubicBezTo>
                    <a:pt x="18" y="41"/>
                    <a:pt x="28" y="44"/>
                    <a:pt x="38" y="44"/>
                  </a:cubicBezTo>
                  <a:cubicBezTo>
                    <a:pt x="48" y="44"/>
                    <a:pt x="58" y="41"/>
                    <a:pt x="65" y="37"/>
                  </a:cubicBezTo>
                  <a:cubicBezTo>
                    <a:pt x="72" y="33"/>
                    <a:pt x="76" y="28"/>
                    <a:pt x="76" y="22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3" name="ïs1îḋé">
              <a:extLst>
                <a:ext uri="{FF2B5EF4-FFF2-40B4-BE49-F238E27FC236}">
                  <a16:creationId xmlns:a16="http://schemas.microsoft.com/office/drawing/2014/main" xmlns="" id="{7F08CC01-B872-412E-99D6-2323B2958686}"/>
                </a:ext>
              </a:extLst>
            </p:cNvPr>
            <p:cNvSpPr/>
            <p:nvPr userDrawn="1"/>
          </p:nvSpPr>
          <p:spPr bwMode="auto">
            <a:xfrm>
              <a:off x="3463926" y="4178301"/>
              <a:ext cx="785813" cy="452438"/>
            </a:xfrm>
            <a:custGeom>
              <a:avLst/>
              <a:gdLst>
                <a:gd name="T0" fmla="*/ 0 w 495"/>
                <a:gd name="T1" fmla="*/ 277 h 285"/>
                <a:gd name="T2" fmla="*/ 17 w 495"/>
                <a:gd name="T3" fmla="*/ 285 h 285"/>
                <a:gd name="T4" fmla="*/ 495 w 495"/>
                <a:gd name="T5" fmla="*/ 9 h 285"/>
                <a:gd name="T6" fmla="*/ 478 w 495"/>
                <a:gd name="T7" fmla="*/ 0 h 285"/>
                <a:gd name="T8" fmla="*/ 0 w 495"/>
                <a:gd name="T9" fmla="*/ 27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5">
                  <a:moveTo>
                    <a:pt x="0" y="277"/>
                  </a:moveTo>
                  <a:lnTo>
                    <a:pt x="17" y="285"/>
                  </a:lnTo>
                  <a:lnTo>
                    <a:pt x="495" y="9"/>
                  </a:lnTo>
                  <a:lnTo>
                    <a:pt x="478" y="0"/>
                  </a:lnTo>
                  <a:lnTo>
                    <a:pt x="0" y="27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4" name="íṣľídè">
              <a:extLst>
                <a:ext uri="{FF2B5EF4-FFF2-40B4-BE49-F238E27FC236}">
                  <a16:creationId xmlns:a16="http://schemas.microsoft.com/office/drawing/2014/main" xmlns="" id="{4A299C80-69F4-4054-8421-2EB6E9031B3C}"/>
                </a:ext>
              </a:extLst>
            </p:cNvPr>
            <p:cNvSpPr/>
            <p:nvPr userDrawn="1"/>
          </p:nvSpPr>
          <p:spPr bwMode="auto">
            <a:xfrm>
              <a:off x="3794126" y="4689476"/>
              <a:ext cx="311150" cy="155575"/>
            </a:xfrm>
            <a:custGeom>
              <a:avLst/>
              <a:gdLst>
                <a:gd name="T0" fmla="*/ 14 w 94"/>
                <a:gd name="T1" fmla="*/ 0 h 47"/>
                <a:gd name="T2" fmla="*/ 0 w 94"/>
                <a:gd name="T3" fmla="*/ 19 h 47"/>
                <a:gd name="T4" fmla="*/ 14 w 94"/>
                <a:gd name="T5" fmla="*/ 39 h 47"/>
                <a:gd name="T6" fmla="*/ 47 w 94"/>
                <a:gd name="T7" fmla="*/ 47 h 47"/>
                <a:gd name="T8" fmla="*/ 80 w 94"/>
                <a:gd name="T9" fmla="*/ 39 h 47"/>
                <a:gd name="T10" fmla="*/ 93 w 94"/>
                <a:gd name="T11" fmla="*/ 20 h 47"/>
                <a:gd name="T12" fmla="*/ 80 w 94"/>
                <a:gd name="T13" fmla="*/ 0 h 47"/>
                <a:gd name="T14" fmla="*/ 74 w 94"/>
                <a:gd name="T15" fmla="*/ 4 h 47"/>
                <a:gd name="T16" fmla="*/ 85 w 94"/>
                <a:gd name="T17" fmla="*/ 20 h 47"/>
                <a:gd name="T18" fmla="*/ 73 w 94"/>
                <a:gd name="T19" fmla="*/ 35 h 47"/>
                <a:gd name="T20" fmla="*/ 47 w 94"/>
                <a:gd name="T21" fmla="*/ 41 h 47"/>
                <a:gd name="T22" fmla="*/ 20 w 94"/>
                <a:gd name="T23" fmla="*/ 35 h 47"/>
                <a:gd name="T24" fmla="*/ 9 w 94"/>
                <a:gd name="T25" fmla="*/ 19 h 47"/>
                <a:gd name="T26" fmla="*/ 20 w 94"/>
                <a:gd name="T27" fmla="*/ 4 h 47"/>
                <a:gd name="T28" fmla="*/ 14 w 94"/>
                <a:gd name="T2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47">
                  <a:moveTo>
                    <a:pt x="14" y="0"/>
                  </a:moveTo>
                  <a:cubicBezTo>
                    <a:pt x="5" y="5"/>
                    <a:pt x="1" y="12"/>
                    <a:pt x="0" y="19"/>
                  </a:cubicBezTo>
                  <a:cubicBezTo>
                    <a:pt x="0" y="26"/>
                    <a:pt x="5" y="33"/>
                    <a:pt x="14" y="39"/>
                  </a:cubicBezTo>
                  <a:cubicBezTo>
                    <a:pt x="22" y="44"/>
                    <a:pt x="34" y="47"/>
                    <a:pt x="47" y="47"/>
                  </a:cubicBezTo>
                  <a:cubicBezTo>
                    <a:pt x="59" y="47"/>
                    <a:pt x="71" y="44"/>
                    <a:pt x="80" y="39"/>
                  </a:cubicBezTo>
                  <a:cubicBezTo>
                    <a:pt x="89" y="34"/>
                    <a:pt x="93" y="27"/>
                    <a:pt x="93" y="20"/>
                  </a:cubicBezTo>
                  <a:cubicBezTo>
                    <a:pt x="94" y="12"/>
                    <a:pt x="89" y="6"/>
                    <a:pt x="80" y="0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81" y="8"/>
                    <a:pt x="85" y="14"/>
                    <a:pt x="85" y="20"/>
                  </a:cubicBezTo>
                  <a:cubicBezTo>
                    <a:pt x="85" y="25"/>
                    <a:pt x="81" y="31"/>
                    <a:pt x="73" y="35"/>
                  </a:cubicBezTo>
                  <a:cubicBezTo>
                    <a:pt x="66" y="39"/>
                    <a:pt x="57" y="41"/>
                    <a:pt x="47" y="41"/>
                  </a:cubicBezTo>
                  <a:cubicBezTo>
                    <a:pt x="37" y="41"/>
                    <a:pt x="27" y="39"/>
                    <a:pt x="20" y="35"/>
                  </a:cubicBezTo>
                  <a:cubicBezTo>
                    <a:pt x="13" y="31"/>
                    <a:pt x="9" y="25"/>
                    <a:pt x="9" y="19"/>
                  </a:cubicBezTo>
                  <a:cubicBezTo>
                    <a:pt x="9" y="13"/>
                    <a:pt x="13" y="8"/>
                    <a:pt x="20" y="4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5" name="iṥļïḑé">
              <a:extLst>
                <a:ext uri="{FF2B5EF4-FFF2-40B4-BE49-F238E27FC236}">
                  <a16:creationId xmlns:a16="http://schemas.microsoft.com/office/drawing/2014/main" xmlns="" id="{BEBA7879-D6A3-4AF2-968C-9CA72B8EF510}"/>
                </a:ext>
              </a:extLst>
            </p:cNvPr>
            <p:cNvSpPr/>
            <p:nvPr userDrawn="1"/>
          </p:nvSpPr>
          <p:spPr bwMode="auto">
            <a:xfrm>
              <a:off x="4797426" y="4735513"/>
              <a:ext cx="260350" cy="149225"/>
            </a:xfrm>
            <a:custGeom>
              <a:avLst/>
              <a:gdLst>
                <a:gd name="T0" fmla="*/ 0 w 164"/>
                <a:gd name="T1" fmla="*/ 25 h 94"/>
                <a:gd name="T2" fmla="*/ 119 w 164"/>
                <a:gd name="T3" fmla="*/ 94 h 94"/>
                <a:gd name="T4" fmla="*/ 164 w 164"/>
                <a:gd name="T5" fmla="*/ 69 h 94"/>
                <a:gd name="T6" fmla="*/ 46 w 164"/>
                <a:gd name="T7" fmla="*/ 0 h 94"/>
                <a:gd name="T8" fmla="*/ 0 w 164"/>
                <a:gd name="T9" fmla="*/ 2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94">
                  <a:moveTo>
                    <a:pt x="0" y="25"/>
                  </a:moveTo>
                  <a:lnTo>
                    <a:pt x="119" y="94"/>
                  </a:lnTo>
                  <a:lnTo>
                    <a:pt x="164" y="69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6" name="işḷîḓê">
              <a:extLst>
                <a:ext uri="{FF2B5EF4-FFF2-40B4-BE49-F238E27FC236}">
                  <a16:creationId xmlns:a16="http://schemas.microsoft.com/office/drawing/2014/main" xmlns="" id="{31E28CC9-AA8A-4B6C-9C22-BAD98C4E58A0}"/>
                </a:ext>
              </a:extLst>
            </p:cNvPr>
            <p:cNvSpPr/>
            <p:nvPr userDrawn="1"/>
          </p:nvSpPr>
          <p:spPr bwMode="auto">
            <a:xfrm>
              <a:off x="4005263" y="4492626"/>
              <a:ext cx="785813" cy="450850"/>
            </a:xfrm>
            <a:custGeom>
              <a:avLst/>
              <a:gdLst>
                <a:gd name="T0" fmla="*/ 0 w 495"/>
                <a:gd name="T1" fmla="*/ 276 h 284"/>
                <a:gd name="T2" fmla="*/ 17 w 495"/>
                <a:gd name="T3" fmla="*/ 284 h 284"/>
                <a:gd name="T4" fmla="*/ 495 w 495"/>
                <a:gd name="T5" fmla="*/ 10 h 284"/>
                <a:gd name="T6" fmla="*/ 478 w 495"/>
                <a:gd name="T7" fmla="*/ 0 h 284"/>
                <a:gd name="T8" fmla="*/ 0 w 495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6"/>
                  </a:moveTo>
                  <a:lnTo>
                    <a:pt x="17" y="284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7" name="íṣ1íḓe">
              <a:extLst>
                <a:ext uri="{FF2B5EF4-FFF2-40B4-BE49-F238E27FC236}">
                  <a16:creationId xmlns:a16="http://schemas.microsoft.com/office/drawing/2014/main" xmlns="" id="{E2D797C3-362A-4E56-9EF8-BFFFEB2286DA}"/>
                </a:ext>
              </a:extLst>
            </p:cNvPr>
            <p:cNvSpPr/>
            <p:nvPr userDrawn="1"/>
          </p:nvSpPr>
          <p:spPr bwMode="auto">
            <a:xfrm>
              <a:off x="4203701" y="3414713"/>
              <a:ext cx="1122363" cy="800100"/>
            </a:xfrm>
            <a:custGeom>
              <a:avLst/>
              <a:gdLst>
                <a:gd name="T0" fmla="*/ 82 w 340"/>
                <a:gd name="T1" fmla="*/ 0 h 243"/>
                <a:gd name="T2" fmla="*/ 0 w 340"/>
                <a:gd name="T3" fmla="*/ 45 h 243"/>
                <a:gd name="T4" fmla="*/ 32 w 340"/>
                <a:gd name="T5" fmla="*/ 79 h 243"/>
                <a:gd name="T6" fmla="*/ 18 w 340"/>
                <a:gd name="T7" fmla="*/ 102 h 243"/>
                <a:gd name="T8" fmla="*/ 340 w 340"/>
                <a:gd name="T9" fmla="*/ 243 h 243"/>
                <a:gd name="T10" fmla="*/ 89 w 340"/>
                <a:gd name="T11" fmla="*/ 98 h 243"/>
                <a:gd name="T12" fmla="*/ 83 w 340"/>
                <a:gd name="T13" fmla="*/ 87 h 243"/>
                <a:gd name="T14" fmla="*/ 82 w 340"/>
                <a:gd name="T1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0" h="243">
                  <a:moveTo>
                    <a:pt x="82" y="0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20" y="54"/>
                    <a:pt x="32" y="66"/>
                    <a:pt x="32" y="79"/>
                  </a:cubicBezTo>
                  <a:cubicBezTo>
                    <a:pt x="32" y="87"/>
                    <a:pt x="27" y="95"/>
                    <a:pt x="18" y="102"/>
                  </a:cubicBezTo>
                  <a:cubicBezTo>
                    <a:pt x="340" y="243"/>
                    <a:pt x="340" y="243"/>
                    <a:pt x="340" y="243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5" y="95"/>
                    <a:pt x="83" y="91"/>
                    <a:pt x="83" y="87"/>
                  </a:cubicBezTo>
                  <a:cubicBezTo>
                    <a:pt x="82" y="0"/>
                    <a:pt x="82" y="0"/>
                    <a:pt x="82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8" name="îṡľíḑè">
              <a:extLst>
                <a:ext uri="{FF2B5EF4-FFF2-40B4-BE49-F238E27FC236}">
                  <a16:creationId xmlns:a16="http://schemas.microsoft.com/office/drawing/2014/main" xmlns="" id="{7CABDAAD-02ED-4BAC-82BA-CD19053FD87B}"/>
                </a:ext>
              </a:extLst>
            </p:cNvPr>
            <p:cNvSpPr/>
            <p:nvPr userDrawn="1"/>
          </p:nvSpPr>
          <p:spPr bwMode="auto">
            <a:xfrm>
              <a:off x="6292851" y="2686051"/>
              <a:ext cx="709613" cy="288925"/>
            </a:xfrm>
            <a:custGeom>
              <a:avLst/>
              <a:gdLst>
                <a:gd name="T0" fmla="*/ 107 w 215"/>
                <a:gd name="T1" fmla="*/ 0 h 88"/>
                <a:gd name="T2" fmla="*/ 0 w 215"/>
                <a:gd name="T3" fmla="*/ 44 h 88"/>
                <a:gd name="T4" fmla="*/ 0 w 215"/>
                <a:gd name="T5" fmla="*/ 49 h 88"/>
                <a:gd name="T6" fmla="*/ 60 w 215"/>
                <a:gd name="T7" fmla="*/ 83 h 88"/>
                <a:gd name="T8" fmla="*/ 107 w 215"/>
                <a:gd name="T9" fmla="*/ 88 h 88"/>
                <a:gd name="T10" fmla="*/ 215 w 215"/>
                <a:gd name="T11" fmla="*/ 44 h 88"/>
                <a:gd name="T12" fmla="*/ 107 w 215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88">
                  <a:moveTo>
                    <a:pt x="107" y="0"/>
                  </a:moveTo>
                  <a:cubicBezTo>
                    <a:pt x="48" y="0"/>
                    <a:pt x="0" y="19"/>
                    <a:pt x="0" y="44"/>
                  </a:cubicBezTo>
                  <a:cubicBezTo>
                    <a:pt x="0" y="45"/>
                    <a:pt x="0" y="47"/>
                    <a:pt x="0" y="49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74" y="86"/>
                    <a:pt x="90" y="88"/>
                    <a:pt x="107" y="88"/>
                  </a:cubicBezTo>
                  <a:cubicBezTo>
                    <a:pt x="166" y="88"/>
                    <a:pt x="215" y="68"/>
                    <a:pt x="215" y="44"/>
                  </a:cubicBezTo>
                  <a:cubicBezTo>
                    <a:pt x="215" y="19"/>
                    <a:pt x="166" y="0"/>
                    <a:pt x="107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9" name="íŝľiḓê">
              <a:extLst>
                <a:ext uri="{FF2B5EF4-FFF2-40B4-BE49-F238E27FC236}">
                  <a16:creationId xmlns:a16="http://schemas.microsoft.com/office/drawing/2014/main" xmlns="" id="{9D221679-CE36-4DD3-B953-0821C4E69C63}"/>
                </a:ext>
              </a:extLst>
            </p:cNvPr>
            <p:cNvSpPr/>
            <p:nvPr userDrawn="1"/>
          </p:nvSpPr>
          <p:spPr bwMode="auto">
            <a:xfrm>
              <a:off x="3506788" y="3509963"/>
              <a:ext cx="755650" cy="328613"/>
            </a:xfrm>
            <a:custGeom>
              <a:avLst/>
              <a:gdLst>
                <a:gd name="T0" fmla="*/ 122 w 229"/>
                <a:gd name="T1" fmla="*/ 0 h 100"/>
                <a:gd name="T2" fmla="*/ 0 w 229"/>
                <a:gd name="T3" fmla="*/ 50 h 100"/>
                <a:gd name="T4" fmla="*/ 122 w 229"/>
                <a:gd name="T5" fmla="*/ 100 h 100"/>
                <a:gd name="T6" fmla="*/ 229 w 229"/>
                <a:gd name="T7" fmla="*/ 73 h 100"/>
                <a:gd name="T8" fmla="*/ 161 w 229"/>
                <a:gd name="T9" fmla="*/ 44 h 100"/>
                <a:gd name="T10" fmla="*/ 211 w 229"/>
                <a:gd name="T11" fmla="*/ 16 h 100"/>
                <a:gd name="T12" fmla="*/ 122 w 229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0">
                  <a:moveTo>
                    <a:pt x="122" y="0"/>
                  </a:moveTo>
                  <a:cubicBezTo>
                    <a:pt x="54" y="0"/>
                    <a:pt x="0" y="22"/>
                    <a:pt x="0" y="50"/>
                  </a:cubicBezTo>
                  <a:cubicBezTo>
                    <a:pt x="0" y="77"/>
                    <a:pt x="54" y="100"/>
                    <a:pt x="122" y="100"/>
                  </a:cubicBezTo>
                  <a:cubicBezTo>
                    <a:pt x="168" y="100"/>
                    <a:pt x="208" y="89"/>
                    <a:pt x="229" y="73"/>
                  </a:cubicBezTo>
                  <a:cubicBezTo>
                    <a:pt x="161" y="44"/>
                    <a:pt x="161" y="44"/>
                    <a:pt x="161" y="44"/>
                  </a:cubicBezTo>
                  <a:cubicBezTo>
                    <a:pt x="211" y="16"/>
                    <a:pt x="211" y="16"/>
                    <a:pt x="211" y="16"/>
                  </a:cubicBezTo>
                  <a:cubicBezTo>
                    <a:pt x="189" y="6"/>
                    <a:pt x="157" y="0"/>
                    <a:pt x="122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0" name="íṧlíḋé">
              <a:extLst>
                <a:ext uri="{FF2B5EF4-FFF2-40B4-BE49-F238E27FC236}">
                  <a16:creationId xmlns:a16="http://schemas.microsoft.com/office/drawing/2014/main" xmlns="" id="{AE4AAB5C-A04A-450B-A64E-EBB59CA4D07B}"/>
                </a:ext>
              </a:extLst>
            </p:cNvPr>
            <p:cNvSpPr/>
            <p:nvPr userDrawn="1"/>
          </p:nvSpPr>
          <p:spPr bwMode="auto">
            <a:xfrm>
              <a:off x="4038601" y="3562351"/>
              <a:ext cx="269875" cy="187325"/>
            </a:xfrm>
            <a:custGeom>
              <a:avLst/>
              <a:gdLst>
                <a:gd name="T0" fmla="*/ 50 w 82"/>
                <a:gd name="T1" fmla="*/ 0 h 57"/>
                <a:gd name="T2" fmla="*/ 0 w 82"/>
                <a:gd name="T3" fmla="*/ 28 h 57"/>
                <a:gd name="T4" fmla="*/ 68 w 82"/>
                <a:gd name="T5" fmla="*/ 57 h 57"/>
                <a:gd name="T6" fmla="*/ 82 w 82"/>
                <a:gd name="T7" fmla="*/ 34 h 57"/>
                <a:gd name="T8" fmla="*/ 50 w 82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7">
                  <a:moveTo>
                    <a:pt x="5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77" y="50"/>
                    <a:pt x="82" y="42"/>
                    <a:pt x="82" y="34"/>
                  </a:cubicBezTo>
                  <a:cubicBezTo>
                    <a:pt x="82" y="21"/>
                    <a:pt x="70" y="9"/>
                    <a:pt x="50" y="0"/>
                  </a:cubicBezTo>
                </a:path>
              </a:pathLst>
            </a:custGeom>
            <a:solidFill>
              <a:srgbClr val="8A9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1" name="íš1iḍè">
              <a:extLst>
                <a:ext uri="{FF2B5EF4-FFF2-40B4-BE49-F238E27FC236}">
                  <a16:creationId xmlns:a16="http://schemas.microsoft.com/office/drawing/2014/main" xmlns="" id="{C82EB3BC-D25D-480F-AAFB-4252D3576372}"/>
                </a:ext>
              </a:extLst>
            </p:cNvPr>
            <p:cNvSpPr/>
            <p:nvPr userDrawn="1"/>
          </p:nvSpPr>
          <p:spPr bwMode="auto">
            <a:xfrm>
              <a:off x="3797301" y="3136901"/>
              <a:ext cx="495300" cy="673100"/>
            </a:xfrm>
            <a:custGeom>
              <a:avLst/>
              <a:gdLst>
                <a:gd name="T0" fmla="*/ 99 w 150"/>
                <a:gd name="T1" fmla="*/ 0 h 204"/>
                <a:gd name="T2" fmla="*/ 0 w 150"/>
                <a:gd name="T3" fmla="*/ 33 h 204"/>
                <a:gd name="T4" fmla="*/ 0 w 150"/>
                <a:gd name="T5" fmla="*/ 158 h 204"/>
                <a:gd name="T6" fmla="*/ 75 w 150"/>
                <a:gd name="T7" fmla="*/ 204 h 204"/>
                <a:gd name="T8" fmla="*/ 150 w 150"/>
                <a:gd name="T9" fmla="*/ 158 h 204"/>
                <a:gd name="T10" fmla="*/ 150 w 150"/>
                <a:gd name="T11" fmla="*/ 33 h 204"/>
                <a:gd name="T12" fmla="*/ 99 w 150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4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3" y="204"/>
                    <a:pt x="75" y="204"/>
                  </a:cubicBezTo>
                  <a:cubicBezTo>
                    <a:pt x="116" y="204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2" name="i$lídé">
              <a:extLst>
                <a:ext uri="{FF2B5EF4-FFF2-40B4-BE49-F238E27FC236}">
                  <a16:creationId xmlns:a16="http://schemas.microsoft.com/office/drawing/2014/main" xmlns="" id="{8B50FA07-9DB1-4356-92A5-613F89CF8079}"/>
                </a:ext>
              </a:extLst>
            </p:cNvPr>
            <p:cNvSpPr/>
            <p:nvPr userDrawn="1"/>
          </p:nvSpPr>
          <p:spPr bwMode="auto">
            <a:xfrm>
              <a:off x="3797301" y="3097213"/>
              <a:ext cx="495300" cy="300038"/>
            </a:xfrm>
            <a:prstGeom prst="ellipse">
              <a:avLst/>
            </a:prstGeom>
            <a:solidFill>
              <a:srgbClr val="D3B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3" name="îsḻíḓé">
              <a:extLst>
                <a:ext uri="{FF2B5EF4-FFF2-40B4-BE49-F238E27FC236}">
                  <a16:creationId xmlns:a16="http://schemas.microsoft.com/office/drawing/2014/main" xmlns="" id="{FD015441-8CC1-4479-A6A9-A571B9D73F5D}"/>
                </a:ext>
              </a:extLst>
            </p:cNvPr>
            <p:cNvSpPr/>
            <p:nvPr userDrawn="1"/>
          </p:nvSpPr>
          <p:spPr bwMode="auto">
            <a:xfrm>
              <a:off x="3827463" y="3167063"/>
              <a:ext cx="431800" cy="230188"/>
            </a:xfrm>
            <a:custGeom>
              <a:avLst/>
              <a:gdLst>
                <a:gd name="T0" fmla="*/ 2 w 131"/>
                <a:gd name="T1" fmla="*/ 48 h 70"/>
                <a:gd name="T2" fmla="*/ 66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6 w 131"/>
                <a:gd name="T9" fmla="*/ 0 h 70"/>
                <a:gd name="T10" fmla="*/ 0 w 131"/>
                <a:gd name="T11" fmla="*/ 40 h 70"/>
                <a:gd name="T12" fmla="*/ 2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2" y="48"/>
                  </a:moveTo>
                  <a:cubicBezTo>
                    <a:pt x="15" y="61"/>
                    <a:pt x="39" y="70"/>
                    <a:pt x="66" y="70"/>
                  </a:cubicBezTo>
                  <a:cubicBezTo>
                    <a:pt x="93" y="70"/>
                    <a:pt x="116" y="61"/>
                    <a:pt x="129" y="48"/>
                  </a:cubicBezTo>
                  <a:cubicBezTo>
                    <a:pt x="130" y="46"/>
                    <a:pt x="131" y="43"/>
                    <a:pt x="131" y="40"/>
                  </a:cubicBezTo>
                  <a:cubicBezTo>
                    <a:pt x="131" y="18"/>
                    <a:pt x="102" y="0"/>
                    <a:pt x="66" y="0"/>
                  </a:cubicBezTo>
                  <a:cubicBezTo>
                    <a:pt x="30" y="0"/>
                    <a:pt x="0" y="18"/>
                    <a:pt x="0" y="40"/>
                  </a:cubicBezTo>
                  <a:cubicBezTo>
                    <a:pt x="0" y="43"/>
                    <a:pt x="1" y="46"/>
                    <a:pt x="2" y="48"/>
                  </a:cubicBezTo>
                  <a:close/>
                </a:path>
              </a:pathLst>
            </a:custGeom>
            <a:solidFill>
              <a:srgbClr val="752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4" name="ïŝḻiḍê">
              <a:extLst>
                <a:ext uri="{FF2B5EF4-FFF2-40B4-BE49-F238E27FC236}">
                  <a16:creationId xmlns:a16="http://schemas.microsoft.com/office/drawing/2014/main" xmlns="" id="{FB74E8ED-299B-4CB0-8A9E-717326063BE8}"/>
                </a:ext>
              </a:extLst>
            </p:cNvPr>
            <p:cNvSpPr/>
            <p:nvPr userDrawn="1"/>
          </p:nvSpPr>
          <p:spPr bwMode="auto">
            <a:xfrm>
              <a:off x="3797301" y="3097213"/>
              <a:ext cx="495300" cy="300038"/>
            </a:xfrm>
            <a:custGeom>
              <a:avLst/>
              <a:gdLst>
                <a:gd name="T0" fmla="*/ 75 w 150"/>
                <a:gd name="T1" fmla="*/ 5 h 91"/>
                <a:gd name="T2" fmla="*/ 144 w 150"/>
                <a:gd name="T3" fmla="*/ 45 h 91"/>
                <a:gd name="T4" fmla="*/ 75 w 150"/>
                <a:gd name="T5" fmla="*/ 86 h 91"/>
                <a:gd name="T6" fmla="*/ 5 w 150"/>
                <a:gd name="T7" fmla="*/ 45 h 91"/>
                <a:gd name="T8" fmla="*/ 75 w 150"/>
                <a:gd name="T9" fmla="*/ 5 h 91"/>
                <a:gd name="T10" fmla="*/ 75 w 150"/>
                <a:gd name="T11" fmla="*/ 0 h 91"/>
                <a:gd name="T12" fmla="*/ 0 w 150"/>
                <a:gd name="T13" fmla="*/ 45 h 91"/>
                <a:gd name="T14" fmla="*/ 75 w 150"/>
                <a:gd name="T15" fmla="*/ 91 h 91"/>
                <a:gd name="T16" fmla="*/ 150 w 150"/>
                <a:gd name="T17" fmla="*/ 45 h 91"/>
                <a:gd name="T18" fmla="*/ 75 w 15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1">
                  <a:moveTo>
                    <a:pt x="75" y="5"/>
                  </a:moveTo>
                  <a:cubicBezTo>
                    <a:pt x="112" y="5"/>
                    <a:pt x="144" y="23"/>
                    <a:pt x="144" y="45"/>
                  </a:cubicBezTo>
                  <a:cubicBezTo>
                    <a:pt x="144" y="67"/>
                    <a:pt x="112" y="86"/>
                    <a:pt x="75" y="86"/>
                  </a:cubicBezTo>
                  <a:cubicBezTo>
                    <a:pt x="37" y="86"/>
                    <a:pt x="5" y="67"/>
                    <a:pt x="5" y="45"/>
                  </a:cubicBezTo>
                  <a:cubicBezTo>
                    <a:pt x="5" y="23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3" y="0"/>
                    <a:pt x="0" y="20"/>
                    <a:pt x="0" y="45"/>
                  </a:cubicBezTo>
                  <a:cubicBezTo>
                    <a:pt x="0" y="71"/>
                    <a:pt x="33" y="91"/>
                    <a:pt x="75" y="91"/>
                  </a:cubicBezTo>
                  <a:cubicBezTo>
                    <a:pt x="116" y="91"/>
                    <a:pt x="150" y="71"/>
                    <a:pt x="150" y="45"/>
                  </a:cubicBezTo>
                  <a:cubicBezTo>
                    <a:pt x="150" y="20"/>
                    <a:pt x="116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5" name="išlïde">
              <a:extLst>
                <a:ext uri="{FF2B5EF4-FFF2-40B4-BE49-F238E27FC236}">
                  <a16:creationId xmlns:a16="http://schemas.microsoft.com/office/drawing/2014/main" xmlns="" id="{80EAC2D9-C4D4-44F9-95B1-29087AA378F5}"/>
                </a:ext>
              </a:extLst>
            </p:cNvPr>
            <p:cNvSpPr/>
            <p:nvPr userDrawn="1"/>
          </p:nvSpPr>
          <p:spPr bwMode="auto">
            <a:xfrm>
              <a:off x="3929063" y="2552701"/>
              <a:ext cx="323850" cy="657225"/>
            </a:xfrm>
            <a:custGeom>
              <a:avLst/>
              <a:gdLst>
                <a:gd name="T0" fmla="*/ 98 w 98"/>
                <a:gd name="T1" fmla="*/ 0 h 199"/>
                <a:gd name="T2" fmla="*/ 92 w 98"/>
                <a:gd name="T3" fmla="*/ 43 h 199"/>
                <a:gd name="T4" fmla="*/ 92 w 98"/>
                <a:gd name="T5" fmla="*/ 93 h 199"/>
                <a:gd name="T6" fmla="*/ 87 w 98"/>
                <a:gd name="T7" fmla="*/ 149 h 199"/>
                <a:gd name="T8" fmla="*/ 54 w 98"/>
                <a:gd name="T9" fmla="*/ 193 h 199"/>
                <a:gd name="T10" fmla="*/ 27 w 98"/>
                <a:gd name="T11" fmla="*/ 194 h 199"/>
                <a:gd name="T12" fmla="*/ 19 w 98"/>
                <a:gd name="T13" fmla="*/ 185 h 199"/>
                <a:gd name="T14" fmla="*/ 31 w 98"/>
                <a:gd name="T15" fmla="*/ 86 h 199"/>
                <a:gd name="T16" fmla="*/ 98 w 98"/>
                <a:gd name="T17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199">
                  <a:moveTo>
                    <a:pt x="98" y="0"/>
                  </a:moveTo>
                  <a:cubicBezTo>
                    <a:pt x="92" y="13"/>
                    <a:pt x="92" y="29"/>
                    <a:pt x="92" y="43"/>
                  </a:cubicBezTo>
                  <a:cubicBezTo>
                    <a:pt x="92" y="60"/>
                    <a:pt x="92" y="76"/>
                    <a:pt x="92" y="93"/>
                  </a:cubicBezTo>
                  <a:cubicBezTo>
                    <a:pt x="92" y="112"/>
                    <a:pt x="92" y="131"/>
                    <a:pt x="87" y="149"/>
                  </a:cubicBezTo>
                  <a:cubicBezTo>
                    <a:pt x="82" y="167"/>
                    <a:pt x="71" y="185"/>
                    <a:pt x="54" y="193"/>
                  </a:cubicBezTo>
                  <a:cubicBezTo>
                    <a:pt x="46" y="197"/>
                    <a:pt x="35" y="199"/>
                    <a:pt x="27" y="194"/>
                  </a:cubicBezTo>
                  <a:cubicBezTo>
                    <a:pt x="24" y="192"/>
                    <a:pt x="21" y="188"/>
                    <a:pt x="19" y="185"/>
                  </a:cubicBezTo>
                  <a:cubicBezTo>
                    <a:pt x="0" y="155"/>
                    <a:pt x="17" y="115"/>
                    <a:pt x="31" y="86"/>
                  </a:cubicBezTo>
                  <a:cubicBezTo>
                    <a:pt x="47" y="53"/>
                    <a:pt x="70" y="23"/>
                    <a:pt x="98" y="0"/>
                  </a:cubicBezTo>
                  <a:close/>
                </a:path>
              </a:pathLst>
            </a:custGeom>
            <a:solidFill>
              <a:srgbClr val="1A68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6" name="îşlíďê">
              <a:extLst>
                <a:ext uri="{FF2B5EF4-FFF2-40B4-BE49-F238E27FC236}">
                  <a16:creationId xmlns:a16="http://schemas.microsoft.com/office/drawing/2014/main" xmlns="" id="{716EFBD0-E6F7-4A64-BB1D-C638BA4F95D7}"/>
                </a:ext>
              </a:extLst>
            </p:cNvPr>
            <p:cNvSpPr/>
            <p:nvPr userDrawn="1"/>
          </p:nvSpPr>
          <p:spPr bwMode="auto">
            <a:xfrm>
              <a:off x="3729038" y="2322513"/>
              <a:ext cx="646113" cy="1049338"/>
            </a:xfrm>
            <a:custGeom>
              <a:avLst/>
              <a:gdLst>
                <a:gd name="T0" fmla="*/ 17 w 196"/>
                <a:gd name="T1" fmla="*/ 206 h 318"/>
                <a:gd name="T2" fmla="*/ 0 w 196"/>
                <a:gd name="T3" fmla="*/ 21 h 318"/>
                <a:gd name="T4" fmla="*/ 55 w 196"/>
                <a:gd name="T5" fmla="*/ 203 h 318"/>
                <a:gd name="T6" fmla="*/ 82 w 196"/>
                <a:gd name="T7" fmla="*/ 72 h 318"/>
                <a:gd name="T8" fmla="*/ 95 w 196"/>
                <a:gd name="T9" fmla="*/ 0 h 318"/>
                <a:gd name="T10" fmla="*/ 110 w 196"/>
                <a:gd name="T11" fmla="*/ 72 h 318"/>
                <a:gd name="T12" fmla="*/ 117 w 196"/>
                <a:gd name="T13" fmla="*/ 122 h 318"/>
                <a:gd name="T14" fmla="*/ 121 w 196"/>
                <a:gd name="T15" fmla="*/ 195 h 318"/>
                <a:gd name="T16" fmla="*/ 196 w 196"/>
                <a:gd name="T17" fmla="*/ 49 h 318"/>
                <a:gd name="T18" fmla="*/ 165 w 196"/>
                <a:gd name="T19" fmla="*/ 247 h 318"/>
                <a:gd name="T20" fmla="*/ 69 w 196"/>
                <a:gd name="T21" fmla="*/ 308 h 318"/>
                <a:gd name="T22" fmla="*/ 17 w 196"/>
                <a:gd name="T23" fmla="*/ 206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318">
                  <a:moveTo>
                    <a:pt x="17" y="206"/>
                  </a:moveTo>
                  <a:cubicBezTo>
                    <a:pt x="12" y="144"/>
                    <a:pt x="15" y="81"/>
                    <a:pt x="0" y="21"/>
                  </a:cubicBezTo>
                  <a:cubicBezTo>
                    <a:pt x="42" y="71"/>
                    <a:pt x="62" y="139"/>
                    <a:pt x="55" y="203"/>
                  </a:cubicBezTo>
                  <a:cubicBezTo>
                    <a:pt x="69" y="161"/>
                    <a:pt x="82" y="117"/>
                    <a:pt x="82" y="72"/>
                  </a:cubicBezTo>
                  <a:cubicBezTo>
                    <a:pt x="82" y="51"/>
                    <a:pt x="95" y="0"/>
                    <a:pt x="95" y="0"/>
                  </a:cubicBezTo>
                  <a:cubicBezTo>
                    <a:pt x="95" y="0"/>
                    <a:pt x="103" y="48"/>
                    <a:pt x="110" y="72"/>
                  </a:cubicBezTo>
                  <a:cubicBezTo>
                    <a:pt x="115" y="88"/>
                    <a:pt x="116" y="105"/>
                    <a:pt x="117" y="122"/>
                  </a:cubicBezTo>
                  <a:cubicBezTo>
                    <a:pt x="118" y="146"/>
                    <a:pt x="120" y="171"/>
                    <a:pt x="121" y="195"/>
                  </a:cubicBezTo>
                  <a:cubicBezTo>
                    <a:pt x="142" y="134"/>
                    <a:pt x="196" y="49"/>
                    <a:pt x="196" y="49"/>
                  </a:cubicBezTo>
                  <a:cubicBezTo>
                    <a:pt x="196" y="49"/>
                    <a:pt x="176" y="210"/>
                    <a:pt x="165" y="247"/>
                  </a:cubicBezTo>
                  <a:cubicBezTo>
                    <a:pt x="153" y="289"/>
                    <a:pt x="114" y="318"/>
                    <a:pt x="69" y="308"/>
                  </a:cubicBezTo>
                  <a:cubicBezTo>
                    <a:pt x="28" y="299"/>
                    <a:pt x="20" y="240"/>
                    <a:pt x="17" y="206"/>
                  </a:cubicBezTo>
                  <a:close/>
                </a:path>
              </a:pathLst>
            </a:custGeom>
            <a:solidFill>
              <a:srgbClr val="409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7" name="ïṣḻiḋè">
              <a:extLst>
                <a:ext uri="{FF2B5EF4-FFF2-40B4-BE49-F238E27FC236}">
                  <a16:creationId xmlns:a16="http://schemas.microsoft.com/office/drawing/2014/main" xmlns="" id="{F8A27832-B9D0-4E22-8CA2-48B8E7D85879}"/>
                </a:ext>
              </a:extLst>
            </p:cNvPr>
            <p:cNvSpPr/>
            <p:nvPr userDrawn="1"/>
          </p:nvSpPr>
          <p:spPr bwMode="auto">
            <a:xfrm>
              <a:off x="3860801" y="2668588"/>
              <a:ext cx="266700" cy="692150"/>
            </a:xfrm>
            <a:custGeom>
              <a:avLst/>
              <a:gdLst>
                <a:gd name="T0" fmla="*/ 9 w 81"/>
                <a:gd name="T1" fmla="*/ 162 h 210"/>
                <a:gd name="T2" fmla="*/ 14 w 81"/>
                <a:gd name="T3" fmla="*/ 88 h 210"/>
                <a:gd name="T4" fmla="*/ 16 w 81"/>
                <a:gd name="T5" fmla="*/ 0 h 210"/>
                <a:gd name="T6" fmla="*/ 73 w 81"/>
                <a:gd name="T7" fmla="*/ 139 h 210"/>
                <a:gd name="T8" fmla="*/ 77 w 81"/>
                <a:gd name="T9" fmla="*/ 177 h 210"/>
                <a:gd name="T10" fmla="*/ 38 w 81"/>
                <a:gd name="T11" fmla="*/ 206 h 210"/>
                <a:gd name="T12" fmla="*/ 9 w 81"/>
                <a:gd name="T13" fmla="*/ 1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210">
                  <a:moveTo>
                    <a:pt x="9" y="162"/>
                  </a:moveTo>
                  <a:cubicBezTo>
                    <a:pt x="0" y="139"/>
                    <a:pt x="8" y="113"/>
                    <a:pt x="14" y="88"/>
                  </a:cubicBezTo>
                  <a:cubicBezTo>
                    <a:pt x="20" y="59"/>
                    <a:pt x="22" y="29"/>
                    <a:pt x="16" y="0"/>
                  </a:cubicBezTo>
                  <a:cubicBezTo>
                    <a:pt x="38" y="45"/>
                    <a:pt x="56" y="92"/>
                    <a:pt x="73" y="139"/>
                  </a:cubicBezTo>
                  <a:cubicBezTo>
                    <a:pt x="77" y="152"/>
                    <a:pt x="81" y="165"/>
                    <a:pt x="77" y="177"/>
                  </a:cubicBezTo>
                  <a:cubicBezTo>
                    <a:pt x="73" y="189"/>
                    <a:pt x="52" y="210"/>
                    <a:pt x="38" y="206"/>
                  </a:cubicBezTo>
                  <a:cubicBezTo>
                    <a:pt x="27" y="203"/>
                    <a:pt x="13" y="172"/>
                    <a:pt x="9" y="162"/>
                  </a:cubicBezTo>
                  <a:close/>
                </a:path>
              </a:pathLst>
            </a:custGeom>
            <a:solidFill>
              <a:srgbClr val="4EAF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8" name="iSļïḍé">
              <a:extLst>
                <a:ext uri="{FF2B5EF4-FFF2-40B4-BE49-F238E27FC236}">
                  <a16:creationId xmlns:a16="http://schemas.microsoft.com/office/drawing/2014/main" xmlns="" id="{0F61E907-2F3F-411F-B2FA-790691AB6891}"/>
                </a:ext>
              </a:extLst>
            </p:cNvPr>
            <p:cNvSpPr/>
            <p:nvPr userDrawn="1"/>
          </p:nvSpPr>
          <p:spPr bwMode="auto">
            <a:xfrm>
              <a:off x="6510338" y="2257426"/>
              <a:ext cx="495300" cy="668338"/>
            </a:xfrm>
            <a:custGeom>
              <a:avLst/>
              <a:gdLst>
                <a:gd name="T0" fmla="*/ 99 w 150"/>
                <a:gd name="T1" fmla="*/ 0 h 203"/>
                <a:gd name="T2" fmla="*/ 0 w 150"/>
                <a:gd name="T3" fmla="*/ 33 h 203"/>
                <a:gd name="T4" fmla="*/ 0 w 150"/>
                <a:gd name="T5" fmla="*/ 158 h 203"/>
                <a:gd name="T6" fmla="*/ 75 w 150"/>
                <a:gd name="T7" fmla="*/ 203 h 203"/>
                <a:gd name="T8" fmla="*/ 150 w 150"/>
                <a:gd name="T9" fmla="*/ 158 h 203"/>
                <a:gd name="T10" fmla="*/ 150 w 150"/>
                <a:gd name="T11" fmla="*/ 33 h 203"/>
                <a:gd name="T12" fmla="*/ 99 w 150"/>
                <a:gd name="T13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3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4" y="203"/>
                    <a:pt x="75" y="203"/>
                  </a:cubicBezTo>
                  <a:cubicBezTo>
                    <a:pt x="117" y="203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9" name="ïS1îḑé">
              <a:extLst>
                <a:ext uri="{FF2B5EF4-FFF2-40B4-BE49-F238E27FC236}">
                  <a16:creationId xmlns:a16="http://schemas.microsoft.com/office/drawing/2014/main" xmlns="" id="{BCB4DE63-03F8-40D7-ADB7-CFBE9DABFFBD}"/>
                </a:ext>
              </a:extLst>
            </p:cNvPr>
            <p:cNvSpPr/>
            <p:nvPr userDrawn="1"/>
          </p:nvSpPr>
          <p:spPr bwMode="auto">
            <a:xfrm>
              <a:off x="6510338" y="2214563"/>
              <a:ext cx="495300" cy="303213"/>
            </a:xfrm>
            <a:prstGeom prst="ellipse">
              <a:avLst/>
            </a:pr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0" name="ï$ľíďé">
              <a:extLst>
                <a:ext uri="{FF2B5EF4-FFF2-40B4-BE49-F238E27FC236}">
                  <a16:creationId xmlns:a16="http://schemas.microsoft.com/office/drawing/2014/main" xmlns="" id="{47675CC9-3A09-44FB-9C8D-FB905C5F9FF9}"/>
                </a:ext>
              </a:extLst>
            </p:cNvPr>
            <p:cNvSpPr/>
            <p:nvPr userDrawn="1"/>
          </p:nvSpPr>
          <p:spPr bwMode="auto">
            <a:xfrm>
              <a:off x="6543676" y="2286001"/>
              <a:ext cx="431800" cy="231775"/>
            </a:xfrm>
            <a:custGeom>
              <a:avLst/>
              <a:gdLst>
                <a:gd name="T0" fmla="*/ 1 w 131"/>
                <a:gd name="T1" fmla="*/ 48 h 70"/>
                <a:gd name="T2" fmla="*/ 65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5 w 131"/>
                <a:gd name="T9" fmla="*/ 0 h 70"/>
                <a:gd name="T10" fmla="*/ 0 w 131"/>
                <a:gd name="T11" fmla="*/ 40 h 70"/>
                <a:gd name="T12" fmla="*/ 1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1" y="48"/>
                  </a:moveTo>
                  <a:cubicBezTo>
                    <a:pt x="15" y="61"/>
                    <a:pt x="38" y="70"/>
                    <a:pt x="65" y="70"/>
                  </a:cubicBezTo>
                  <a:cubicBezTo>
                    <a:pt x="92" y="70"/>
                    <a:pt x="116" y="61"/>
                    <a:pt x="129" y="48"/>
                  </a:cubicBezTo>
                  <a:cubicBezTo>
                    <a:pt x="130" y="45"/>
                    <a:pt x="131" y="42"/>
                    <a:pt x="131" y="40"/>
                  </a:cubicBezTo>
                  <a:cubicBezTo>
                    <a:pt x="131" y="18"/>
                    <a:pt x="101" y="0"/>
                    <a:pt x="65" y="0"/>
                  </a:cubicBezTo>
                  <a:cubicBezTo>
                    <a:pt x="29" y="0"/>
                    <a:pt x="0" y="18"/>
                    <a:pt x="0" y="40"/>
                  </a:cubicBezTo>
                  <a:cubicBezTo>
                    <a:pt x="0" y="42"/>
                    <a:pt x="0" y="45"/>
                    <a:pt x="1" y="48"/>
                  </a:cubicBezTo>
                  <a:close/>
                </a:path>
              </a:pathLst>
            </a:custGeom>
            <a:solidFill>
              <a:srgbClr val="A04A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1" name="i$1íḓe">
              <a:extLst>
                <a:ext uri="{FF2B5EF4-FFF2-40B4-BE49-F238E27FC236}">
                  <a16:creationId xmlns:a16="http://schemas.microsoft.com/office/drawing/2014/main" xmlns="" id="{2EF07F6D-9FA4-4A90-B8C9-F871F1C7D577}"/>
                </a:ext>
              </a:extLst>
            </p:cNvPr>
            <p:cNvSpPr/>
            <p:nvPr userDrawn="1"/>
          </p:nvSpPr>
          <p:spPr bwMode="auto">
            <a:xfrm>
              <a:off x="6510338" y="2214563"/>
              <a:ext cx="495300" cy="303213"/>
            </a:xfrm>
            <a:custGeom>
              <a:avLst/>
              <a:gdLst>
                <a:gd name="T0" fmla="*/ 75 w 150"/>
                <a:gd name="T1" fmla="*/ 5 h 92"/>
                <a:gd name="T2" fmla="*/ 145 w 150"/>
                <a:gd name="T3" fmla="*/ 46 h 92"/>
                <a:gd name="T4" fmla="*/ 75 w 150"/>
                <a:gd name="T5" fmla="*/ 86 h 92"/>
                <a:gd name="T6" fmla="*/ 5 w 150"/>
                <a:gd name="T7" fmla="*/ 46 h 92"/>
                <a:gd name="T8" fmla="*/ 75 w 150"/>
                <a:gd name="T9" fmla="*/ 5 h 92"/>
                <a:gd name="T10" fmla="*/ 75 w 150"/>
                <a:gd name="T11" fmla="*/ 0 h 92"/>
                <a:gd name="T12" fmla="*/ 0 w 150"/>
                <a:gd name="T13" fmla="*/ 46 h 92"/>
                <a:gd name="T14" fmla="*/ 75 w 150"/>
                <a:gd name="T15" fmla="*/ 92 h 92"/>
                <a:gd name="T16" fmla="*/ 150 w 150"/>
                <a:gd name="T17" fmla="*/ 46 h 92"/>
                <a:gd name="T18" fmla="*/ 75 w 150"/>
                <a:gd name="T1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2">
                  <a:moveTo>
                    <a:pt x="75" y="5"/>
                  </a:moveTo>
                  <a:cubicBezTo>
                    <a:pt x="113" y="5"/>
                    <a:pt x="145" y="24"/>
                    <a:pt x="145" y="46"/>
                  </a:cubicBezTo>
                  <a:cubicBezTo>
                    <a:pt x="145" y="68"/>
                    <a:pt x="113" y="86"/>
                    <a:pt x="75" y="86"/>
                  </a:cubicBezTo>
                  <a:cubicBezTo>
                    <a:pt x="37" y="86"/>
                    <a:pt x="5" y="68"/>
                    <a:pt x="5" y="46"/>
                  </a:cubicBezTo>
                  <a:cubicBezTo>
                    <a:pt x="5" y="24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4" y="0"/>
                    <a:pt x="0" y="21"/>
                    <a:pt x="0" y="46"/>
                  </a:cubicBezTo>
                  <a:cubicBezTo>
                    <a:pt x="0" y="71"/>
                    <a:pt x="34" y="92"/>
                    <a:pt x="75" y="92"/>
                  </a:cubicBezTo>
                  <a:cubicBezTo>
                    <a:pt x="117" y="92"/>
                    <a:pt x="150" y="71"/>
                    <a:pt x="150" y="46"/>
                  </a:cubicBezTo>
                  <a:cubicBezTo>
                    <a:pt x="150" y="21"/>
                    <a:pt x="117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2" name="íśliḑe">
              <a:extLst>
                <a:ext uri="{FF2B5EF4-FFF2-40B4-BE49-F238E27FC236}">
                  <a16:creationId xmlns:a16="http://schemas.microsoft.com/office/drawing/2014/main" xmlns="" id="{5B5565FE-2010-4EA9-887D-D8ABC03A1B2F}"/>
                </a:ext>
              </a:extLst>
            </p:cNvPr>
            <p:cNvSpPr/>
            <p:nvPr userDrawn="1"/>
          </p:nvSpPr>
          <p:spPr bwMode="auto">
            <a:xfrm>
              <a:off x="6919913" y="2527301"/>
              <a:ext cx="144463" cy="296863"/>
            </a:xfrm>
            <a:custGeom>
              <a:avLst/>
              <a:gdLst>
                <a:gd name="T0" fmla="*/ 12 w 44"/>
                <a:gd name="T1" fmla="*/ 0 h 90"/>
                <a:gd name="T2" fmla="*/ 11 w 44"/>
                <a:gd name="T3" fmla="*/ 0 h 90"/>
                <a:gd name="T4" fmla="*/ 11 w 44"/>
                <a:gd name="T5" fmla="*/ 1 h 90"/>
                <a:gd name="T6" fmla="*/ 10 w 44"/>
                <a:gd name="T7" fmla="*/ 1 h 90"/>
                <a:gd name="T8" fmla="*/ 10 w 44"/>
                <a:gd name="T9" fmla="*/ 1 h 90"/>
                <a:gd name="T10" fmla="*/ 9 w 44"/>
                <a:gd name="T11" fmla="*/ 2 h 90"/>
                <a:gd name="T12" fmla="*/ 8 w 44"/>
                <a:gd name="T13" fmla="*/ 2 h 90"/>
                <a:gd name="T14" fmla="*/ 8 w 44"/>
                <a:gd name="T15" fmla="*/ 3 h 90"/>
                <a:gd name="T16" fmla="*/ 7 w 44"/>
                <a:gd name="T17" fmla="*/ 3 h 90"/>
                <a:gd name="T18" fmla="*/ 6 w 44"/>
                <a:gd name="T19" fmla="*/ 3 h 90"/>
                <a:gd name="T20" fmla="*/ 6 w 44"/>
                <a:gd name="T21" fmla="*/ 4 h 90"/>
                <a:gd name="T22" fmla="*/ 5 w 44"/>
                <a:gd name="T23" fmla="*/ 4 h 90"/>
                <a:gd name="T24" fmla="*/ 5 w 44"/>
                <a:gd name="T25" fmla="*/ 4 h 90"/>
                <a:gd name="T26" fmla="*/ 4 w 44"/>
                <a:gd name="T27" fmla="*/ 5 h 90"/>
                <a:gd name="T28" fmla="*/ 3 w 44"/>
                <a:gd name="T29" fmla="*/ 5 h 90"/>
                <a:gd name="T30" fmla="*/ 3 w 44"/>
                <a:gd name="T31" fmla="*/ 5 h 90"/>
                <a:gd name="T32" fmla="*/ 2 w 44"/>
                <a:gd name="T33" fmla="*/ 6 h 90"/>
                <a:gd name="T34" fmla="*/ 1 w 44"/>
                <a:gd name="T35" fmla="*/ 6 h 90"/>
                <a:gd name="T36" fmla="*/ 1 w 44"/>
                <a:gd name="T37" fmla="*/ 6 h 90"/>
                <a:gd name="T38" fmla="*/ 0 w 44"/>
                <a:gd name="T39" fmla="*/ 7 h 90"/>
                <a:gd name="T40" fmla="*/ 13 w 44"/>
                <a:gd name="T41" fmla="*/ 72 h 90"/>
                <a:gd name="T42" fmla="*/ 12 w 44"/>
                <a:gd name="T43" fmla="*/ 72 h 90"/>
                <a:gd name="T44" fmla="*/ 11 w 44"/>
                <a:gd name="T45" fmla="*/ 72 h 90"/>
                <a:gd name="T46" fmla="*/ 11 w 44"/>
                <a:gd name="T47" fmla="*/ 73 h 90"/>
                <a:gd name="T48" fmla="*/ 10 w 44"/>
                <a:gd name="T49" fmla="*/ 73 h 90"/>
                <a:gd name="T50" fmla="*/ 9 w 44"/>
                <a:gd name="T51" fmla="*/ 73 h 90"/>
                <a:gd name="T52" fmla="*/ 9 w 44"/>
                <a:gd name="T53" fmla="*/ 74 h 90"/>
                <a:gd name="T54" fmla="*/ 8 w 44"/>
                <a:gd name="T55" fmla="*/ 74 h 90"/>
                <a:gd name="T56" fmla="*/ 8 w 44"/>
                <a:gd name="T57" fmla="*/ 74 h 90"/>
                <a:gd name="T58" fmla="*/ 7 w 44"/>
                <a:gd name="T59" fmla="*/ 75 h 90"/>
                <a:gd name="T60" fmla="*/ 6 w 44"/>
                <a:gd name="T61" fmla="*/ 75 h 90"/>
                <a:gd name="T62" fmla="*/ 6 w 44"/>
                <a:gd name="T63" fmla="*/ 75 h 90"/>
                <a:gd name="T64" fmla="*/ 5 w 44"/>
                <a:gd name="T65" fmla="*/ 76 h 90"/>
                <a:gd name="T66" fmla="*/ 4 w 44"/>
                <a:gd name="T67" fmla="*/ 76 h 90"/>
                <a:gd name="T68" fmla="*/ 4 w 44"/>
                <a:gd name="T69" fmla="*/ 76 h 90"/>
                <a:gd name="T70" fmla="*/ 3 w 44"/>
                <a:gd name="T71" fmla="*/ 77 h 90"/>
                <a:gd name="T72" fmla="*/ 3 w 44"/>
                <a:gd name="T73" fmla="*/ 77 h 90"/>
                <a:gd name="T74" fmla="*/ 2 w 44"/>
                <a:gd name="T75" fmla="*/ 77 h 90"/>
                <a:gd name="T76" fmla="*/ 1 w 44"/>
                <a:gd name="T77" fmla="*/ 78 h 90"/>
                <a:gd name="T78" fmla="*/ 1 w 44"/>
                <a:gd name="T79" fmla="*/ 78 h 90"/>
                <a:gd name="T80" fmla="*/ 0 w 44"/>
                <a:gd name="T81" fmla="*/ 79 h 90"/>
                <a:gd name="T82" fmla="*/ 15 w 44"/>
                <a:gd name="T83" fmla="*/ 85 h 90"/>
                <a:gd name="T84" fmla="*/ 16 w 44"/>
                <a:gd name="T85" fmla="*/ 85 h 90"/>
                <a:gd name="T86" fmla="*/ 17 w 44"/>
                <a:gd name="T87" fmla="*/ 85 h 90"/>
                <a:gd name="T88" fmla="*/ 17 w 44"/>
                <a:gd name="T89" fmla="*/ 84 h 90"/>
                <a:gd name="T90" fmla="*/ 18 w 44"/>
                <a:gd name="T91" fmla="*/ 84 h 90"/>
                <a:gd name="T92" fmla="*/ 19 w 44"/>
                <a:gd name="T93" fmla="*/ 84 h 90"/>
                <a:gd name="T94" fmla="*/ 19 w 44"/>
                <a:gd name="T95" fmla="*/ 83 h 90"/>
                <a:gd name="T96" fmla="*/ 20 w 44"/>
                <a:gd name="T97" fmla="*/ 83 h 90"/>
                <a:gd name="T98" fmla="*/ 20 w 44"/>
                <a:gd name="T99" fmla="*/ 83 h 90"/>
                <a:gd name="T100" fmla="*/ 21 w 44"/>
                <a:gd name="T101" fmla="*/ 82 h 90"/>
                <a:gd name="T102" fmla="*/ 22 w 44"/>
                <a:gd name="T103" fmla="*/ 82 h 90"/>
                <a:gd name="T104" fmla="*/ 22 w 44"/>
                <a:gd name="T105" fmla="*/ 81 h 90"/>
                <a:gd name="T106" fmla="*/ 23 w 44"/>
                <a:gd name="T107" fmla="*/ 81 h 90"/>
                <a:gd name="T108" fmla="*/ 24 w 44"/>
                <a:gd name="T109" fmla="*/ 81 h 90"/>
                <a:gd name="T110" fmla="*/ 24 w 44"/>
                <a:gd name="T111" fmla="*/ 80 h 90"/>
                <a:gd name="T112" fmla="*/ 25 w 44"/>
                <a:gd name="T113" fmla="*/ 80 h 90"/>
                <a:gd name="T114" fmla="*/ 25 w 44"/>
                <a:gd name="T115" fmla="*/ 80 h 90"/>
                <a:gd name="T116" fmla="*/ 26 w 44"/>
                <a:gd name="T117" fmla="*/ 79 h 90"/>
                <a:gd name="T118" fmla="*/ 27 w 44"/>
                <a:gd name="T119" fmla="*/ 79 h 90"/>
                <a:gd name="T120" fmla="*/ 27 w 44"/>
                <a:gd name="T121" fmla="*/ 79 h 90"/>
                <a:gd name="T122" fmla="*/ 28 w 44"/>
                <a:gd name="T123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" h="90">
                  <a:moveTo>
                    <a:pt x="15" y="1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2" y="28"/>
                    <a:pt x="20" y="43"/>
                    <a:pt x="20" y="58"/>
                  </a:cubicBezTo>
                  <a:cubicBezTo>
                    <a:pt x="20" y="63"/>
                    <a:pt x="18" y="68"/>
                    <a:pt x="15" y="71"/>
                  </a:cubicBezTo>
                  <a:cubicBezTo>
                    <a:pt x="14" y="71"/>
                    <a:pt x="14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5" y="90"/>
                    <a:pt x="10" y="88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8" y="72"/>
                    <a:pt x="44" y="62"/>
                    <a:pt x="44" y="51"/>
                  </a:cubicBezTo>
                  <a:cubicBezTo>
                    <a:pt x="44" y="31"/>
                    <a:pt x="33" y="12"/>
                    <a:pt x="15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3" name="ïšļîdè">
              <a:extLst>
                <a:ext uri="{FF2B5EF4-FFF2-40B4-BE49-F238E27FC236}">
                  <a16:creationId xmlns:a16="http://schemas.microsoft.com/office/drawing/2014/main" xmlns="" id="{E430AEA2-2A98-4264-94CD-49E4607F818F}"/>
                </a:ext>
              </a:extLst>
            </p:cNvPr>
            <p:cNvSpPr/>
            <p:nvPr userDrawn="1"/>
          </p:nvSpPr>
          <p:spPr bwMode="auto">
            <a:xfrm>
              <a:off x="6919913" y="2549526"/>
              <a:ext cx="101600" cy="274638"/>
            </a:xfrm>
            <a:custGeom>
              <a:avLst/>
              <a:gdLst>
                <a:gd name="T0" fmla="*/ 2 w 31"/>
                <a:gd name="T1" fmla="*/ 2 h 83"/>
                <a:gd name="T2" fmla="*/ 0 w 31"/>
                <a:gd name="T3" fmla="*/ 0 h 83"/>
                <a:gd name="T4" fmla="*/ 0 w 31"/>
                <a:gd name="T5" fmla="*/ 13 h 83"/>
                <a:gd name="T6" fmla="*/ 20 w 31"/>
                <a:gd name="T7" fmla="*/ 51 h 83"/>
                <a:gd name="T8" fmla="*/ 10 w 31"/>
                <a:gd name="T9" fmla="*/ 69 h 83"/>
                <a:gd name="T10" fmla="*/ 0 w 31"/>
                <a:gd name="T11" fmla="*/ 72 h 83"/>
                <a:gd name="T12" fmla="*/ 0 w 31"/>
                <a:gd name="T13" fmla="*/ 83 h 83"/>
                <a:gd name="T14" fmla="*/ 15 w 31"/>
                <a:gd name="T15" fmla="*/ 78 h 83"/>
                <a:gd name="T16" fmla="*/ 31 w 31"/>
                <a:gd name="T17" fmla="*/ 51 h 83"/>
                <a:gd name="T18" fmla="*/ 2 w 31"/>
                <a:gd name="T19" fmla="*/ 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83">
                  <a:moveTo>
                    <a:pt x="2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2" y="21"/>
                    <a:pt x="20" y="36"/>
                    <a:pt x="20" y="51"/>
                  </a:cubicBezTo>
                  <a:cubicBezTo>
                    <a:pt x="20" y="59"/>
                    <a:pt x="16" y="65"/>
                    <a:pt x="10" y="69"/>
                  </a:cubicBezTo>
                  <a:cubicBezTo>
                    <a:pt x="7" y="71"/>
                    <a:pt x="3" y="72"/>
                    <a:pt x="0" y="7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5" y="83"/>
                    <a:pt x="10" y="81"/>
                    <a:pt x="15" y="78"/>
                  </a:cubicBezTo>
                  <a:cubicBezTo>
                    <a:pt x="25" y="73"/>
                    <a:pt x="31" y="63"/>
                    <a:pt x="31" y="51"/>
                  </a:cubicBezTo>
                  <a:cubicBezTo>
                    <a:pt x="31" y="31"/>
                    <a:pt x="20" y="12"/>
                    <a:pt x="2" y="2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4" name="iṡľîdê">
              <a:extLst>
                <a:ext uri="{FF2B5EF4-FFF2-40B4-BE49-F238E27FC236}">
                  <a16:creationId xmlns:a16="http://schemas.microsoft.com/office/drawing/2014/main" xmlns="" id="{551E01E0-4E93-4489-BC10-77E849CDF3BB}"/>
                </a:ext>
              </a:extLst>
            </p:cNvPr>
            <p:cNvSpPr/>
            <p:nvPr userDrawn="1"/>
          </p:nvSpPr>
          <p:spPr bwMode="auto">
            <a:xfrm>
              <a:off x="4473576" y="1370013"/>
              <a:ext cx="2847975" cy="3079750"/>
            </a:xfrm>
            <a:custGeom>
              <a:avLst/>
              <a:gdLst>
                <a:gd name="T0" fmla="*/ 20 w 863"/>
                <a:gd name="T1" fmla="*/ 255 h 934"/>
                <a:gd name="T2" fmla="*/ 454 w 863"/>
                <a:gd name="T3" fmla="*/ 6 h 934"/>
                <a:gd name="T4" fmla="*/ 481 w 863"/>
                <a:gd name="T5" fmla="*/ 2 h 934"/>
                <a:gd name="T6" fmla="*/ 505 w 863"/>
                <a:gd name="T7" fmla="*/ 19 h 934"/>
                <a:gd name="T8" fmla="*/ 506 w 863"/>
                <a:gd name="T9" fmla="*/ 423 h 934"/>
                <a:gd name="T10" fmla="*/ 467 w 863"/>
                <a:gd name="T11" fmla="*/ 445 h 934"/>
                <a:gd name="T12" fmla="*/ 862 w 863"/>
                <a:gd name="T13" fmla="*/ 637 h 934"/>
                <a:gd name="T14" fmla="*/ 863 w 863"/>
                <a:gd name="T15" fmla="*/ 653 h 934"/>
                <a:gd name="T16" fmla="*/ 853 w 863"/>
                <a:gd name="T17" fmla="*/ 669 h 934"/>
                <a:gd name="T18" fmla="*/ 408 w 863"/>
                <a:gd name="T19" fmla="*/ 926 h 934"/>
                <a:gd name="T20" fmla="*/ 368 w 863"/>
                <a:gd name="T21" fmla="*/ 926 h 934"/>
                <a:gd name="T22" fmla="*/ 7 w 863"/>
                <a:gd name="T23" fmla="*/ 718 h 934"/>
                <a:gd name="T24" fmla="*/ 1 w 863"/>
                <a:gd name="T25" fmla="*/ 707 h 934"/>
                <a:gd name="T26" fmla="*/ 0 w 863"/>
                <a:gd name="T27" fmla="*/ 290 h 934"/>
                <a:gd name="T28" fmla="*/ 20 w 863"/>
                <a:gd name="T29" fmla="*/ 255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3" h="934">
                  <a:moveTo>
                    <a:pt x="20" y="255"/>
                  </a:moveTo>
                  <a:cubicBezTo>
                    <a:pt x="454" y="6"/>
                    <a:pt x="454" y="6"/>
                    <a:pt x="454" y="6"/>
                  </a:cubicBezTo>
                  <a:cubicBezTo>
                    <a:pt x="462" y="2"/>
                    <a:pt x="472" y="0"/>
                    <a:pt x="481" y="2"/>
                  </a:cubicBezTo>
                  <a:cubicBezTo>
                    <a:pt x="493" y="5"/>
                    <a:pt x="505" y="8"/>
                    <a:pt x="505" y="19"/>
                  </a:cubicBezTo>
                  <a:cubicBezTo>
                    <a:pt x="506" y="423"/>
                    <a:pt x="506" y="423"/>
                    <a:pt x="506" y="423"/>
                  </a:cubicBezTo>
                  <a:cubicBezTo>
                    <a:pt x="467" y="445"/>
                    <a:pt x="467" y="445"/>
                    <a:pt x="467" y="445"/>
                  </a:cubicBezTo>
                  <a:cubicBezTo>
                    <a:pt x="480" y="451"/>
                    <a:pt x="861" y="637"/>
                    <a:pt x="862" y="637"/>
                  </a:cubicBezTo>
                  <a:cubicBezTo>
                    <a:pt x="863" y="653"/>
                    <a:pt x="863" y="653"/>
                    <a:pt x="863" y="653"/>
                  </a:cubicBezTo>
                  <a:cubicBezTo>
                    <a:pt x="863" y="660"/>
                    <a:pt x="859" y="666"/>
                    <a:pt x="853" y="669"/>
                  </a:cubicBezTo>
                  <a:cubicBezTo>
                    <a:pt x="788" y="707"/>
                    <a:pt x="408" y="926"/>
                    <a:pt x="408" y="926"/>
                  </a:cubicBezTo>
                  <a:cubicBezTo>
                    <a:pt x="396" y="934"/>
                    <a:pt x="380" y="934"/>
                    <a:pt x="368" y="926"/>
                  </a:cubicBezTo>
                  <a:cubicBezTo>
                    <a:pt x="7" y="718"/>
                    <a:pt x="7" y="718"/>
                    <a:pt x="7" y="718"/>
                  </a:cubicBezTo>
                  <a:cubicBezTo>
                    <a:pt x="3" y="715"/>
                    <a:pt x="1" y="711"/>
                    <a:pt x="1" y="707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0" y="276"/>
                    <a:pt x="8" y="262"/>
                    <a:pt x="20" y="255"/>
                  </a:cubicBezTo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5" name="ïSľîḑé">
              <a:extLst>
                <a:ext uri="{FF2B5EF4-FFF2-40B4-BE49-F238E27FC236}">
                  <a16:creationId xmlns:a16="http://schemas.microsoft.com/office/drawing/2014/main" xmlns="" id="{58383546-5A35-4E9E-8F23-99AB7B668813}"/>
                </a:ext>
              </a:extLst>
            </p:cNvPr>
            <p:cNvSpPr/>
            <p:nvPr userDrawn="1"/>
          </p:nvSpPr>
          <p:spPr bwMode="auto">
            <a:xfrm>
              <a:off x="4516438" y="1379538"/>
              <a:ext cx="1630363" cy="2317750"/>
            </a:xfrm>
            <a:custGeom>
              <a:avLst/>
              <a:gdLst>
                <a:gd name="T0" fmla="*/ 0 w 494"/>
                <a:gd name="T1" fmla="*/ 703 h 703"/>
                <a:gd name="T2" fmla="*/ 493 w 494"/>
                <a:gd name="T3" fmla="*/ 421 h 703"/>
                <a:gd name="T4" fmla="*/ 494 w 494"/>
                <a:gd name="T5" fmla="*/ 19 h 703"/>
                <a:gd name="T6" fmla="*/ 471 w 494"/>
                <a:gd name="T7" fmla="*/ 6 h 703"/>
                <a:gd name="T8" fmla="*/ 17 w 494"/>
                <a:gd name="T9" fmla="*/ 266 h 703"/>
                <a:gd name="T10" fmla="*/ 1 w 494"/>
                <a:gd name="T11" fmla="*/ 294 h 703"/>
                <a:gd name="T12" fmla="*/ 0 w 494"/>
                <a:gd name="T13" fmla="*/ 703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4" h="703">
                  <a:moveTo>
                    <a:pt x="0" y="703"/>
                  </a:moveTo>
                  <a:cubicBezTo>
                    <a:pt x="493" y="421"/>
                    <a:pt x="493" y="421"/>
                    <a:pt x="493" y="421"/>
                  </a:cubicBezTo>
                  <a:cubicBezTo>
                    <a:pt x="494" y="19"/>
                    <a:pt x="494" y="19"/>
                    <a:pt x="494" y="19"/>
                  </a:cubicBezTo>
                  <a:cubicBezTo>
                    <a:pt x="494" y="7"/>
                    <a:pt x="481" y="0"/>
                    <a:pt x="471" y="6"/>
                  </a:cubicBezTo>
                  <a:cubicBezTo>
                    <a:pt x="17" y="266"/>
                    <a:pt x="17" y="266"/>
                    <a:pt x="17" y="266"/>
                  </a:cubicBezTo>
                  <a:cubicBezTo>
                    <a:pt x="7" y="272"/>
                    <a:pt x="1" y="282"/>
                    <a:pt x="1" y="294"/>
                  </a:cubicBezTo>
                  <a:cubicBezTo>
                    <a:pt x="0" y="703"/>
                    <a:pt x="0" y="703"/>
                    <a:pt x="0" y="703"/>
                  </a:cubicBezTo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6" name="íṣļíďê">
              <a:extLst>
                <a:ext uri="{FF2B5EF4-FFF2-40B4-BE49-F238E27FC236}">
                  <a16:creationId xmlns:a16="http://schemas.microsoft.com/office/drawing/2014/main" xmlns="" id="{12F1CBF0-C03D-419B-B26B-92B19B76763D}"/>
                </a:ext>
              </a:extLst>
            </p:cNvPr>
            <p:cNvSpPr/>
            <p:nvPr userDrawn="1"/>
          </p:nvSpPr>
          <p:spPr bwMode="auto">
            <a:xfrm>
              <a:off x="4586288" y="1474788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7" name="išľíḍe">
              <a:extLst>
                <a:ext uri="{FF2B5EF4-FFF2-40B4-BE49-F238E27FC236}">
                  <a16:creationId xmlns:a16="http://schemas.microsoft.com/office/drawing/2014/main" xmlns="" id="{4B15B088-2CDB-4092-BD91-ACF4A393FA9A}"/>
                </a:ext>
              </a:extLst>
            </p:cNvPr>
            <p:cNvSpPr/>
            <p:nvPr userDrawn="1"/>
          </p:nvSpPr>
          <p:spPr bwMode="auto">
            <a:xfrm>
              <a:off x="4586288" y="1474788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8" name="íšļïḓé">
              <a:extLst>
                <a:ext uri="{FF2B5EF4-FFF2-40B4-BE49-F238E27FC236}">
                  <a16:creationId xmlns:a16="http://schemas.microsoft.com/office/drawing/2014/main" xmlns="" id="{E4F074AB-8744-497E-BD76-92E3B14C48E5}"/>
                </a:ext>
              </a:extLst>
            </p:cNvPr>
            <p:cNvSpPr/>
            <p:nvPr userDrawn="1"/>
          </p:nvSpPr>
          <p:spPr bwMode="auto">
            <a:xfrm>
              <a:off x="4516438" y="2757488"/>
              <a:ext cx="2811463" cy="1635125"/>
            </a:xfrm>
            <a:custGeom>
              <a:avLst/>
              <a:gdLst>
                <a:gd name="T0" fmla="*/ 0 w 852"/>
                <a:gd name="T1" fmla="*/ 285 h 496"/>
                <a:gd name="T2" fmla="*/ 493 w 852"/>
                <a:gd name="T3" fmla="*/ 0 h 496"/>
                <a:gd name="T4" fmla="*/ 842 w 852"/>
                <a:gd name="T5" fmla="*/ 202 h 496"/>
                <a:gd name="T6" fmla="*/ 842 w 852"/>
                <a:gd name="T7" fmla="*/ 228 h 496"/>
                <a:gd name="T8" fmla="*/ 388 w 852"/>
                <a:gd name="T9" fmla="*/ 490 h 496"/>
                <a:gd name="T10" fmla="*/ 356 w 852"/>
                <a:gd name="T11" fmla="*/ 490 h 496"/>
                <a:gd name="T12" fmla="*/ 0 w 852"/>
                <a:gd name="T13" fmla="*/ 28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2" h="496">
                  <a:moveTo>
                    <a:pt x="0" y="285"/>
                  </a:moveTo>
                  <a:cubicBezTo>
                    <a:pt x="493" y="0"/>
                    <a:pt x="493" y="0"/>
                    <a:pt x="493" y="0"/>
                  </a:cubicBezTo>
                  <a:cubicBezTo>
                    <a:pt x="842" y="202"/>
                    <a:pt x="842" y="202"/>
                    <a:pt x="842" y="202"/>
                  </a:cubicBezTo>
                  <a:cubicBezTo>
                    <a:pt x="852" y="208"/>
                    <a:pt x="852" y="222"/>
                    <a:pt x="842" y="228"/>
                  </a:cubicBezTo>
                  <a:cubicBezTo>
                    <a:pt x="388" y="490"/>
                    <a:pt x="388" y="490"/>
                    <a:pt x="388" y="490"/>
                  </a:cubicBezTo>
                  <a:cubicBezTo>
                    <a:pt x="378" y="496"/>
                    <a:pt x="366" y="496"/>
                    <a:pt x="356" y="490"/>
                  </a:cubicBezTo>
                  <a:cubicBezTo>
                    <a:pt x="0" y="285"/>
                    <a:pt x="0" y="285"/>
                    <a:pt x="0" y="285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9" name="islidé">
              <a:extLst>
                <a:ext uri="{FF2B5EF4-FFF2-40B4-BE49-F238E27FC236}">
                  <a16:creationId xmlns:a16="http://schemas.microsoft.com/office/drawing/2014/main" xmlns="" id="{91EFB3CD-F5B1-48BB-A24F-F98621B6FAEE}"/>
                </a:ext>
              </a:extLst>
            </p:cNvPr>
            <p:cNvSpPr/>
            <p:nvPr userDrawn="1"/>
          </p:nvSpPr>
          <p:spPr bwMode="auto">
            <a:xfrm>
              <a:off x="4803776" y="3678238"/>
              <a:ext cx="161925" cy="95250"/>
            </a:xfrm>
            <a:custGeom>
              <a:avLst/>
              <a:gdLst>
                <a:gd name="T0" fmla="*/ 49 w 49"/>
                <a:gd name="T1" fmla="*/ 14 h 29"/>
                <a:gd name="T2" fmla="*/ 25 w 49"/>
                <a:gd name="T3" fmla="*/ 29 h 29"/>
                <a:gd name="T4" fmla="*/ 0 w 49"/>
                <a:gd name="T5" fmla="*/ 15 h 29"/>
                <a:gd name="T6" fmla="*/ 25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0" name="iṩliḋé">
              <a:extLst>
                <a:ext uri="{FF2B5EF4-FFF2-40B4-BE49-F238E27FC236}">
                  <a16:creationId xmlns:a16="http://schemas.microsoft.com/office/drawing/2014/main" xmlns="" id="{0006CEB1-A666-4143-9EFF-45955E9591C5}"/>
                </a:ext>
              </a:extLst>
            </p:cNvPr>
            <p:cNvSpPr/>
            <p:nvPr userDrawn="1"/>
          </p:nvSpPr>
          <p:spPr bwMode="auto">
            <a:xfrm>
              <a:off x="4922838" y="36115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1" name="îṣḷîḓê">
              <a:extLst>
                <a:ext uri="{FF2B5EF4-FFF2-40B4-BE49-F238E27FC236}">
                  <a16:creationId xmlns:a16="http://schemas.microsoft.com/office/drawing/2014/main" xmlns="" id="{93224B27-7428-4CCD-B68C-A2E622B23865}"/>
                </a:ext>
              </a:extLst>
            </p:cNvPr>
            <p:cNvSpPr/>
            <p:nvPr userDrawn="1"/>
          </p:nvSpPr>
          <p:spPr bwMode="auto">
            <a:xfrm>
              <a:off x="5045076" y="35433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10" y="20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2" name="íṩ1îḍe">
              <a:extLst>
                <a:ext uri="{FF2B5EF4-FFF2-40B4-BE49-F238E27FC236}">
                  <a16:creationId xmlns:a16="http://schemas.microsoft.com/office/drawing/2014/main" xmlns="" id="{151861E7-9F41-4FDF-879D-2C1A19F5C7A2}"/>
                </a:ext>
              </a:extLst>
            </p:cNvPr>
            <p:cNvSpPr/>
            <p:nvPr userDrawn="1"/>
          </p:nvSpPr>
          <p:spPr bwMode="auto">
            <a:xfrm>
              <a:off x="5164138" y="347345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3" name="ïṧḻiḍe">
              <a:extLst>
                <a:ext uri="{FF2B5EF4-FFF2-40B4-BE49-F238E27FC236}">
                  <a16:creationId xmlns:a16="http://schemas.microsoft.com/office/drawing/2014/main" xmlns="" id="{3CFB8684-6035-4B1A-99D3-39A521C45DC8}"/>
                </a:ext>
              </a:extLst>
            </p:cNvPr>
            <p:cNvSpPr/>
            <p:nvPr userDrawn="1"/>
          </p:nvSpPr>
          <p:spPr bwMode="auto">
            <a:xfrm>
              <a:off x="5283201" y="3403601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4" name="íşlïḑè">
              <a:extLst>
                <a:ext uri="{FF2B5EF4-FFF2-40B4-BE49-F238E27FC236}">
                  <a16:creationId xmlns:a16="http://schemas.microsoft.com/office/drawing/2014/main" xmlns="" id="{A4516263-1AEB-44EE-A01E-5E96EDA1A7A3}"/>
                </a:ext>
              </a:extLst>
            </p:cNvPr>
            <p:cNvSpPr/>
            <p:nvPr userDrawn="1"/>
          </p:nvSpPr>
          <p:spPr bwMode="auto">
            <a:xfrm>
              <a:off x="5400676" y="33353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5" name="íśļiḋè">
              <a:extLst>
                <a:ext uri="{FF2B5EF4-FFF2-40B4-BE49-F238E27FC236}">
                  <a16:creationId xmlns:a16="http://schemas.microsoft.com/office/drawing/2014/main" xmlns="" id="{6F55D1E7-ED8B-4410-9A36-30A010B6DDE7}"/>
                </a:ext>
              </a:extLst>
            </p:cNvPr>
            <p:cNvSpPr/>
            <p:nvPr userDrawn="1"/>
          </p:nvSpPr>
          <p:spPr bwMode="auto">
            <a:xfrm>
              <a:off x="5519738" y="32686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6" name="îSļîḓê">
              <a:extLst>
                <a:ext uri="{FF2B5EF4-FFF2-40B4-BE49-F238E27FC236}">
                  <a16:creationId xmlns:a16="http://schemas.microsoft.com/office/drawing/2014/main" xmlns="" id="{1035B522-8566-44F4-98D4-B9F5A3DC1B00}"/>
                </a:ext>
              </a:extLst>
            </p:cNvPr>
            <p:cNvSpPr/>
            <p:nvPr userDrawn="1"/>
          </p:nvSpPr>
          <p:spPr bwMode="auto">
            <a:xfrm>
              <a:off x="5641976" y="32004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7" name="íṧ1îḑè">
              <a:extLst>
                <a:ext uri="{FF2B5EF4-FFF2-40B4-BE49-F238E27FC236}">
                  <a16:creationId xmlns:a16="http://schemas.microsoft.com/office/drawing/2014/main" xmlns="" id="{FDB3F37A-096D-4CA4-97F3-34E75C2D42A9}"/>
                </a:ext>
              </a:extLst>
            </p:cNvPr>
            <p:cNvSpPr/>
            <p:nvPr userDrawn="1"/>
          </p:nvSpPr>
          <p:spPr bwMode="auto">
            <a:xfrm>
              <a:off x="5761038" y="313055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8" name="îṥḷide">
              <a:extLst>
                <a:ext uri="{FF2B5EF4-FFF2-40B4-BE49-F238E27FC236}">
                  <a16:creationId xmlns:a16="http://schemas.microsoft.com/office/drawing/2014/main" xmlns="" id="{3357F5A4-243D-4759-84E4-B4A572506D25}"/>
                </a:ext>
              </a:extLst>
            </p:cNvPr>
            <p:cNvSpPr/>
            <p:nvPr userDrawn="1"/>
          </p:nvSpPr>
          <p:spPr bwMode="auto">
            <a:xfrm>
              <a:off x="5880101" y="306070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9" name="îş1iḓè">
              <a:extLst>
                <a:ext uri="{FF2B5EF4-FFF2-40B4-BE49-F238E27FC236}">
                  <a16:creationId xmlns:a16="http://schemas.microsoft.com/office/drawing/2014/main" xmlns="" id="{19F3C2E8-8E1C-40BE-8007-DB53D8C0E04F}"/>
                </a:ext>
              </a:extLst>
            </p:cNvPr>
            <p:cNvSpPr/>
            <p:nvPr userDrawn="1"/>
          </p:nvSpPr>
          <p:spPr bwMode="auto">
            <a:xfrm>
              <a:off x="5999163" y="29924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0" name="íšḻidè">
              <a:extLst>
                <a:ext uri="{FF2B5EF4-FFF2-40B4-BE49-F238E27FC236}">
                  <a16:creationId xmlns:a16="http://schemas.microsoft.com/office/drawing/2014/main" xmlns="" id="{D6B7BD3A-AD90-4C0E-8911-7DF82A08CCA5}"/>
                </a:ext>
              </a:extLst>
            </p:cNvPr>
            <p:cNvSpPr/>
            <p:nvPr userDrawn="1"/>
          </p:nvSpPr>
          <p:spPr bwMode="auto">
            <a:xfrm>
              <a:off x="6121401" y="2925763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1" name="íślîḓè">
              <a:extLst>
                <a:ext uri="{FF2B5EF4-FFF2-40B4-BE49-F238E27FC236}">
                  <a16:creationId xmlns:a16="http://schemas.microsoft.com/office/drawing/2014/main" xmlns="" id="{0F3BDB44-D22C-46D2-9436-B2BEAE3AD10E}"/>
                </a:ext>
              </a:extLst>
            </p:cNvPr>
            <p:cNvSpPr/>
            <p:nvPr userDrawn="1"/>
          </p:nvSpPr>
          <p:spPr bwMode="auto">
            <a:xfrm>
              <a:off x="4919663" y="37433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2" name="î$1iḓé">
              <a:extLst>
                <a:ext uri="{FF2B5EF4-FFF2-40B4-BE49-F238E27FC236}">
                  <a16:creationId xmlns:a16="http://schemas.microsoft.com/office/drawing/2014/main" xmlns="" id="{BFC9F847-E53F-4A93-ACFD-280CA85FC9BC}"/>
                </a:ext>
              </a:extLst>
            </p:cNvPr>
            <p:cNvSpPr/>
            <p:nvPr userDrawn="1"/>
          </p:nvSpPr>
          <p:spPr bwMode="auto">
            <a:xfrm>
              <a:off x="5038726" y="36750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3" name="išľïḋe">
              <a:extLst>
                <a:ext uri="{FF2B5EF4-FFF2-40B4-BE49-F238E27FC236}">
                  <a16:creationId xmlns:a16="http://schemas.microsoft.com/office/drawing/2014/main" xmlns="" id="{3F078DD4-7AD3-45BE-AB42-87E057F762A7}"/>
                </a:ext>
              </a:extLst>
            </p:cNvPr>
            <p:cNvSpPr/>
            <p:nvPr userDrawn="1"/>
          </p:nvSpPr>
          <p:spPr bwMode="auto">
            <a:xfrm>
              <a:off x="5157788" y="36083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4" name="îṡlíḍè">
              <a:extLst>
                <a:ext uri="{FF2B5EF4-FFF2-40B4-BE49-F238E27FC236}">
                  <a16:creationId xmlns:a16="http://schemas.microsoft.com/office/drawing/2014/main" xmlns="" id="{24C039CF-C13E-40A8-B6F6-6B119C55D305}"/>
                </a:ext>
              </a:extLst>
            </p:cNvPr>
            <p:cNvSpPr/>
            <p:nvPr userDrawn="1"/>
          </p:nvSpPr>
          <p:spPr bwMode="auto">
            <a:xfrm>
              <a:off x="5280026" y="3538538"/>
              <a:ext cx="160338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5" name="íŝľíḋê">
              <a:extLst>
                <a:ext uri="{FF2B5EF4-FFF2-40B4-BE49-F238E27FC236}">
                  <a16:creationId xmlns:a16="http://schemas.microsoft.com/office/drawing/2014/main" xmlns="" id="{5E79E0FC-A504-4676-8F21-8EFEEB7BCE95}"/>
                </a:ext>
              </a:extLst>
            </p:cNvPr>
            <p:cNvSpPr/>
            <p:nvPr userDrawn="1"/>
          </p:nvSpPr>
          <p:spPr bwMode="auto">
            <a:xfrm>
              <a:off x="5397501" y="347027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6" name="ïśḷîḋè">
              <a:extLst>
                <a:ext uri="{FF2B5EF4-FFF2-40B4-BE49-F238E27FC236}">
                  <a16:creationId xmlns:a16="http://schemas.microsoft.com/office/drawing/2014/main" xmlns="" id="{A1C850EF-440D-475D-9DBB-5AD726E1C241}"/>
                </a:ext>
              </a:extLst>
            </p:cNvPr>
            <p:cNvSpPr/>
            <p:nvPr userDrawn="1"/>
          </p:nvSpPr>
          <p:spPr bwMode="auto">
            <a:xfrm>
              <a:off x="5516563" y="34004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7" name="iSḷíḍê">
              <a:extLst>
                <a:ext uri="{FF2B5EF4-FFF2-40B4-BE49-F238E27FC236}">
                  <a16:creationId xmlns:a16="http://schemas.microsoft.com/office/drawing/2014/main" xmlns="" id="{0DA3B52E-0086-4F9C-A1D3-394DC80AE7A0}"/>
                </a:ext>
              </a:extLst>
            </p:cNvPr>
            <p:cNvSpPr/>
            <p:nvPr userDrawn="1"/>
          </p:nvSpPr>
          <p:spPr bwMode="auto">
            <a:xfrm>
              <a:off x="5635626" y="33321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8" name="iŝlîďê">
              <a:extLst>
                <a:ext uri="{FF2B5EF4-FFF2-40B4-BE49-F238E27FC236}">
                  <a16:creationId xmlns:a16="http://schemas.microsoft.com/office/drawing/2014/main" xmlns="" id="{1055DF19-946A-4611-86D4-BB94455D2F0C}"/>
                </a:ext>
              </a:extLst>
            </p:cNvPr>
            <p:cNvSpPr/>
            <p:nvPr userDrawn="1"/>
          </p:nvSpPr>
          <p:spPr bwMode="auto">
            <a:xfrm>
              <a:off x="5757863" y="32654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9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9" name="ïṥḷïḑé">
              <a:extLst>
                <a:ext uri="{FF2B5EF4-FFF2-40B4-BE49-F238E27FC236}">
                  <a16:creationId xmlns:a16="http://schemas.microsoft.com/office/drawing/2014/main" xmlns="" id="{51CF7717-9A56-447E-87DE-FCD77613CD16}"/>
                </a:ext>
              </a:extLst>
            </p:cNvPr>
            <p:cNvSpPr/>
            <p:nvPr userDrawn="1"/>
          </p:nvSpPr>
          <p:spPr bwMode="auto">
            <a:xfrm>
              <a:off x="5876926" y="3195638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0" name="íSḻïḋe">
              <a:extLst>
                <a:ext uri="{FF2B5EF4-FFF2-40B4-BE49-F238E27FC236}">
                  <a16:creationId xmlns:a16="http://schemas.microsoft.com/office/drawing/2014/main" xmlns="" id="{67EE8F38-2E92-4080-8070-5558DC873503}"/>
                </a:ext>
              </a:extLst>
            </p:cNvPr>
            <p:cNvSpPr/>
            <p:nvPr userDrawn="1"/>
          </p:nvSpPr>
          <p:spPr bwMode="auto">
            <a:xfrm>
              <a:off x="5995988" y="3127376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1" name="iśḻídè">
              <a:extLst>
                <a:ext uri="{FF2B5EF4-FFF2-40B4-BE49-F238E27FC236}">
                  <a16:creationId xmlns:a16="http://schemas.microsoft.com/office/drawing/2014/main" xmlns="" id="{39C40FF0-80E2-48CB-93BA-997BC20BD7A5}"/>
                </a:ext>
              </a:extLst>
            </p:cNvPr>
            <p:cNvSpPr/>
            <p:nvPr userDrawn="1"/>
          </p:nvSpPr>
          <p:spPr bwMode="auto">
            <a:xfrm>
              <a:off x="6113463" y="3057526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2" name="ïṥḷiḓe">
              <a:extLst>
                <a:ext uri="{FF2B5EF4-FFF2-40B4-BE49-F238E27FC236}">
                  <a16:creationId xmlns:a16="http://schemas.microsoft.com/office/drawing/2014/main" xmlns="" id="{FD6F7F27-6EB9-4C68-9039-EFAA6BB06027}"/>
                </a:ext>
              </a:extLst>
            </p:cNvPr>
            <p:cNvSpPr/>
            <p:nvPr userDrawn="1"/>
          </p:nvSpPr>
          <p:spPr bwMode="auto">
            <a:xfrm>
              <a:off x="6180138" y="2989263"/>
              <a:ext cx="217488" cy="125413"/>
            </a:xfrm>
            <a:custGeom>
              <a:avLst/>
              <a:gdLst>
                <a:gd name="T0" fmla="*/ 66 w 66"/>
                <a:gd name="T1" fmla="*/ 14 h 38"/>
                <a:gd name="T2" fmla="*/ 25 w 66"/>
                <a:gd name="T3" fmla="*/ 38 h 38"/>
                <a:gd name="T4" fmla="*/ 0 w 66"/>
                <a:gd name="T5" fmla="*/ 24 h 38"/>
                <a:gd name="T6" fmla="*/ 41 w 66"/>
                <a:gd name="T7" fmla="*/ 0 h 38"/>
                <a:gd name="T8" fmla="*/ 66 w 66"/>
                <a:gd name="T9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8">
                  <a:moveTo>
                    <a:pt x="66" y="14"/>
                  </a:moveTo>
                  <a:cubicBezTo>
                    <a:pt x="49" y="24"/>
                    <a:pt x="41" y="29"/>
                    <a:pt x="25" y="38"/>
                  </a:cubicBezTo>
                  <a:cubicBezTo>
                    <a:pt x="15" y="32"/>
                    <a:pt x="10" y="30"/>
                    <a:pt x="0" y="24"/>
                  </a:cubicBezTo>
                  <a:cubicBezTo>
                    <a:pt x="16" y="14"/>
                    <a:pt x="25" y="10"/>
                    <a:pt x="41" y="0"/>
                  </a:cubicBezTo>
                  <a:cubicBezTo>
                    <a:pt x="51" y="6"/>
                    <a:pt x="56" y="9"/>
                    <a:pt x="66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3" name="íśḻíḋé">
              <a:extLst>
                <a:ext uri="{FF2B5EF4-FFF2-40B4-BE49-F238E27FC236}">
                  <a16:creationId xmlns:a16="http://schemas.microsoft.com/office/drawing/2014/main" xmlns="" id="{228499BE-E233-439D-890F-5996CF634E16}"/>
                </a:ext>
              </a:extLst>
            </p:cNvPr>
            <p:cNvSpPr/>
            <p:nvPr userDrawn="1"/>
          </p:nvSpPr>
          <p:spPr bwMode="auto">
            <a:xfrm>
              <a:off x="5035551" y="3779838"/>
              <a:ext cx="214313" cy="122238"/>
            </a:xfrm>
            <a:custGeom>
              <a:avLst/>
              <a:gdLst>
                <a:gd name="T0" fmla="*/ 65 w 65"/>
                <a:gd name="T1" fmla="*/ 14 h 37"/>
                <a:gd name="T2" fmla="*/ 25 w 65"/>
                <a:gd name="T3" fmla="*/ 37 h 37"/>
                <a:gd name="T4" fmla="*/ 0 w 65"/>
                <a:gd name="T5" fmla="*/ 23 h 37"/>
                <a:gd name="T6" fmla="*/ 41 w 65"/>
                <a:gd name="T7" fmla="*/ 0 h 37"/>
                <a:gd name="T8" fmla="*/ 65 w 65"/>
                <a:gd name="T9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7">
                  <a:moveTo>
                    <a:pt x="65" y="14"/>
                  </a:moveTo>
                  <a:cubicBezTo>
                    <a:pt x="49" y="23"/>
                    <a:pt x="41" y="28"/>
                    <a:pt x="25" y="37"/>
                  </a:cubicBezTo>
                  <a:cubicBezTo>
                    <a:pt x="15" y="31"/>
                    <a:pt x="10" y="29"/>
                    <a:pt x="0" y="23"/>
                  </a:cubicBezTo>
                  <a:cubicBezTo>
                    <a:pt x="16" y="14"/>
                    <a:pt x="24" y="9"/>
                    <a:pt x="41" y="0"/>
                  </a:cubicBezTo>
                  <a:cubicBezTo>
                    <a:pt x="50" y="5"/>
                    <a:pt x="55" y="8"/>
                    <a:pt x="65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4" name="iṧḷîḍê">
              <a:extLst>
                <a:ext uri="{FF2B5EF4-FFF2-40B4-BE49-F238E27FC236}">
                  <a16:creationId xmlns:a16="http://schemas.microsoft.com/office/drawing/2014/main" xmlns="" id="{5800EFD7-EEDD-4191-8049-B8106943662F}"/>
                </a:ext>
              </a:extLst>
            </p:cNvPr>
            <p:cNvSpPr/>
            <p:nvPr userDrawn="1"/>
          </p:nvSpPr>
          <p:spPr bwMode="auto">
            <a:xfrm>
              <a:off x="5154613" y="3740151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5" name="iSḷiḋe">
              <a:extLst>
                <a:ext uri="{FF2B5EF4-FFF2-40B4-BE49-F238E27FC236}">
                  <a16:creationId xmlns:a16="http://schemas.microsoft.com/office/drawing/2014/main" xmlns="" id="{71414F73-3225-4A79-AB97-716DDD0C98CF}"/>
                </a:ext>
              </a:extLst>
            </p:cNvPr>
            <p:cNvSpPr/>
            <p:nvPr userDrawn="1"/>
          </p:nvSpPr>
          <p:spPr bwMode="auto">
            <a:xfrm>
              <a:off x="5272088" y="36718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6" name="í$ḷîḍe">
              <a:extLst>
                <a:ext uri="{FF2B5EF4-FFF2-40B4-BE49-F238E27FC236}">
                  <a16:creationId xmlns:a16="http://schemas.microsoft.com/office/drawing/2014/main" xmlns="" id="{DF45A6EB-C5E8-480D-BB35-82952AB88886}"/>
                </a:ext>
              </a:extLst>
            </p:cNvPr>
            <p:cNvSpPr/>
            <p:nvPr userDrawn="1"/>
          </p:nvSpPr>
          <p:spPr bwMode="auto">
            <a:xfrm>
              <a:off x="5391151" y="36020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7" name="ïṧļîḑè">
              <a:extLst>
                <a:ext uri="{FF2B5EF4-FFF2-40B4-BE49-F238E27FC236}">
                  <a16:creationId xmlns:a16="http://schemas.microsoft.com/office/drawing/2014/main" xmlns="" id="{5B5ADCD5-0C84-458C-A142-8179970169E6}"/>
                </a:ext>
              </a:extLst>
            </p:cNvPr>
            <p:cNvSpPr/>
            <p:nvPr userDrawn="1"/>
          </p:nvSpPr>
          <p:spPr bwMode="auto">
            <a:xfrm>
              <a:off x="5513388" y="35353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8" name="iṧḷîḑè">
              <a:extLst>
                <a:ext uri="{FF2B5EF4-FFF2-40B4-BE49-F238E27FC236}">
                  <a16:creationId xmlns:a16="http://schemas.microsoft.com/office/drawing/2014/main" xmlns="" id="{05E0ED82-C815-46B5-8FF5-526BE75B3B81}"/>
                </a:ext>
              </a:extLst>
            </p:cNvPr>
            <p:cNvSpPr/>
            <p:nvPr userDrawn="1"/>
          </p:nvSpPr>
          <p:spPr bwMode="auto">
            <a:xfrm>
              <a:off x="5632451" y="34671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9" name="îSḷíďè">
              <a:extLst>
                <a:ext uri="{FF2B5EF4-FFF2-40B4-BE49-F238E27FC236}">
                  <a16:creationId xmlns:a16="http://schemas.microsoft.com/office/drawing/2014/main" xmlns="" id="{863B972E-A931-4EE2-B700-374A3BB8E805}"/>
                </a:ext>
              </a:extLst>
            </p:cNvPr>
            <p:cNvSpPr/>
            <p:nvPr userDrawn="1"/>
          </p:nvSpPr>
          <p:spPr bwMode="auto">
            <a:xfrm>
              <a:off x="5751513" y="339725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0" name="íṩḻiḋe">
              <a:extLst>
                <a:ext uri="{FF2B5EF4-FFF2-40B4-BE49-F238E27FC236}">
                  <a16:creationId xmlns:a16="http://schemas.microsoft.com/office/drawing/2014/main" xmlns="" id="{D7915202-2BFE-46B1-8A72-ED7957D4D180}"/>
                </a:ext>
              </a:extLst>
            </p:cNvPr>
            <p:cNvSpPr/>
            <p:nvPr userDrawn="1"/>
          </p:nvSpPr>
          <p:spPr bwMode="auto">
            <a:xfrm>
              <a:off x="5870576" y="33289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1" name="ïšlîďé">
              <a:extLst>
                <a:ext uri="{FF2B5EF4-FFF2-40B4-BE49-F238E27FC236}">
                  <a16:creationId xmlns:a16="http://schemas.microsoft.com/office/drawing/2014/main" xmlns="" id="{4203A980-6BF0-4E31-B29A-640748E805D0}"/>
                </a:ext>
              </a:extLst>
            </p:cNvPr>
            <p:cNvSpPr/>
            <p:nvPr userDrawn="1"/>
          </p:nvSpPr>
          <p:spPr bwMode="auto">
            <a:xfrm>
              <a:off x="5992813" y="3259138"/>
              <a:ext cx="160338" cy="95250"/>
            </a:xfrm>
            <a:custGeom>
              <a:avLst/>
              <a:gdLst>
                <a:gd name="T0" fmla="*/ 49 w 49"/>
                <a:gd name="T1" fmla="*/ 14 h 29"/>
                <a:gd name="T2" fmla="*/ 24 w 49"/>
                <a:gd name="T3" fmla="*/ 29 h 29"/>
                <a:gd name="T4" fmla="*/ 0 w 49"/>
                <a:gd name="T5" fmla="*/ 14 h 29"/>
                <a:gd name="T6" fmla="*/ 24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39" y="20"/>
                    <a:pt x="34" y="23"/>
                    <a:pt x="24" y="29"/>
                  </a:cubicBezTo>
                  <a:cubicBezTo>
                    <a:pt x="14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2" name="íŝḻïḍè">
              <a:extLst>
                <a:ext uri="{FF2B5EF4-FFF2-40B4-BE49-F238E27FC236}">
                  <a16:creationId xmlns:a16="http://schemas.microsoft.com/office/drawing/2014/main" xmlns="" id="{F03889E5-078A-4BE1-A92C-D0E39ADE5402}"/>
                </a:ext>
              </a:extLst>
            </p:cNvPr>
            <p:cNvSpPr/>
            <p:nvPr userDrawn="1"/>
          </p:nvSpPr>
          <p:spPr bwMode="auto">
            <a:xfrm>
              <a:off x="6110288" y="31924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3" name="iṡlíḍé">
              <a:extLst>
                <a:ext uri="{FF2B5EF4-FFF2-40B4-BE49-F238E27FC236}">
                  <a16:creationId xmlns:a16="http://schemas.microsoft.com/office/drawing/2014/main" xmlns="" id="{7DF8EF4A-9D33-48ED-BEDB-64D0A6ED412A}"/>
                </a:ext>
              </a:extLst>
            </p:cNvPr>
            <p:cNvSpPr/>
            <p:nvPr userDrawn="1"/>
          </p:nvSpPr>
          <p:spPr bwMode="auto">
            <a:xfrm>
              <a:off x="6229351" y="31242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4" name="ïṥļíḋe">
              <a:extLst>
                <a:ext uri="{FF2B5EF4-FFF2-40B4-BE49-F238E27FC236}">
                  <a16:creationId xmlns:a16="http://schemas.microsoft.com/office/drawing/2014/main" xmlns="" id="{9B5850E2-8CD3-4140-AECD-73133D2AC5D2}"/>
                </a:ext>
              </a:extLst>
            </p:cNvPr>
            <p:cNvSpPr/>
            <p:nvPr userDrawn="1"/>
          </p:nvSpPr>
          <p:spPr bwMode="auto">
            <a:xfrm>
              <a:off x="6348413" y="305435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5" name="íşlíḋê">
              <a:extLst>
                <a:ext uri="{FF2B5EF4-FFF2-40B4-BE49-F238E27FC236}">
                  <a16:creationId xmlns:a16="http://schemas.microsoft.com/office/drawing/2014/main" xmlns="" id="{E3DE86E1-D4B7-4C12-8224-257F32354AF9}"/>
                </a:ext>
              </a:extLst>
            </p:cNvPr>
            <p:cNvSpPr/>
            <p:nvPr userDrawn="1"/>
          </p:nvSpPr>
          <p:spPr bwMode="auto">
            <a:xfrm>
              <a:off x="5149851" y="3875088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6" name="iṧļíďê">
              <a:extLst>
                <a:ext uri="{FF2B5EF4-FFF2-40B4-BE49-F238E27FC236}">
                  <a16:creationId xmlns:a16="http://schemas.microsoft.com/office/drawing/2014/main" xmlns="" id="{28C3EF12-B1E2-4E4D-8F7C-1C5651EF0229}"/>
                </a:ext>
              </a:extLst>
            </p:cNvPr>
            <p:cNvSpPr/>
            <p:nvPr userDrawn="1"/>
          </p:nvSpPr>
          <p:spPr bwMode="auto">
            <a:xfrm>
              <a:off x="5268913" y="38068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7" name="iṩḻídê">
              <a:extLst>
                <a:ext uri="{FF2B5EF4-FFF2-40B4-BE49-F238E27FC236}">
                  <a16:creationId xmlns:a16="http://schemas.microsoft.com/office/drawing/2014/main" xmlns="" id="{D6571339-93A6-44E9-A7D6-D1D0030C45FA}"/>
                </a:ext>
              </a:extLst>
            </p:cNvPr>
            <p:cNvSpPr/>
            <p:nvPr userDrawn="1"/>
          </p:nvSpPr>
          <p:spPr bwMode="auto">
            <a:xfrm>
              <a:off x="5387976" y="373697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8" name="íşḷíḋé">
              <a:extLst>
                <a:ext uri="{FF2B5EF4-FFF2-40B4-BE49-F238E27FC236}">
                  <a16:creationId xmlns:a16="http://schemas.microsoft.com/office/drawing/2014/main" xmlns="" id="{6B7EE26B-9F75-4FFF-9306-6C1BFEC7159C}"/>
                </a:ext>
              </a:extLst>
            </p:cNvPr>
            <p:cNvSpPr/>
            <p:nvPr userDrawn="1"/>
          </p:nvSpPr>
          <p:spPr bwMode="auto">
            <a:xfrm>
              <a:off x="5507038" y="3667126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9" name="íşḻíḋé">
              <a:extLst>
                <a:ext uri="{FF2B5EF4-FFF2-40B4-BE49-F238E27FC236}">
                  <a16:creationId xmlns:a16="http://schemas.microsoft.com/office/drawing/2014/main" xmlns="" id="{DEC26B47-7325-4570-A8D4-C622F97FAFE2}"/>
                </a:ext>
              </a:extLst>
            </p:cNvPr>
            <p:cNvSpPr/>
            <p:nvPr userDrawn="1"/>
          </p:nvSpPr>
          <p:spPr bwMode="auto">
            <a:xfrm>
              <a:off x="5629276" y="35988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4" y="23"/>
                    <a:pt x="9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0" name="îśļiḋê">
              <a:extLst>
                <a:ext uri="{FF2B5EF4-FFF2-40B4-BE49-F238E27FC236}">
                  <a16:creationId xmlns:a16="http://schemas.microsoft.com/office/drawing/2014/main" xmlns="" id="{8CAD7B82-8227-4F91-9598-4F01D21E3ABF}"/>
                </a:ext>
              </a:extLst>
            </p:cNvPr>
            <p:cNvSpPr/>
            <p:nvPr userDrawn="1"/>
          </p:nvSpPr>
          <p:spPr bwMode="auto">
            <a:xfrm>
              <a:off x="5748338" y="3529013"/>
              <a:ext cx="161925" cy="95250"/>
            </a:xfrm>
            <a:custGeom>
              <a:avLst/>
              <a:gdLst>
                <a:gd name="T0" fmla="*/ 49 w 49"/>
                <a:gd name="T1" fmla="*/ 15 h 29"/>
                <a:gd name="T2" fmla="*/ 25 w 49"/>
                <a:gd name="T3" fmla="*/ 29 h 29"/>
                <a:gd name="T4" fmla="*/ 0 w 49"/>
                <a:gd name="T5" fmla="*/ 15 h 29"/>
                <a:gd name="T6" fmla="*/ 24 w 49"/>
                <a:gd name="T7" fmla="*/ 0 h 29"/>
                <a:gd name="T8" fmla="*/ 49 w 49"/>
                <a:gd name="T9" fmla="*/ 1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5"/>
                  </a:moveTo>
                  <a:cubicBezTo>
                    <a:pt x="39" y="20"/>
                    <a:pt x="34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1" name="ísľïḑé">
              <a:extLst>
                <a:ext uri="{FF2B5EF4-FFF2-40B4-BE49-F238E27FC236}">
                  <a16:creationId xmlns:a16="http://schemas.microsoft.com/office/drawing/2014/main" xmlns="" id="{6A052528-04DC-47B1-8F71-B78F5A7C4043}"/>
                </a:ext>
              </a:extLst>
            </p:cNvPr>
            <p:cNvSpPr/>
            <p:nvPr userDrawn="1"/>
          </p:nvSpPr>
          <p:spPr bwMode="auto">
            <a:xfrm>
              <a:off x="5867401" y="3463926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2" name="ïṣľíḋe">
              <a:extLst>
                <a:ext uri="{FF2B5EF4-FFF2-40B4-BE49-F238E27FC236}">
                  <a16:creationId xmlns:a16="http://schemas.microsoft.com/office/drawing/2014/main" xmlns="" id="{330319B4-BEE0-4664-9451-C0608908E8A7}"/>
                </a:ext>
              </a:extLst>
            </p:cNvPr>
            <p:cNvSpPr/>
            <p:nvPr userDrawn="1"/>
          </p:nvSpPr>
          <p:spPr bwMode="auto">
            <a:xfrm>
              <a:off x="5984876" y="3394076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3" name="îṣľîdè">
              <a:extLst>
                <a:ext uri="{FF2B5EF4-FFF2-40B4-BE49-F238E27FC236}">
                  <a16:creationId xmlns:a16="http://schemas.microsoft.com/office/drawing/2014/main" xmlns="" id="{8B6735AD-52E4-4653-9761-D0B75EB61641}"/>
                </a:ext>
              </a:extLst>
            </p:cNvPr>
            <p:cNvSpPr/>
            <p:nvPr userDrawn="1"/>
          </p:nvSpPr>
          <p:spPr bwMode="auto">
            <a:xfrm>
              <a:off x="6103938" y="3324226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4" name="îşḷîdè">
              <a:extLst>
                <a:ext uri="{FF2B5EF4-FFF2-40B4-BE49-F238E27FC236}">
                  <a16:creationId xmlns:a16="http://schemas.microsoft.com/office/drawing/2014/main" xmlns="" id="{18973556-C3AB-4989-A479-4ED43A8267D4}"/>
                </a:ext>
              </a:extLst>
            </p:cNvPr>
            <p:cNvSpPr/>
            <p:nvPr userDrawn="1"/>
          </p:nvSpPr>
          <p:spPr bwMode="auto">
            <a:xfrm>
              <a:off x="6226176" y="32559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5" name="iŝļïďé">
              <a:extLst>
                <a:ext uri="{FF2B5EF4-FFF2-40B4-BE49-F238E27FC236}">
                  <a16:creationId xmlns:a16="http://schemas.microsoft.com/office/drawing/2014/main" xmlns="" id="{5F4E97A4-7C51-400C-A266-48FD3A4479A2}"/>
                </a:ext>
              </a:extLst>
            </p:cNvPr>
            <p:cNvSpPr/>
            <p:nvPr userDrawn="1"/>
          </p:nvSpPr>
          <p:spPr bwMode="auto">
            <a:xfrm>
              <a:off x="6345238" y="3157538"/>
              <a:ext cx="214313" cy="123825"/>
            </a:xfrm>
            <a:custGeom>
              <a:avLst/>
              <a:gdLst>
                <a:gd name="T0" fmla="*/ 65 w 65"/>
                <a:gd name="T1" fmla="*/ 15 h 38"/>
                <a:gd name="T2" fmla="*/ 25 w 65"/>
                <a:gd name="T3" fmla="*/ 38 h 38"/>
                <a:gd name="T4" fmla="*/ 0 w 65"/>
                <a:gd name="T5" fmla="*/ 24 h 38"/>
                <a:gd name="T6" fmla="*/ 40 w 65"/>
                <a:gd name="T7" fmla="*/ 0 h 38"/>
                <a:gd name="T8" fmla="*/ 65 w 65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8">
                  <a:moveTo>
                    <a:pt x="65" y="15"/>
                  </a:moveTo>
                  <a:cubicBezTo>
                    <a:pt x="49" y="24"/>
                    <a:pt x="41" y="28"/>
                    <a:pt x="25" y="38"/>
                  </a:cubicBezTo>
                  <a:cubicBezTo>
                    <a:pt x="15" y="32"/>
                    <a:pt x="10" y="29"/>
                    <a:pt x="0" y="24"/>
                  </a:cubicBezTo>
                  <a:cubicBezTo>
                    <a:pt x="16" y="14"/>
                    <a:pt x="24" y="10"/>
                    <a:pt x="40" y="0"/>
                  </a:cubicBezTo>
                  <a:cubicBezTo>
                    <a:pt x="50" y="6"/>
                    <a:pt x="55" y="9"/>
                    <a:pt x="65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6" name="isliďê">
              <a:extLst>
                <a:ext uri="{FF2B5EF4-FFF2-40B4-BE49-F238E27FC236}">
                  <a16:creationId xmlns:a16="http://schemas.microsoft.com/office/drawing/2014/main" xmlns="" id="{DF523883-79BF-4F56-9C24-52798D7CE476}"/>
                </a:ext>
              </a:extLst>
            </p:cNvPr>
            <p:cNvSpPr/>
            <p:nvPr userDrawn="1"/>
          </p:nvSpPr>
          <p:spPr bwMode="auto">
            <a:xfrm>
              <a:off x="6464301" y="31210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7" name="íṩliḍé">
              <a:extLst>
                <a:ext uri="{FF2B5EF4-FFF2-40B4-BE49-F238E27FC236}">
                  <a16:creationId xmlns:a16="http://schemas.microsoft.com/office/drawing/2014/main" xmlns="" id="{8779DD0A-1812-4737-8242-ADD01E0C7018}"/>
                </a:ext>
              </a:extLst>
            </p:cNvPr>
            <p:cNvSpPr/>
            <p:nvPr userDrawn="1"/>
          </p:nvSpPr>
          <p:spPr bwMode="auto">
            <a:xfrm>
              <a:off x="5280026" y="3948113"/>
              <a:ext cx="163513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8" name="išḷïḓé">
              <a:extLst>
                <a:ext uri="{FF2B5EF4-FFF2-40B4-BE49-F238E27FC236}">
                  <a16:creationId xmlns:a16="http://schemas.microsoft.com/office/drawing/2014/main" xmlns="" id="{196AD361-97D7-4030-A39D-612FBC816BFF}"/>
                </a:ext>
              </a:extLst>
            </p:cNvPr>
            <p:cNvSpPr/>
            <p:nvPr userDrawn="1"/>
          </p:nvSpPr>
          <p:spPr bwMode="auto">
            <a:xfrm>
              <a:off x="5397501" y="3878263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9" name="íšliḍè">
              <a:extLst>
                <a:ext uri="{FF2B5EF4-FFF2-40B4-BE49-F238E27FC236}">
                  <a16:creationId xmlns:a16="http://schemas.microsoft.com/office/drawing/2014/main" xmlns="" id="{BF2DF33E-25D3-4D3A-8FC2-E54327EA115D}"/>
                </a:ext>
              </a:extLst>
            </p:cNvPr>
            <p:cNvSpPr/>
            <p:nvPr userDrawn="1"/>
          </p:nvSpPr>
          <p:spPr bwMode="auto">
            <a:xfrm>
              <a:off x="5519738" y="38100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0" name="iṥ1iďê">
              <a:extLst>
                <a:ext uri="{FF2B5EF4-FFF2-40B4-BE49-F238E27FC236}">
                  <a16:creationId xmlns:a16="http://schemas.microsoft.com/office/drawing/2014/main" xmlns="" id="{658440A3-F7DA-4B27-A157-E965564EABF4}"/>
                </a:ext>
              </a:extLst>
            </p:cNvPr>
            <p:cNvSpPr/>
            <p:nvPr userDrawn="1"/>
          </p:nvSpPr>
          <p:spPr bwMode="auto">
            <a:xfrm>
              <a:off x="5638801" y="3397251"/>
              <a:ext cx="758825" cy="438150"/>
            </a:xfrm>
            <a:custGeom>
              <a:avLst/>
              <a:gdLst>
                <a:gd name="T0" fmla="*/ 230 w 230"/>
                <a:gd name="T1" fmla="*/ 15 h 133"/>
                <a:gd name="T2" fmla="*/ 25 w 230"/>
                <a:gd name="T3" fmla="*/ 133 h 133"/>
                <a:gd name="T4" fmla="*/ 0 w 230"/>
                <a:gd name="T5" fmla="*/ 119 h 133"/>
                <a:gd name="T6" fmla="*/ 206 w 230"/>
                <a:gd name="T7" fmla="*/ 0 h 133"/>
                <a:gd name="T8" fmla="*/ 230 w 230"/>
                <a:gd name="T9" fmla="*/ 1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133">
                  <a:moveTo>
                    <a:pt x="230" y="15"/>
                  </a:moveTo>
                  <a:cubicBezTo>
                    <a:pt x="162" y="54"/>
                    <a:pt x="93" y="93"/>
                    <a:pt x="25" y="133"/>
                  </a:cubicBezTo>
                  <a:cubicBezTo>
                    <a:pt x="15" y="127"/>
                    <a:pt x="10" y="124"/>
                    <a:pt x="0" y="119"/>
                  </a:cubicBezTo>
                  <a:cubicBezTo>
                    <a:pt x="68" y="79"/>
                    <a:pt x="137" y="40"/>
                    <a:pt x="206" y="0"/>
                  </a:cubicBezTo>
                  <a:cubicBezTo>
                    <a:pt x="216" y="6"/>
                    <a:pt x="221" y="9"/>
                    <a:pt x="230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1" name="iSḷîḋe">
              <a:extLst>
                <a:ext uri="{FF2B5EF4-FFF2-40B4-BE49-F238E27FC236}">
                  <a16:creationId xmlns:a16="http://schemas.microsoft.com/office/drawing/2014/main" xmlns="" id="{BE2D1CD3-19AC-46C1-B78E-CA9AA28099E0}"/>
                </a:ext>
              </a:extLst>
            </p:cNvPr>
            <p:cNvSpPr/>
            <p:nvPr userDrawn="1"/>
          </p:nvSpPr>
          <p:spPr bwMode="auto">
            <a:xfrm>
              <a:off x="6354763" y="33321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2" name="ïṥḷíḍé">
              <a:extLst>
                <a:ext uri="{FF2B5EF4-FFF2-40B4-BE49-F238E27FC236}">
                  <a16:creationId xmlns:a16="http://schemas.microsoft.com/office/drawing/2014/main" xmlns="" id="{98E9DFF9-F9DA-41B7-A24B-7F4692630EE1}"/>
                </a:ext>
              </a:extLst>
            </p:cNvPr>
            <p:cNvSpPr/>
            <p:nvPr userDrawn="1"/>
          </p:nvSpPr>
          <p:spPr bwMode="auto">
            <a:xfrm>
              <a:off x="6477001" y="326231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2"/>
                    <a:pt x="24" y="28"/>
                  </a:cubicBezTo>
                  <a:cubicBezTo>
                    <a:pt x="14" y="22"/>
                    <a:pt x="9" y="20"/>
                    <a:pt x="0" y="14"/>
                  </a:cubicBezTo>
                  <a:cubicBezTo>
                    <a:pt x="9" y="8"/>
                    <a:pt x="14" y="6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3" name="iṩļiḑe">
              <a:extLst>
                <a:ext uri="{FF2B5EF4-FFF2-40B4-BE49-F238E27FC236}">
                  <a16:creationId xmlns:a16="http://schemas.microsoft.com/office/drawing/2014/main" xmlns="" id="{DA4E753F-6E6C-4CFC-935F-3CEBA547C685}"/>
                </a:ext>
              </a:extLst>
            </p:cNvPr>
            <p:cNvSpPr/>
            <p:nvPr userDrawn="1"/>
          </p:nvSpPr>
          <p:spPr bwMode="auto">
            <a:xfrm>
              <a:off x="6596063" y="31924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4" name="ísḻïḑe">
              <a:extLst>
                <a:ext uri="{FF2B5EF4-FFF2-40B4-BE49-F238E27FC236}">
                  <a16:creationId xmlns:a16="http://schemas.microsoft.com/office/drawing/2014/main" xmlns="" id="{C75B819D-7CDD-4816-A862-4FA7F13DFF84}"/>
                </a:ext>
              </a:extLst>
            </p:cNvPr>
            <p:cNvSpPr/>
            <p:nvPr userDrawn="1"/>
          </p:nvSpPr>
          <p:spPr bwMode="auto">
            <a:xfrm>
              <a:off x="5843588" y="3546476"/>
              <a:ext cx="877888" cy="517525"/>
            </a:xfrm>
            <a:custGeom>
              <a:avLst/>
              <a:gdLst>
                <a:gd name="T0" fmla="*/ 0 w 553"/>
                <a:gd name="T1" fmla="*/ 203 h 326"/>
                <a:gd name="T2" fmla="*/ 353 w 553"/>
                <a:gd name="T3" fmla="*/ 0 h 326"/>
                <a:gd name="T4" fmla="*/ 553 w 553"/>
                <a:gd name="T5" fmla="*/ 124 h 326"/>
                <a:gd name="T6" fmla="*/ 202 w 553"/>
                <a:gd name="T7" fmla="*/ 326 h 326"/>
                <a:gd name="T8" fmla="*/ 0 w 553"/>
                <a:gd name="T9" fmla="*/ 20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3" h="326">
                  <a:moveTo>
                    <a:pt x="0" y="203"/>
                  </a:moveTo>
                  <a:lnTo>
                    <a:pt x="353" y="0"/>
                  </a:lnTo>
                  <a:lnTo>
                    <a:pt x="553" y="124"/>
                  </a:lnTo>
                  <a:lnTo>
                    <a:pt x="202" y="326"/>
                  </a:lnTo>
                  <a:lnTo>
                    <a:pt x="0" y="203"/>
                  </a:ln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5" name="îşļïdè">
              <a:extLst>
                <a:ext uri="{FF2B5EF4-FFF2-40B4-BE49-F238E27FC236}">
                  <a16:creationId xmlns:a16="http://schemas.microsoft.com/office/drawing/2014/main" xmlns="" id="{B39FF987-F311-4495-9680-B943E6472C80}"/>
                </a:ext>
              </a:extLst>
            </p:cNvPr>
            <p:cNvSpPr/>
            <p:nvPr userDrawn="1"/>
          </p:nvSpPr>
          <p:spPr bwMode="auto">
            <a:xfrm>
              <a:off x="5849938" y="2230438"/>
              <a:ext cx="95250" cy="58738"/>
            </a:xfrm>
            <a:custGeom>
              <a:avLst/>
              <a:gdLst>
                <a:gd name="T0" fmla="*/ 0 w 60"/>
                <a:gd name="T1" fmla="*/ 35 h 37"/>
                <a:gd name="T2" fmla="*/ 60 w 60"/>
                <a:gd name="T3" fmla="*/ 0 h 37"/>
                <a:gd name="T4" fmla="*/ 60 w 60"/>
                <a:gd name="T5" fmla="*/ 2 h 37"/>
                <a:gd name="T6" fmla="*/ 0 w 60"/>
                <a:gd name="T7" fmla="*/ 37 h 37"/>
                <a:gd name="T8" fmla="*/ 0 w 60"/>
                <a:gd name="T9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37">
                  <a:moveTo>
                    <a:pt x="0" y="35"/>
                  </a:moveTo>
                  <a:lnTo>
                    <a:pt x="60" y="0"/>
                  </a:lnTo>
                  <a:lnTo>
                    <a:pt x="60" y="2"/>
                  </a:lnTo>
                  <a:lnTo>
                    <a:pt x="0" y="37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6" name="ïsļídè">
              <a:extLst>
                <a:ext uri="{FF2B5EF4-FFF2-40B4-BE49-F238E27FC236}">
                  <a16:creationId xmlns:a16="http://schemas.microsoft.com/office/drawing/2014/main" xmlns="" id="{6F5FF83F-1160-4E4D-B0C0-848971655BE7}"/>
                </a:ext>
              </a:extLst>
            </p:cNvPr>
            <p:cNvSpPr/>
            <p:nvPr userDrawn="1"/>
          </p:nvSpPr>
          <p:spPr bwMode="auto">
            <a:xfrm>
              <a:off x="5773738" y="2306638"/>
              <a:ext cx="36513" cy="25400"/>
            </a:xfrm>
            <a:custGeom>
              <a:avLst/>
              <a:gdLst>
                <a:gd name="T0" fmla="*/ 0 w 23"/>
                <a:gd name="T1" fmla="*/ 16 h 16"/>
                <a:gd name="T2" fmla="*/ 0 w 23"/>
                <a:gd name="T3" fmla="*/ 14 h 16"/>
                <a:gd name="T4" fmla="*/ 23 w 23"/>
                <a:gd name="T5" fmla="*/ 0 h 16"/>
                <a:gd name="T6" fmla="*/ 21 w 23"/>
                <a:gd name="T7" fmla="*/ 4 h 16"/>
                <a:gd name="T8" fmla="*/ 0 w 2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6">
                  <a:moveTo>
                    <a:pt x="0" y="16"/>
                  </a:moveTo>
                  <a:lnTo>
                    <a:pt x="0" y="14"/>
                  </a:lnTo>
                  <a:lnTo>
                    <a:pt x="23" y="0"/>
                  </a:lnTo>
                  <a:lnTo>
                    <a:pt x="21" y="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7" name="ïṩļîdè">
              <a:extLst>
                <a:ext uri="{FF2B5EF4-FFF2-40B4-BE49-F238E27FC236}">
                  <a16:creationId xmlns:a16="http://schemas.microsoft.com/office/drawing/2014/main" xmlns="" id="{61F1CF67-4767-4441-97D3-8F1B4D9D5E14}"/>
                </a:ext>
              </a:extLst>
            </p:cNvPr>
            <p:cNvSpPr/>
            <p:nvPr userDrawn="1"/>
          </p:nvSpPr>
          <p:spPr bwMode="auto">
            <a:xfrm>
              <a:off x="5892801" y="2335213"/>
              <a:ext cx="52388" cy="36513"/>
            </a:xfrm>
            <a:custGeom>
              <a:avLst/>
              <a:gdLst>
                <a:gd name="T0" fmla="*/ 0 w 33"/>
                <a:gd name="T1" fmla="*/ 21 h 23"/>
                <a:gd name="T2" fmla="*/ 33 w 33"/>
                <a:gd name="T3" fmla="*/ 0 h 23"/>
                <a:gd name="T4" fmla="*/ 33 w 33"/>
                <a:gd name="T5" fmla="*/ 5 h 23"/>
                <a:gd name="T6" fmla="*/ 2 w 33"/>
                <a:gd name="T7" fmla="*/ 23 h 23"/>
                <a:gd name="T8" fmla="*/ 0 w 3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0" y="21"/>
                  </a:moveTo>
                  <a:lnTo>
                    <a:pt x="33" y="0"/>
                  </a:lnTo>
                  <a:lnTo>
                    <a:pt x="33" y="5"/>
                  </a:lnTo>
                  <a:lnTo>
                    <a:pt x="2" y="23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8" name="ïṧľîḋe">
              <a:extLst>
                <a:ext uri="{FF2B5EF4-FFF2-40B4-BE49-F238E27FC236}">
                  <a16:creationId xmlns:a16="http://schemas.microsoft.com/office/drawing/2014/main" xmlns="" id="{0ACA5735-D897-45E5-8CF4-27BAFDF308A2}"/>
                </a:ext>
              </a:extLst>
            </p:cNvPr>
            <p:cNvSpPr/>
            <p:nvPr userDrawn="1"/>
          </p:nvSpPr>
          <p:spPr bwMode="auto">
            <a:xfrm>
              <a:off x="5705476" y="2249488"/>
              <a:ext cx="239713" cy="357188"/>
            </a:xfrm>
            <a:custGeom>
              <a:avLst/>
              <a:gdLst>
                <a:gd name="T0" fmla="*/ 120 w 151"/>
                <a:gd name="T1" fmla="*/ 77 h 225"/>
                <a:gd name="T2" fmla="*/ 151 w 151"/>
                <a:gd name="T3" fmla="*/ 137 h 225"/>
                <a:gd name="T4" fmla="*/ 112 w 151"/>
                <a:gd name="T5" fmla="*/ 160 h 225"/>
                <a:gd name="T6" fmla="*/ 0 w 151"/>
                <a:gd name="T7" fmla="*/ 225 h 225"/>
                <a:gd name="T8" fmla="*/ 54 w 151"/>
                <a:gd name="T9" fmla="*/ 69 h 225"/>
                <a:gd name="T10" fmla="*/ 64 w 151"/>
                <a:gd name="T11" fmla="*/ 40 h 225"/>
                <a:gd name="T12" fmla="*/ 66 w 151"/>
                <a:gd name="T13" fmla="*/ 36 h 225"/>
                <a:gd name="T14" fmla="*/ 79 w 151"/>
                <a:gd name="T15" fmla="*/ 0 h 225"/>
                <a:gd name="T16" fmla="*/ 91 w 151"/>
                <a:gd name="T17" fmla="*/ 23 h 225"/>
                <a:gd name="T18" fmla="*/ 91 w 151"/>
                <a:gd name="T19" fmla="*/ 25 h 225"/>
                <a:gd name="T20" fmla="*/ 118 w 151"/>
                <a:gd name="T21" fmla="*/ 75 h 225"/>
                <a:gd name="T22" fmla="*/ 120 w 151"/>
                <a:gd name="T23" fmla="*/ 7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1" h="225">
                  <a:moveTo>
                    <a:pt x="120" y="77"/>
                  </a:moveTo>
                  <a:lnTo>
                    <a:pt x="151" y="137"/>
                  </a:lnTo>
                  <a:lnTo>
                    <a:pt x="112" y="160"/>
                  </a:lnTo>
                  <a:lnTo>
                    <a:pt x="0" y="225"/>
                  </a:lnTo>
                  <a:lnTo>
                    <a:pt x="54" y="69"/>
                  </a:lnTo>
                  <a:lnTo>
                    <a:pt x="64" y="40"/>
                  </a:lnTo>
                  <a:lnTo>
                    <a:pt x="66" y="36"/>
                  </a:lnTo>
                  <a:lnTo>
                    <a:pt x="79" y="0"/>
                  </a:lnTo>
                  <a:lnTo>
                    <a:pt x="91" y="23"/>
                  </a:lnTo>
                  <a:lnTo>
                    <a:pt x="91" y="25"/>
                  </a:lnTo>
                  <a:lnTo>
                    <a:pt x="118" y="75"/>
                  </a:lnTo>
                  <a:lnTo>
                    <a:pt x="120" y="7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9" name="îş1iḓê">
              <a:extLst>
                <a:ext uri="{FF2B5EF4-FFF2-40B4-BE49-F238E27FC236}">
                  <a16:creationId xmlns:a16="http://schemas.microsoft.com/office/drawing/2014/main" xmlns="" id="{D5ECFE29-BC95-4C54-8890-5E87437E1F10}"/>
                </a:ext>
              </a:extLst>
            </p:cNvPr>
            <p:cNvSpPr/>
            <p:nvPr userDrawn="1"/>
          </p:nvSpPr>
          <p:spPr bwMode="auto">
            <a:xfrm>
              <a:off x="5638801" y="2292351"/>
              <a:ext cx="152400" cy="314325"/>
            </a:xfrm>
            <a:custGeom>
              <a:avLst/>
              <a:gdLst>
                <a:gd name="T0" fmla="*/ 85 w 96"/>
                <a:gd name="T1" fmla="*/ 25 h 198"/>
                <a:gd name="T2" fmla="*/ 96 w 96"/>
                <a:gd name="T3" fmla="*/ 42 h 198"/>
                <a:gd name="T4" fmla="*/ 42 w 96"/>
                <a:gd name="T5" fmla="*/ 198 h 198"/>
                <a:gd name="T6" fmla="*/ 0 w 96"/>
                <a:gd name="T7" fmla="*/ 181 h 198"/>
                <a:gd name="T8" fmla="*/ 21 w 96"/>
                <a:gd name="T9" fmla="*/ 131 h 198"/>
                <a:gd name="T10" fmla="*/ 21 w 96"/>
                <a:gd name="T11" fmla="*/ 127 h 198"/>
                <a:gd name="T12" fmla="*/ 54 w 96"/>
                <a:gd name="T13" fmla="*/ 44 h 198"/>
                <a:gd name="T14" fmla="*/ 54 w 96"/>
                <a:gd name="T15" fmla="*/ 40 h 198"/>
                <a:gd name="T16" fmla="*/ 71 w 96"/>
                <a:gd name="T17" fmla="*/ 0 h 198"/>
                <a:gd name="T18" fmla="*/ 85 w 96"/>
                <a:gd name="T19" fmla="*/ 23 h 198"/>
                <a:gd name="T20" fmla="*/ 85 w 96"/>
                <a:gd name="T21" fmla="*/ 25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198">
                  <a:moveTo>
                    <a:pt x="85" y="25"/>
                  </a:moveTo>
                  <a:lnTo>
                    <a:pt x="96" y="42"/>
                  </a:lnTo>
                  <a:lnTo>
                    <a:pt x="42" y="198"/>
                  </a:lnTo>
                  <a:lnTo>
                    <a:pt x="0" y="181"/>
                  </a:lnTo>
                  <a:lnTo>
                    <a:pt x="21" y="131"/>
                  </a:lnTo>
                  <a:lnTo>
                    <a:pt x="21" y="127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71" y="0"/>
                  </a:lnTo>
                  <a:lnTo>
                    <a:pt x="85" y="23"/>
                  </a:lnTo>
                  <a:lnTo>
                    <a:pt x="85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0" name="ïSľîḋe">
              <a:extLst>
                <a:ext uri="{FF2B5EF4-FFF2-40B4-BE49-F238E27FC236}">
                  <a16:creationId xmlns:a16="http://schemas.microsoft.com/office/drawing/2014/main" xmlns="" id="{202640B7-7735-464F-9A39-8736A16DFA28}"/>
                </a:ext>
              </a:extLst>
            </p:cNvPr>
            <p:cNvSpPr/>
            <p:nvPr userDrawn="1"/>
          </p:nvSpPr>
          <p:spPr bwMode="auto">
            <a:xfrm>
              <a:off x="5443538" y="2557463"/>
              <a:ext cx="261938" cy="200025"/>
            </a:xfrm>
            <a:custGeom>
              <a:avLst/>
              <a:gdLst>
                <a:gd name="T0" fmla="*/ 82 w 165"/>
                <a:gd name="T1" fmla="*/ 0 h 126"/>
                <a:gd name="T2" fmla="*/ 123 w 165"/>
                <a:gd name="T3" fmla="*/ 14 h 126"/>
                <a:gd name="T4" fmla="*/ 165 w 165"/>
                <a:gd name="T5" fmla="*/ 31 h 126"/>
                <a:gd name="T6" fmla="*/ 104 w 165"/>
                <a:gd name="T7" fmla="*/ 66 h 126"/>
                <a:gd name="T8" fmla="*/ 0 w 165"/>
                <a:gd name="T9" fmla="*/ 126 h 126"/>
                <a:gd name="T10" fmla="*/ 67 w 165"/>
                <a:gd name="T11" fmla="*/ 18 h 126"/>
                <a:gd name="T12" fmla="*/ 79 w 165"/>
                <a:gd name="T13" fmla="*/ 0 h 126"/>
                <a:gd name="T14" fmla="*/ 82 w 165"/>
                <a:gd name="T15" fmla="*/ 0 h 126"/>
                <a:gd name="T16" fmla="*/ 82 w 165"/>
                <a:gd name="T1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26">
                  <a:moveTo>
                    <a:pt x="82" y="0"/>
                  </a:moveTo>
                  <a:lnTo>
                    <a:pt x="123" y="14"/>
                  </a:lnTo>
                  <a:lnTo>
                    <a:pt x="165" y="31"/>
                  </a:lnTo>
                  <a:lnTo>
                    <a:pt x="104" y="66"/>
                  </a:lnTo>
                  <a:lnTo>
                    <a:pt x="0" y="126"/>
                  </a:lnTo>
                  <a:lnTo>
                    <a:pt x="67" y="18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1" name="íṧľiḓè">
              <a:extLst>
                <a:ext uri="{FF2B5EF4-FFF2-40B4-BE49-F238E27FC236}">
                  <a16:creationId xmlns:a16="http://schemas.microsoft.com/office/drawing/2014/main" xmlns="" id="{2BB718A4-8BD7-4C62-8D21-9364EBFC506E}"/>
                </a:ext>
              </a:extLst>
            </p:cNvPr>
            <p:cNvSpPr/>
            <p:nvPr userDrawn="1"/>
          </p:nvSpPr>
          <p:spPr bwMode="auto">
            <a:xfrm>
              <a:off x="5540376" y="2493963"/>
              <a:ext cx="131763" cy="79375"/>
            </a:xfrm>
            <a:custGeom>
              <a:avLst/>
              <a:gdLst>
                <a:gd name="T0" fmla="*/ 0 w 83"/>
                <a:gd name="T1" fmla="*/ 50 h 50"/>
                <a:gd name="T2" fmla="*/ 0 w 83"/>
                <a:gd name="T3" fmla="*/ 50 h 50"/>
                <a:gd name="T4" fmla="*/ 83 w 83"/>
                <a:gd name="T5" fmla="*/ 0 h 50"/>
                <a:gd name="T6" fmla="*/ 83 w 83"/>
                <a:gd name="T7" fmla="*/ 4 h 50"/>
                <a:gd name="T8" fmla="*/ 21 w 83"/>
                <a:gd name="T9" fmla="*/ 40 h 50"/>
                <a:gd name="T10" fmla="*/ 21 w 83"/>
                <a:gd name="T11" fmla="*/ 40 h 50"/>
                <a:gd name="T12" fmla="*/ 18 w 83"/>
                <a:gd name="T13" fmla="*/ 40 h 50"/>
                <a:gd name="T14" fmla="*/ 0 w 83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50">
                  <a:moveTo>
                    <a:pt x="0" y="50"/>
                  </a:moveTo>
                  <a:lnTo>
                    <a:pt x="0" y="50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8" y="4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2" name="iṥľiḋe">
              <a:extLst>
                <a:ext uri="{FF2B5EF4-FFF2-40B4-BE49-F238E27FC236}">
                  <a16:creationId xmlns:a16="http://schemas.microsoft.com/office/drawing/2014/main" xmlns="" id="{8668FCA2-E8DE-4CE3-BCF1-40BDE02384D4}"/>
                </a:ext>
              </a:extLst>
            </p:cNvPr>
            <p:cNvSpPr/>
            <p:nvPr userDrawn="1"/>
          </p:nvSpPr>
          <p:spPr bwMode="auto">
            <a:xfrm>
              <a:off x="5418138" y="2517776"/>
              <a:ext cx="131763" cy="239713"/>
            </a:xfrm>
            <a:custGeom>
              <a:avLst/>
              <a:gdLst>
                <a:gd name="T0" fmla="*/ 77 w 83"/>
                <a:gd name="T1" fmla="*/ 35 h 151"/>
                <a:gd name="T2" fmla="*/ 83 w 83"/>
                <a:gd name="T3" fmla="*/ 43 h 151"/>
                <a:gd name="T4" fmla="*/ 16 w 83"/>
                <a:gd name="T5" fmla="*/ 151 h 151"/>
                <a:gd name="T6" fmla="*/ 0 w 83"/>
                <a:gd name="T7" fmla="*/ 120 h 151"/>
                <a:gd name="T8" fmla="*/ 21 w 83"/>
                <a:gd name="T9" fmla="*/ 68 h 151"/>
                <a:gd name="T10" fmla="*/ 23 w 83"/>
                <a:gd name="T11" fmla="*/ 66 h 151"/>
                <a:gd name="T12" fmla="*/ 50 w 83"/>
                <a:gd name="T13" fmla="*/ 0 h 151"/>
                <a:gd name="T14" fmla="*/ 77 w 83"/>
                <a:gd name="T15" fmla="*/ 35 h 151"/>
                <a:gd name="T16" fmla="*/ 77 w 83"/>
                <a:gd name="T17" fmla="*/ 3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51">
                  <a:moveTo>
                    <a:pt x="77" y="35"/>
                  </a:moveTo>
                  <a:lnTo>
                    <a:pt x="83" y="43"/>
                  </a:lnTo>
                  <a:lnTo>
                    <a:pt x="16" y="151"/>
                  </a:lnTo>
                  <a:lnTo>
                    <a:pt x="0" y="120"/>
                  </a:lnTo>
                  <a:lnTo>
                    <a:pt x="21" y="68"/>
                  </a:lnTo>
                  <a:lnTo>
                    <a:pt x="23" y="66"/>
                  </a:lnTo>
                  <a:lnTo>
                    <a:pt x="50" y="0"/>
                  </a:lnTo>
                  <a:lnTo>
                    <a:pt x="77" y="35"/>
                  </a:lnTo>
                  <a:lnTo>
                    <a:pt x="77" y="3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3" name="îṧḻîdê">
              <a:extLst>
                <a:ext uri="{FF2B5EF4-FFF2-40B4-BE49-F238E27FC236}">
                  <a16:creationId xmlns:a16="http://schemas.microsoft.com/office/drawing/2014/main" xmlns="" id="{771B0BBC-0271-4CBF-BADC-88FF4A8515DA}"/>
                </a:ext>
              </a:extLst>
            </p:cNvPr>
            <p:cNvSpPr/>
            <p:nvPr userDrawn="1"/>
          </p:nvSpPr>
          <p:spPr bwMode="auto">
            <a:xfrm>
              <a:off x="5391151" y="2622551"/>
              <a:ext cx="63500" cy="36513"/>
            </a:xfrm>
            <a:custGeom>
              <a:avLst/>
              <a:gdLst>
                <a:gd name="T0" fmla="*/ 0 w 40"/>
                <a:gd name="T1" fmla="*/ 23 h 23"/>
                <a:gd name="T2" fmla="*/ 0 w 40"/>
                <a:gd name="T3" fmla="*/ 21 h 23"/>
                <a:gd name="T4" fmla="*/ 40 w 40"/>
                <a:gd name="T5" fmla="*/ 0 h 23"/>
                <a:gd name="T6" fmla="*/ 38 w 40"/>
                <a:gd name="T7" fmla="*/ 2 h 23"/>
                <a:gd name="T8" fmla="*/ 0 w 40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0" y="23"/>
                  </a:moveTo>
                  <a:lnTo>
                    <a:pt x="0" y="21"/>
                  </a:lnTo>
                  <a:lnTo>
                    <a:pt x="40" y="0"/>
                  </a:lnTo>
                  <a:lnTo>
                    <a:pt x="38" y="2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4" name="îşḷîḋe">
              <a:extLst>
                <a:ext uri="{FF2B5EF4-FFF2-40B4-BE49-F238E27FC236}">
                  <a16:creationId xmlns:a16="http://schemas.microsoft.com/office/drawing/2014/main" xmlns="" id="{E9A69E4E-5ADC-45EB-846E-C916C717B918}"/>
                </a:ext>
              </a:extLst>
            </p:cNvPr>
            <p:cNvSpPr/>
            <p:nvPr userDrawn="1"/>
          </p:nvSpPr>
          <p:spPr bwMode="auto">
            <a:xfrm>
              <a:off x="5348288" y="2355851"/>
              <a:ext cx="376238" cy="220663"/>
            </a:xfrm>
            <a:custGeom>
              <a:avLst/>
              <a:gdLst>
                <a:gd name="T0" fmla="*/ 2 w 237"/>
                <a:gd name="T1" fmla="*/ 139 h 139"/>
                <a:gd name="T2" fmla="*/ 0 w 237"/>
                <a:gd name="T3" fmla="*/ 137 h 139"/>
                <a:gd name="T4" fmla="*/ 237 w 237"/>
                <a:gd name="T5" fmla="*/ 0 h 139"/>
                <a:gd name="T6" fmla="*/ 237 w 237"/>
                <a:gd name="T7" fmla="*/ 4 h 139"/>
                <a:gd name="T8" fmla="*/ 2 w 237"/>
                <a:gd name="T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39">
                  <a:moveTo>
                    <a:pt x="2" y="139"/>
                  </a:moveTo>
                  <a:lnTo>
                    <a:pt x="0" y="137"/>
                  </a:lnTo>
                  <a:lnTo>
                    <a:pt x="237" y="0"/>
                  </a:lnTo>
                  <a:lnTo>
                    <a:pt x="237" y="4"/>
                  </a:lnTo>
                  <a:lnTo>
                    <a:pt x="2" y="13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5" name="íṧľïḍe">
              <a:extLst>
                <a:ext uri="{FF2B5EF4-FFF2-40B4-BE49-F238E27FC236}">
                  <a16:creationId xmlns:a16="http://schemas.microsoft.com/office/drawing/2014/main" xmlns="" id="{551953D6-E41D-4F77-BEA2-320A9F22017E}"/>
                </a:ext>
              </a:extLst>
            </p:cNvPr>
            <p:cNvSpPr/>
            <p:nvPr userDrawn="1"/>
          </p:nvSpPr>
          <p:spPr bwMode="auto">
            <a:xfrm>
              <a:off x="5222876" y="2540001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6" name="ïślíḋè">
              <a:extLst>
                <a:ext uri="{FF2B5EF4-FFF2-40B4-BE49-F238E27FC236}">
                  <a16:creationId xmlns:a16="http://schemas.microsoft.com/office/drawing/2014/main" xmlns="" id="{EC7C67B2-596A-46FD-A4AF-F8EDE1B90CE5}"/>
                </a:ext>
              </a:extLst>
            </p:cNvPr>
            <p:cNvSpPr/>
            <p:nvPr userDrawn="1"/>
          </p:nvSpPr>
          <p:spPr bwMode="auto">
            <a:xfrm>
              <a:off x="5222876" y="2540001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7" name="ïṣ1iḍé">
              <a:extLst>
                <a:ext uri="{FF2B5EF4-FFF2-40B4-BE49-F238E27FC236}">
                  <a16:creationId xmlns:a16="http://schemas.microsoft.com/office/drawing/2014/main" xmlns="" id="{D46A48A8-7872-4D8D-8839-C100160CB958}"/>
                </a:ext>
              </a:extLst>
            </p:cNvPr>
            <p:cNvSpPr/>
            <p:nvPr userDrawn="1"/>
          </p:nvSpPr>
          <p:spPr bwMode="auto">
            <a:xfrm>
              <a:off x="5275263" y="2592388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8" name="îṩḷïḑê">
              <a:extLst>
                <a:ext uri="{FF2B5EF4-FFF2-40B4-BE49-F238E27FC236}">
                  <a16:creationId xmlns:a16="http://schemas.microsoft.com/office/drawing/2014/main" xmlns="" id="{F10BA295-A3E1-43BE-8098-439BF318BBA9}"/>
                </a:ext>
              </a:extLst>
            </p:cNvPr>
            <p:cNvSpPr/>
            <p:nvPr userDrawn="1"/>
          </p:nvSpPr>
          <p:spPr bwMode="auto">
            <a:xfrm>
              <a:off x="5275263" y="2592388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9" name="ïṡ1îde">
              <a:extLst>
                <a:ext uri="{FF2B5EF4-FFF2-40B4-BE49-F238E27FC236}">
                  <a16:creationId xmlns:a16="http://schemas.microsoft.com/office/drawing/2014/main" xmlns="" id="{BB5CE77F-170B-462A-8D80-89C121869C56}"/>
                </a:ext>
              </a:extLst>
            </p:cNvPr>
            <p:cNvSpPr/>
            <p:nvPr userDrawn="1"/>
          </p:nvSpPr>
          <p:spPr bwMode="auto">
            <a:xfrm>
              <a:off x="5226051" y="2114551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0" name="íṧļíďê">
              <a:extLst>
                <a:ext uri="{FF2B5EF4-FFF2-40B4-BE49-F238E27FC236}">
                  <a16:creationId xmlns:a16="http://schemas.microsoft.com/office/drawing/2014/main" xmlns="" id="{8DA24637-D287-422A-B59B-3FE55E8F5D5C}"/>
                </a:ext>
              </a:extLst>
            </p:cNvPr>
            <p:cNvSpPr/>
            <p:nvPr userDrawn="1"/>
          </p:nvSpPr>
          <p:spPr bwMode="auto">
            <a:xfrm>
              <a:off x="5226051" y="2114551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1" name="iś1íḍê">
              <a:extLst>
                <a:ext uri="{FF2B5EF4-FFF2-40B4-BE49-F238E27FC236}">
                  <a16:creationId xmlns:a16="http://schemas.microsoft.com/office/drawing/2014/main" xmlns="" id="{0EACF543-A2D2-4AD8-A5BA-C43E9289D8D7}"/>
                </a:ext>
              </a:extLst>
            </p:cNvPr>
            <p:cNvSpPr/>
            <p:nvPr userDrawn="1"/>
          </p:nvSpPr>
          <p:spPr bwMode="auto">
            <a:xfrm>
              <a:off x="4732338" y="2009776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2" name="îSľîḓè">
              <a:extLst>
                <a:ext uri="{FF2B5EF4-FFF2-40B4-BE49-F238E27FC236}">
                  <a16:creationId xmlns:a16="http://schemas.microsoft.com/office/drawing/2014/main" xmlns="" id="{626F0846-026A-4B7D-8976-2F913C4C694F}"/>
                </a:ext>
              </a:extLst>
            </p:cNvPr>
            <p:cNvSpPr/>
            <p:nvPr userDrawn="1"/>
          </p:nvSpPr>
          <p:spPr bwMode="auto">
            <a:xfrm>
              <a:off x="4732338" y="2009776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3" name="ïṣľidé">
              <a:extLst>
                <a:ext uri="{FF2B5EF4-FFF2-40B4-BE49-F238E27FC236}">
                  <a16:creationId xmlns:a16="http://schemas.microsoft.com/office/drawing/2014/main" xmlns="" id="{27BCE8F0-7AC1-428D-B6FD-6303CB702778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4" name="íṩlíďe">
              <a:extLst>
                <a:ext uri="{FF2B5EF4-FFF2-40B4-BE49-F238E27FC236}">
                  <a16:creationId xmlns:a16="http://schemas.microsoft.com/office/drawing/2014/main" xmlns="" id="{12C8F003-CF20-47BA-BD28-8F5183B40964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5" name="ï$lidè">
              <a:extLst>
                <a:ext uri="{FF2B5EF4-FFF2-40B4-BE49-F238E27FC236}">
                  <a16:creationId xmlns:a16="http://schemas.microsoft.com/office/drawing/2014/main" xmlns="" id="{3AA9498F-B60F-41C9-8C22-2031D9F52778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6" name="îṡḷide">
              <a:extLst>
                <a:ext uri="{FF2B5EF4-FFF2-40B4-BE49-F238E27FC236}">
                  <a16:creationId xmlns:a16="http://schemas.microsoft.com/office/drawing/2014/main" xmlns="" id="{2BB61EFE-0AD8-4738-8F5E-717BFD067BEF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7" name="î$1ïḋè">
              <a:extLst>
                <a:ext uri="{FF2B5EF4-FFF2-40B4-BE49-F238E27FC236}">
                  <a16:creationId xmlns:a16="http://schemas.microsoft.com/office/drawing/2014/main" xmlns="" id="{21B5FF3E-1775-4C22-A740-E26E787FB1E9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8" name="íśļîďè">
              <a:extLst>
                <a:ext uri="{FF2B5EF4-FFF2-40B4-BE49-F238E27FC236}">
                  <a16:creationId xmlns:a16="http://schemas.microsoft.com/office/drawing/2014/main" xmlns="" id="{F6FE0B6C-9123-45B3-85FE-D8BE035E8071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9" name="ïśḷïḋè">
              <a:extLst>
                <a:ext uri="{FF2B5EF4-FFF2-40B4-BE49-F238E27FC236}">
                  <a16:creationId xmlns:a16="http://schemas.microsoft.com/office/drawing/2014/main" xmlns="" id="{B22C9061-CCE2-421A-8C6F-3E3A79D6119C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0" name="îṣľïḍe">
              <a:extLst>
                <a:ext uri="{FF2B5EF4-FFF2-40B4-BE49-F238E27FC236}">
                  <a16:creationId xmlns:a16="http://schemas.microsoft.com/office/drawing/2014/main" xmlns="" id="{9895C798-8DA8-4172-B1C2-D161E8E42E10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1" name="îṣ1iďè">
              <a:extLst>
                <a:ext uri="{FF2B5EF4-FFF2-40B4-BE49-F238E27FC236}">
                  <a16:creationId xmlns:a16="http://schemas.microsoft.com/office/drawing/2014/main" xmlns="" id="{D2C5A1C0-50DA-4A6B-8CA4-27C363B8915A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2" name="îṣļíḑê">
              <a:extLst>
                <a:ext uri="{FF2B5EF4-FFF2-40B4-BE49-F238E27FC236}">
                  <a16:creationId xmlns:a16="http://schemas.microsoft.com/office/drawing/2014/main" xmlns="" id="{67DE1ED2-BF98-4364-9BE3-0CCC53771259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3" name="îṩlïďé">
              <a:extLst>
                <a:ext uri="{FF2B5EF4-FFF2-40B4-BE49-F238E27FC236}">
                  <a16:creationId xmlns:a16="http://schemas.microsoft.com/office/drawing/2014/main" xmlns="" id="{AA7A926A-E76E-4ECB-9946-57AFF374AFAA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4" name="îṡlïḋê">
              <a:extLst>
                <a:ext uri="{FF2B5EF4-FFF2-40B4-BE49-F238E27FC236}">
                  <a16:creationId xmlns:a16="http://schemas.microsoft.com/office/drawing/2014/main" xmlns="" id="{7AC93332-DAD1-44DA-B794-004860A57818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5" name="îšlíḍè">
              <a:extLst>
                <a:ext uri="{FF2B5EF4-FFF2-40B4-BE49-F238E27FC236}">
                  <a16:creationId xmlns:a16="http://schemas.microsoft.com/office/drawing/2014/main" xmlns="" id="{EEF2C3B8-939F-4802-AFE8-243F9EF0D620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6" name="ïṥḷïdé">
              <a:extLst>
                <a:ext uri="{FF2B5EF4-FFF2-40B4-BE49-F238E27FC236}">
                  <a16:creationId xmlns:a16="http://schemas.microsoft.com/office/drawing/2014/main" xmlns="" id="{69D3DB23-AD24-435D-B6D9-A0D9810F6E0E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7" name="íṩľide">
              <a:extLst>
                <a:ext uri="{FF2B5EF4-FFF2-40B4-BE49-F238E27FC236}">
                  <a16:creationId xmlns:a16="http://schemas.microsoft.com/office/drawing/2014/main" xmlns="" id="{CC14B2D7-BAD1-48EE-BCF6-ECDD63E7A1E3}"/>
                </a:ext>
              </a:extLst>
            </p:cNvPr>
            <p:cNvSpPr/>
            <p:nvPr userDrawn="1"/>
          </p:nvSpPr>
          <p:spPr bwMode="auto">
            <a:xfrm>
              <a:off x="4727576" y="1887538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8" name="ïṩļïḋé">
              <a:extLst>
                <a:ext uri="{FF2B5EF4-FFF2-40B4-BE49-F238E27FC236}">
                  <a16:creationId xmlns:a16="http://schemas.microsoft.com/office/drawing/2014/main" xmlns="" id="{8C56C6E6-BD4B-49F6-8839-285A9C659C76}"/>
                </a:ext>
              </a:extLst>
            </p:cNvPr>
            <p:cNvSpPr/>
            <p:nvPr userDrawn="1"/>
          </p:nvSpPr>
          <p:spPr bwMode="auto">
            <a:xfrm>
              <a:off x="4727576" y="1887538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9" name="iṧḷïḍe">
              <a:extLst>
                <a:ext uri="{FF2B5EF4-FFF2-40B4-BE49-F238E27FC236}">
                  <a16:creationId xmlns:a16="http://schemas.microsoft.com/office/drawing/2014/main" xmlns="" id="{029941D7-C574-45F9-A475-288D7CEEDC24}"/>
                </a:ext>
              </a:extLst>
            </p:cNvPr>
            <p:cNvSpPr/>
            <p:nvPr userDrawn="1"/>
          </p:nvSpPr>
          <p:spPr bwMode="auto">
            <a:xfrm>
              <a:off x="4727576" y="2463801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0" name="ïšľíḍe">
              <a:extLst>
                <a:ext uri="{FF2B5EF4-FFF2-40B4-BE49-F238E27FC236}">
                  <a16:creationId xmlns:a16="http://schemas.microsoft.com/office/drawing/2014/main" xmlns="" id="{7B4B3AB4-83E9-4115-B5B8-88801BDCAD80}"/>
                </a:ext>
              </a:extLst>
            </p:cNvPr>
            <p:cNvSpPr/>
            <p:nvPr userDrawn="1"/>
          </p:nvSpPr>
          <p:spPr bwMode="auto">
            <a:xfrm>
              <a:off x="4727576" y="2463801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1" name="isliḍe">
              <a:extLst>
                <a:ext uri="{FF2B5EF4-FFF2-40B4-BE49-F238E27FC236}">
                  <a16:creationId xmlns:a16="http://schemas.microsoft.com/office/drawing/2014/main" xmlns="" id="{E0061FEE-FE84-4D7B-9B14-BBCE21E521A8}"/>
                </a:ext>
              </a:extLst>
            </p:cNvPr>
            <p:cNvSpPr/>
            <p:nvPr userDrawn="1"/>
          </p:nvSpPr>
          <p:spPr bwMode="auto">
            <a:xfrm>
              <a:off x="4516438" y="1395413"/>
              <a:ext cx="1557338" cy="2301875"/>
            </a:xfrm>
            <a:custGeom>
              <a:avLst/>
              <a:gdLst>
                <a:gd name="T0" fmla="*/ 15 w 472"/>
                <a:gd name="T1" fmla="*/ 689 h 698"/>
                <a:gd name="T2" fmla="*/ 0 w 472"/>
                <a:gd name="T3" fmla="*/ 698 h 698"/>
                <a:gd name="T4" fmla="*/ 15 w 472"/>
                <a:gd name="T5" fmla="*/ 689 h 698"/>
                <a:gd name="T6" fmla="*/ 15 w 472"/>
                <a:gd name="T7" fmla="*/ 689 h 698"/>
                <a:gd name="T8" fmla="*/ 472 w 472"/>
                <a:gd name="T9" fmla="*/ 0 h 698"/>
                <a:gd name="T10" fmla="*/ 471 w 472"/>
                <a:gd name="T11" fmla="*/ 1 h 698"/>
                <a:gd name="T12" fmla="*/ 17 w 472"/>
                <a:gd name="T13" fmla="*/ 261 h 698"/>
                <a:gd name="T14" fmla="*/ 1 w 472"/>
                <a:gd name="T15" fmla="*/ 289 h 698"/>
                <a:gd name="T16" fmla="*/ 0 w 472"/>
                <a:gd name="T17" fmla="*/ 698 h 698"/>
                <a:gd name="T18" fmla="*/ 1 w 472"/>
                <a:gd name="T19" fmla="*/ 289 h 698"/>
                <a:gd name="T20" fmla="*/ 17 w 472"/>
                <a:gd name="T21" fmla="*/ 261 h 698"/>
                <a:gd name="T22" fmla="*/ 471 w 472"/>
                <a:gd name="T23" fmla="*/ 1 h 698"/>
                <a:gd name="T24" fmla="*/ 472 w 472"/>
                <a:gd name="T2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698">
                  <a:moveTo>
                    <a:pt x="15" y="689"/>
                  </a:moveTo>
                  <a:cubicBezTo>
                    <a:pt x="0" y="698"/>
                    <a:pt x="0" y="698"/>
                    <a:pt x="0" y="698"/>
                  </a:cubicBezTo>
                  <a:cubicBezTo>
                    <a:pt x="15" y="689"/>
                    <a:pt x="15" y="689"/>
                    <a:pt x="15" y="689"/>
                  </a:cubicBezTo>
                  <a:cubicBezTo>
                    <a:pt x="15" y="689"/>
                    <a:pt x="15" y="689"/>
                    <a:pt x="15" y="689"/>
                  </a:cubicBezTo>
                  <a:moveTo>
                    <a:pt x="472" y="0"/>
                  </a:moveTo>
                  <a:cubicBezTo>
                    <a:pt x="471" y="0"/>
                    <a:pt x="471" y="1"/>
                    <a:pt x="471" y="1"/>
                  </a:cubicBezTo>
                  <a:cubicBezTo>
                    <a:pt x="17" y="261"/>
                    <a:pt x="17" y="261"/>
                    <a:pt x="17" y="261"/>
                  </a:cubicBezTo>
                  <a:cubicBezTo>
                    <a:pt x="7" y="267"/>
                    <a:pt x="1" y="277"/>
                    <a:pt x="1" y="289"/>
                  </a:cubicBezTo>
                  <a:cubicBezTo>
                    <a:pt x="0" y="698"/>
                    <a:pt x="0" y="698"/>
                    <a:pt x="0" y="698"/>
                  </a:cubicBezTo>
                  <a:cubicBezTo>
                    <a:pt x="1" y="289"/>
                    <a:pt x="1" y="289"/>
                    <a:pt x="1" y="289"/>
                  </a:cubicBezTo>
                  <a:cubicBezTo>
                    <a:pt x="1" y="277"/>
                    <a:pt x="7" y="267"/>
                    <a:pt x="17" y="261"/>
                  </a:cubicBezTo>
                  <a:cubicBezTo>
                    <a:pt x="471" y="1"/>
                    <a:pt x="471" y="1"/>
                    <a:pt x="471" y="1"/>
                  </a:cubicBezTo>
                  <a:cubicBezTo>
                    <a:pt x="471" y="1"/>
                    <a:pt x="471" y="0"/>
                    <a:pt x="472" y="0"/>
                  </a:cubicBezTo>
                </a:path>
              </a:pathLst>
            </a:custGeom>
            <a:solidFill>
              <a:srgbClr val="7967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2" name="ïṣľîḍè">
              <a:extLst>
                <a:ext uri="{FF2B5EF4-FFF2-40B4-BE49-F238E27FC236}">
                  <a16:creationId xmlns:a16="http://schemas.microsoft.com/office/drawing/2014/main" xmlns="" id="{DBDDA69E-47B3-4582-8134-BBD405605CAB}"/>
                </a:ext>
              </a:extLst>
            </p:cNvPr>
            <p:cNvSpPr/>
            <p:nvPr userDrawn="1"/>
          </p:nvSpPr>
          <p:spPr bwMode="auto">
            <a:xfrm>
              <a:off x="4516438" y="1392238"/>
              <a:ext cx="1584325" cy="2305050"/>
            </a:xfrm>
            <a:custGeom>
              <a:avLst/>
              <a:gdLst>
                <a:gd name="T0" fmla="*/ 479 w 480"/>
                <a:gd name="T1" fmla="*/ 0 h 699"/>
                <a:gd name="T2" fmla="*/ 472 w 480"/>
                <a:gd name="T3" fmla="*/ 1 h 699"/>
                <a:gd name="T4" fmla="*/ 471 w 480"/>
                <a:gd name="T5" fmla="*/ 2 h 699"/>
                <a:gd name="T6" fmla="*/ 17 w 480"/>
                <a:gd name="T7" fmla="*/ 262 h 699"/>
                <a:gd name="T8" fmla="*/ 1 w 480"/>
                <a:gd name="T9" fmla="*/ 290 h 699"/>
                <a:gd name="T10" fmla="*/ 0 w 480"/>
                <a:gd name="T11" fmla="*/ 699 h 699"/>
                <a:gd name="T12" fmla="*/ 15 w 480"/>
                <a:gd name="T13" fmla="*/ 690 h 699"/>
                <a:gd name="T14" fmla="*/ 40 w 480"/>
                <a:gd name="T15" fmla="*/ 652 h 699"/>
                <a:gd name="T16" fmla="*/ 21 w 480"/>
                <a:gd name="T17" fmla="*/ 663 h 699"/>
                <a:gd name="T18" fmla="*/ 22 w 480"/>
                <a:gd name="T19" fmla="*/ 284 h 699"/>
                <a:gd name="T20" fmla="*/ 457 w 480"/>
                <a:gd name="T21" fmla="*/ 35 h 699"/>
                <a:gd name="T22" fmla="*/ 480 w 480"/>
                <a:gd name="T23" fmla="*/ 0 h 699"/>
                <a:gd name="T24" fmla="*/ 479 w 480"/>
                <a:gd name="T25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0" h="699">
                  <a:moveTo>
                    <a:pt x="479" y="0"/>
                  </a:moveTo>
                  <a:cubicBezTo>
                    <a:pt x="476" y="0"/>
                    <a:pt x="474" y="0"/>
                    <a:pt x="472" y="1"/>
                  </a:cubicBezTo>
                  <a:cubicBezTo>
                    <a:pt x="471" y="1"/>
                    <a:pt x="471" y="2"/>
                    <a:pt x="471" y="2"/>
                  </a:cubicBezTo>
                  <a:cubicBezTo>
                    <a:pt x="17" y="262"/>
                    <a:pt x="17" y="262"/>
                    <a:pt x="17" y="262"/>
                  </a:cubicBezTo>
                  <a:cubicBezTo>
                    <a:pt x="7" y="268"/>
                    <a:pt x="1" y="278"/>
                    <a:pt x="1" y="290"/>
                  </a:cubicBezTo>
                  <a:cubicBezTo>
                    <a:pt x="0" y="699"/>
                    <a:pt x="0" y="699"/>
                    <a:pt x="0" y="699"/>
                  </a:cubicBezTo>
                  <a:cubicBezTo>
                    <a:pt x="15" y="690"/>
                    <a:pt x="15" y="690"/>
                    <a:pt x="15" y="690"/>
                  </a:cubicBezTo>
                  <a:cubicBezTo>
                    <a:pt x="22" y="680"/>
                    <a:pt x="30" y="667"/>
                    <a:pt x="40" y="652"/>
                  </a:cubicBezTo>
                  <a:cubicBezTo>
                    <a:pt x="21" y="663"/>
                    <a:pt x="21" y="663"/>
                    <a:pt x="21" y="663"/>
                  </a:cubicBezTo>
                  <a:cubicBezTo>
                    <a:pt x="22" y="284"/>
                    <a:pt x="22" y="284"/>
                    <a:pt x="22" y="284"/>
                  </a:cubicBezTo>
                  <a:cubicBezTo>
                    <a:pt x="457" y="35"/>
                    <a:pt x="457" y="35"/>
                    <a:pt x="457" y="35"/>
                  </a:cubicBezTo>
                  <a:cubicBezTo>
                    <a:pt x="467" y="19"/>
                    <a:pt x="475" y="7"/>
                    <a:pt x="480" y="0"/>
                  </a:cubicBezTo>
                  <a:cubicBezTo>
                    <a:pt x="480" y="0"/>
                    <a:pt x="479" y="0"/>
                    <a:pt x="479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3" name="iṩlidê">
              <a:extLst>
                <a:ext uri="{FF2B5EF4-FFF2-40B4-BE49-F238E27FC236}">
                  <a16:creationId xmlns:a16="http://schemas.microsoft.com/office/drawing/2014/main" xmlns="" id="{4FF14E4D-0C59-43FB-AEB1-32CCACCE1251}"/>
                </a:ext>
              </a:extLst>
            </p:cNvPr>
            <p:cNvSpPr/>
            <p:nvPr userDrawn="1"/>
          </p:nvSpPr>
          <p:spPr bwMode="auto">
            <a:xfrm>
              <a:off x="4586288" y="1508126"/>
              <a:ext cx="1438275" cy="2070100"/>
            </a:xfrm>
            <a:custGeom>
              <a:avLst/>
              <a:gdLst>
                <a:gd name="T0" fmla="*/ 45 w 436"/>
                <a:gd name="T1" fmla="*/ 464 h 628"/>
                <a:gd name="T2" fmla="*/ 71 w 436"/>
                <a:gd name="T3" fmla="*/ 450 h 628"/>
                <a:gd name="T4" fmla="*/ 155 w 436"/>
                <a:gd name="T5" fmla="*/ 368 h 628"/>
                <a:gd name="T6" fmla="*/ 173 w 436"/>
                <a:gd name="T7" fmla="*/ 390 h 628"/>
                <a:gd name="T8" fmla="*/ 161 w 436"/>
                <a:gd name="T9" fmla="*/ 376 h 628"/>
                <a:gd name="T10" fmla="*/ 185 w 436"/>
                <a:gd name="T11" fmla="*/ 316 h 628"/>
                <a:gd name="T12" fmla="*/ 45 w 436"/>
                <a:gd name="T13" fmla="*/ 431 h 628"/>
                <a:gd name="T14" fmla="*/ 45 w 436"/>
                <a:gd name="T15" fmla="*/ 431 h 628"/>
                <a:gd name="T16" fmla="*/ 119 w 436"/>
                <a:gd name="T17" fmla="*/ 389 h 628"/>
                <a:gd name="T18" fmla="*/ 45 w 436"/>
                <a:gd name="T19" fmla="*/ 463 h 628"/>
                <a:gd name="T20" fmla="*/ 87 w 436"/>
                <a:gd name="T21" fmla="*/ 415 h 628"/>
                <a:gd name="T22" fmla="*/ 81 w 436"/>
                <a:gd name="T23" fmla="*/ 482 h 628"/>
                <a:gd name="T24" fmla="*/ 45 w 436"/>
                <a:gd name="T25" fmla="*/ 502 h 628"/>
                <a:gd name="T26" fmla="*/ 130 w 436"/>
                <a:gd name="T27" fmla="*/ 453 h 628"/>
                <a:gd name="T28" fmla="*/ 103 w 436"/>
                <a:gd name="T29" fmla="*/ 429 h 628"/>
                <a:gd name="T30" fmla="*/ 120 w 436"/>
                <a:gd name="T31" fmla="*/ 388 h 628"/>
                <a:gd name="T32" fmla="*/ 155 w 436"/>
                <a:gd name="T33" fmla="*/ 367 h 628"/>
                <a:gd name="T34" fmla="*/ 185 w 436"/>
                <a:gd name="T35" fmla="*/ 316 h 628"/>
                <a:gd name="T36" fmla="*/ 194 w 436"/>
                <a:gd name="T37" fmla="*/ 311 h 628"/>
                <a:gd name="T38" fmla="*/ 210 w 436"/>
                <a:gd name="T39" fmla="*/ 336 h 628"/>
                <a:gd name="T40" fmla="*/ 283 w 436"/>
                <a:gd name="T41" fmla="*/ 227 h 628"/>
                <a:gd name="T42" fmla="*/ 45 w 436"/>
                <a:gd name="T43" fmla="*/ 396 h 628"/>
                <a:gd name="T44" fmla="*/ 190 w 436"/>
                <a:gd name="T45" fmla="*/ 303 h 628"/>
                <a:gd name="T46" fmla="*/ 248 w 436"/>
                <a:gd name="T47" fmla="*/ 279 h 628"/>
                <a:gd name="T48" fmla="*/ 436 w 436"/>
                <a:gd name="T49" fmla="*/ 0 h 628"/>
                <a:gd name="T50" fmla="*/ 0 w 436"/>
                <a:gd name="T51" fmla="*/ 628 h 628"/>
                <a:gd name="T52" fmla="*/ 128 w 436"/>
                <a:gd name="T53" fmla="*/ 456 h 628"/>
                <a:gd name="T54" fmla="*/ 43 w 436"/>
                <a:gd name="T55" fmla="*/ 329 h 628"/>
                <a:gd name="T56" fmla="*/ 45 w 436"/>
                <a:gd name="T57" fmla="*/ 363 h 628"/>
                <a:gd name="T58" fmla="*/ 45 w 436"/>
                <a:gd name="T59" fmla="*/ 363 h 628"/>
                <a:gd name="T60" fmla="*/ 324 w 436"/>
                <a:gd name="T61" fmla="*/ 167 h 628"/>
                <a:gd name="T62" fmla="*/ 43 w 436"/>
                <a:gd name="T63" fmla="*/ 327 h 628"/>
                <a:gd name="T64" fmla="*/ 436 w 436"/>
                <a:gd name="T65" fmla="*/ 0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6" h="628">
                  <a:moveTo>
                    <a:pt x="71" y="450"/>
                  </a:moveTo>
                  <a:cubicBezTo>
                    <a:pt x="45" y="464"/>
                    <a:pt x="45" y="464"/>
                    <a:pt x="45" y="464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71" y="450"/>
                    <a:pt x="71" y="450"/>
                    <a:pt x="71" y="450"/>
                  </a:cubicBezTo>
                  <a:moveTo>
                    <a:pt x="167" y="361"/>
                  </a:moveTo>
                  <a:cubicBezTo>
                    <a:pt x="155" y="368"/>
                    <a:pt x="155" y="368"/>
                    <a:pt x="155" y="368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67" y="361"/>
                    <a:pt x="167" y="361"/>
                    <a:pt x="167" y="361"/>
                  </a:cubicBezTo>
                  <a:moveTo>
                    <a:pt x="185" y="316"/>
                  </a:moveTo>
                  <a:cubicBezTo>
                    <a:pt x="45" y="397"/>
                    <a:pt x="45" y="397"/>
                    <a:pt x="45" y="397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44" y="431"/>
                    <a:pt x="44" y="431"/>
                    <a:pt x="44" y="431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45" y="432"/>
                    <a:pt x="45" y="432"/>
                    <a:pt x="45" y="432"/>
                  </a:cubicBezTo>
                  <a:cubicBezTo>
                    <a:pt x="45" y="463"/>
                    <a:pt x="45" y="463"/>
                    <a:pt x="45" y="463"/>
                  </a:cubicBezTo>
                  <a:cubicBezTo>
                    <a:pt x="72" y="448"/>
                    <a:pt x="72" y="448"/>
                    <a:pt x="72" y="448"/>
                  </a:cubicBezTo>
                  <a:cubicBezTo>
                    <a:pt x="87" y="415"/>
                    <a:pt x="87" y="415"/>
                    <a:pt x="87" y="415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37" y="345"/>
                    <a:pt x="137" y="345"/>
                    <a:pt x="137" y="345"/>
                  </a:cubicBezTo>
                  <a:cubicBezTo>
                    <a:pt x="155" y="367"/>
                    <a:pt x="155" y="367"/>
                    <a:pt x="155" y="367"/>
                  </a:cubicBezTo>
                  <a:cubicBezTo>
                    <a:pt x="168" y="360"/>
                    <a:pt x="168" y="360"/>
                    <a:pt x="168" y="360"/>
                  </a:cubicBezTo>
                  <a:cubicBezTo>
                    <a:pt x="185" y="316"/>
                    <a:pt x="185" y="316"/>
                    <a:pt x="185" y="316"/>
                  </a:cubicBezTo>
                  <a:moveTo>
                    <a:pt x="247" y="281"/>
                  </a:moveTo>
                  <a:cubicBezTo>
                    <a:pt x="194" y="311"/>
                    <a:pt x="194" y="311"/>
                    <a:pt x="194" y="31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210" y="336"/>
                    <a:pt x="210" y="336"/>
                    <a:pt x="210" y="336"/>
                  </a:cubicBezTo>
                  <a:cubicBezTo>
                    <a:pt x="222" y="317"/>
                    <a:pt x="235" y="299"/>
                    <a:pt x="247" y="281"/>
                  </a:cubicBezTo>
                  <a:moveTo>
                    <a:pt x="283" y="227"/>
                  </a:moveTo>
                  <a:cubicBezTo>
                    <a:pt x="45" y="365"/>
                    <a:pt x="45" y="365"/>
                    <a:pt x="45" y="365"/>
                  </a:cubicBezTo>
                  <a:cubicBezTo>
                    <a:pt x="45" y="396"/>
                    <a:pt x="45" y="396"/>
                    <a:pt x="45" y="396"/>
                  </a:cubicBezTo>
                  <a:cubicBezTo>
                    <a:pt x="185" y="315"/>
                    <a:pt x="185" y="315"/>
                    <a:pt x="185" y="315"/>
                  </a:cubicBezTo>
                  <a:cubicBezTo>
                    <a:pt x="190" y="303"/>
                    <a:pt x="190" y="303"/>
                    <a:pt x="190" y="303"/>
                  </a:cubicBezTo>
                  <a:cubicBezTo>
                    <a:pt x="194" y="310"/>
                    <a:pt x="194" y="310"/>
                    <a:pt x="194" y="310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260" y="261"/>
                    <a:pt x="271" y="244"/>
                    <a:pt x="283" y="227"/>
                  </a:cubicBezTo>
                  <a:moveTo>
                    <a:pt x="436" y="0"/>
                  </a:moveTo>
                  <a:cubicBezTo>
                    <a:pt x="1" y="249"/>
                    <a:pt x="1" y="249"/>
                    <a:pt x="1" y="249"/>
                  </a:cubicBezTo>
                  <a:cubicBezTo>
                    <a:pt x="0" y="628"/>
                    <a:pt x="0" y="628"/>
                    <a:pt x="0" y="628"/>
                  </a:cubicBezTo>
                  <a:cubicBezTo>
                    <a:pt x="19" y="617"/>
                    <a:pt x="19" y="617"/>
                    <a:pt x="19" y="617"/>
                  </a:cubicBezTo>
                  <a:cubicBezTo>
                    <a:pt x="47" y="576"/>
                    <a:pt x="86" y="519"/>
                    <a:pt x="128" y="456"/>
                  </a:cubicBezTo>
                  <a:cubicBezTo>
                    <a:pt x="44" y="505"/>
                    <a:pt x="44" y="505"/>
                    <a:pt x="44" y="505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5" y="328"/>
                    <a:pt x="45" y="328"/>
                    <a:pt x="45" y="328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44" y="364"/>
                    <a:pt x="44" y="364"/>
                    <a:pt x="44" y="364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284" y="225"/>
                    <a:pt x="284" y="225"/>
                    <a:pt x="284" y="225"/>
                  </a:cubicBezTo>
                  <a:cubicBezTo>
                    <a:pt x="298" y="205"/>
                    <a:pt x="311" y="186"/>
                    <a:pt x="324" y="167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25" y="165"/>
                    <a:pt x="325" y="165"/>
                    <a:pt x="325" y="165"/>
                  </a:cubicBezTo>
                  <a:cubicBezTo>
                    <a:pt x="371" y="96"/>
                    <a:pt x="411" y="37"/>
                    <a:pt x="436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4" name="iṣļîḋé">
              <a:extLst>
                <a:ext uri="{FF2B5EF4-FFF2-40B4-BE49-F238E27FC236}">
                  <a16:creationId xmlns:a16="http://schemas.microsoft.com/office/drawing/2014/main" xmlns="" id="{B2AB4B71-1898-4326-9D47-19782CB20DA7}"/>
                </a:ext>
              </a:extLst>
            </p:cNvPr>
            <p:cNvSpPr/>
            <p:nvPr userDrawn="1"/>
          </p:nvSpPr>
          <p:spPr bwMode="auto">
            <a:xfrm>
              <a:off x="5275263" y="2616201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5" name="ïS1ïḋe">
              <a:extLst>
                <a:ext uri="{FF2B5EF4-FFF2-40B4-BE49-F238E27FC236}">
                  <a16:creationId xmlns:a16="http://schemas.microsoft.com/office/drawing/2014/main" xmlns="" id="{0F72DA80-9B19-419D-AEA9-AC3D0A7F748B}"/>
                </a:ext>
              </a:extLst>
            </p:cNvPr>
            <p:cNvSpPr/>
            <p:nvPr userDrawn="1"/>
          </p:nvSpPr>
          <p:spPr bwMode="auto">
            <a:xfrm>
              <a:off x="5226051" y="2428876"/>
              <a:ext cx="179388" cy="104775"/>
            </a:xfrm>
            <a:custGeom>
              <a:avLst/>
              <a:gdLst>
                <a:gd name="T0" fmla="*/ 54 w 54"/>
                <a:gd name="T1" fmla="*/ 0 h 32"/>
                <a:gd name="T2" fmla="*/ 0 w 54"/>
                <a:gd name="T3" fmla="*/ 31 h 32"/>
                <a:gd name="T4" fmla="*/ 0 w 54"/>
                <a:gd name="T5" fmla="*/ 32 h 32"/>
                <a:gd name="T6" fmla="*/ 53 w 54"/>
                <a:gd name="T7" fmla="*/ 2 h 32"/>
                <a:gd name="T8" fmla="*/ 54 w 54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2">
                  <a:moveTo>
                    <a:pt x="54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4" y="0"/>
                    <a:pt x="54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6" name="iS1íďê">
              <a:extLst>
                <a:ext uri="{FF2B5EF4-FFF2-40B4-BE49-F238E27FC236}">
                  <a16:creationId xmlns:a16="http://schemas.microsoft.com/office/drawing/2014/main" xmlns="" id="{3057F582-8550-43A0-AD17-40303A54F9A5}"/>
                </a:ext>
              </a:extLst>
            </p:cNvPr>
            <p:cNvSpPr/>
            <p:nvPr userDrawn="1"/>
          </p:nvSpPr>
          <p:spPr bwMode="auto">
            <a:xfrm>
              <a:off x="4732338" y="2249488"/>
              <a:ext cx="790575" cy="461963"/>
            </a:xfrm>
            <a:custGeom>
              <a:avLst/>
              <a:gdLst>
                <a:gd name="T0" fmla="*/ 240 w 240"/>
                <a:gd name="T1" fmla="*/ 0 h 140"/>
                <a:gd name="T2" fmla="*/ 1 w 240"/>
                <a:gd name="T3" fmla="*/ 138 h 140"/>
                <a:gd name="T4" fmla="*/ 0 w 240"/>
                <a:gd name="T5" fmla="*/ 139 h 140"/>
                <a:gd name="T6" fmla="*/ 0 w 240"/>
                <a:gd name="T7" fmla="*/ 140 h 140"/>
                <a:gd name="T8" fmla="*/ 1 w 240"/>
                <a:gd name="T9" fmla="*/ 140 h 140"/>
                <a:gd name="T10" fmla="*/ 239 w 240"/>
                <a:gd name="T11" fmla="*/ 2 h 140"/>
                <a:gd name="T12" fmla="*/ 240 w 240"/>
                <a:gd name="T1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40">
                  <a:moveTo>
                    <a:pt x="240" y="0"/>
                  </a:moveTo>
                  <a:cubicBezTo>
                    <a:pt x="1" y="138"/>
                    <a:pt x="1" y="138"/>
                    <a:pt x="1" y="138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" y="140"/>
                    <a:pt x="1" y="140"/>
                    <a:pt x="1" y="140"/>
                  </a:cubicBezTo>
                  <a:cubicBezTo>
                    <a:pt x="239" y="2"/>
                    <a:pt x="239" y="2"/>
                    <a:pt x="239" y="2"/>
                  </a:cubicBezTo>
                  <a:cubicBezTo>
                    <a:pt x="239" y="1"/>
                    <a:pt x="240" y="1"/>
                    <a:pt x="240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7" name="iṣ1ídé">
              <a:extLst>
                <a:ext uri="{FF2B5EF4-FFF2-40B4-BE49-F238E27FC236}">
                  <a16:creationId xmlns:a16="http://schemas.microsoft.com/office/drawing/2014/main" xmlns="" id="{67A53812-A171-44B1-9F14-4F2EA42F126C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8" name="íṩľiḑê">
              <a:extLst>
                <a:ext uri="{FF2B5EF4-FFF2-40B4-BE49-F238E27FC236}">
                  <a16:creationId xmlns:a16="http://schemas.microsoft.com/office/drawing/2014/main" xmlns="" id="{33DF5B45-A02A-49AB-AB5E-17039456CB14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9" name="îŝḷîdé">
              <a:extLst>
                <a:ext uri="{FF2B5EF4-FFF2-40B4-BE49-F238E27FC236}">
                  <a16:creationId xmlns:a16="http://schemas.microsoft.com/office/drawing/2014/main" xmlns="" id="{39632A38-23F8-4C31-B6AF-EF80429EC89B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0" name="íŝḷîḍè">
              <a:extLst>
                <a:ext uri="{FF2B5EF4-FFF2-40B4-BE49-F238E27FC236}">
                  <a16:creationId xmlns:a16="http://schemas.microsoft.com/office/drawing/2014/main" xmlns="" id="{2F5C11E7-6DF2-48F3-9CA1-6CB38809EB74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1" name="ï$ľiḍè">
              <a:extLst>
                <a:ext uri="{FF2B5EF4-FFF2-40B4-BE49-F238E27FC236}">
                  <a16:creationId xmlns:a16="http://schemas.microsoft.com/office/drawing/2014/main" xmlns="" id="{C750BFD8-6386-468C-853F-1D63BA5DFE1E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2" name="íšļídè">
              <a:extLst>
                <a:ext uri="{FF2B5EF4-FFF2-40B4-BE49-F238E27FC236}">
                  <a16:creationId xmlns:a16="http://schemas.microsoft.com/office/drawing/2014/main" xmlns="" id="{2D4B1CDC-FE8D-422A-A74C-5A0D9DE89C01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3" name="ïṣļïḋê">
              <a:extLst>
                <a:ext uri="{FF2B5EF4-FFF2-40B4-BE49-F238E27FC236}">
                  <a16:creationId xmlns:a16="http://schemas.microsoft.com/office/drawing/2014/main" xmlns="" id="{772717D2-8011-4325-B95F-8368205973F5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04800" cy="450850"/>
            </a:xfrm>
            <a:custGeom>
              <a:avLst/>
              <a:gdLst>
                <a:gd name="T0" fmla="*/ 56 w 92"/>
                <a:gd name="T1" fmla="*/ 0 h 137"/>
                <a:gd name="T2" fmla="*/ 39 w 92"/>
                <a:gd name="T3" fmla="*/ 43 h 137"/>
                <a:gd name="T4" fmla="*/ 38 w 92"/>
                <a:gd name="T5" fmla="*/ 44 h 137"/>
                <a:gd name="T6" fmla="*/ 22 w 92"/>
                <a:gd name="T7" fmla="*/ 84 h 137"/>
                <a:gd name="T8" fmla="*/ 0 w 92"/>
                <a:gd name="T9" fmla="*/ 137 h 137"/>
                <a:gd name="T10" fmla="*/ 49 w 92"/>
                <a:gd name="T11" fmla="*/ 108 h 137"/>
                <a:gd name="T12" fmla="*/ 92 w 92"/>
                <a:gd name="T13" fmla="*/ 45 h 137"/>
                <a:gd name="T14" fmla="*/ 80 w 92"/>
                <a:gd name="T15" fmla="*/ 31 h 137"/>
                <a:gd name="T16" fmla="*/ 74 w 92"/>
                <a:gd name="T17" fmla="*/ 23 h 137"/>
                <a:gd name="T18" fmla="*/ 74 w 92"/>
                <a:gd name="T19" fmla="*/ 22 h 137"/>
                <a:gd name="T20" fmla="*/ 56 w 92"/>
                <a:gd name="T21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37">
                  <a:moveTo>
                    <a:pt x="56" y="0"/>
                  </a:moveTo>
                  <a:cubicBezTo>
                    <a:pt x="39" y="43"/>
                    <a:pt x="39" y="43"/>
                    <a:pt x="39" y="43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63" y="88"/>
                    <a:pt x="77" y="67"/>
                    <a:pt x="92" y="45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rgbClr val="A5A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4" name="íṥľidè">
              <a:extLst>
                <a:ext uri="{FF2B5EF4-FFF2-40B4-BE49-F238E27FC236}">
                  <a16:creationId xmlns:a16="http://schemas.microsoft.com/office/drawing/2014/main" xmlns="" id="{8C2F2570-06BB-46F8-916A-F75AAB7A1CD5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5" name="íŝḻíďe">
              <a:extLst>
                <a:ext uri="{FF2B5EF4-FFF2-40B4-BE49-F238E27FC236}">
                  <a16:creationId xmlns:a16="http://schemas.microsoft.com/office/drawing/2014/main" xmlns="" id="{FD041D17-8562-48BD-A56C-2F55690DF4C9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6" name="iṥ1îḑê">
              <a:extLst>
                <a:ext uri="{FF2B5EF4-FFF2-40B4-BE49-F238E27FC236}">
                  <a16:creationId xmlns:a16="http://schemas.microsoft.com/office/drawing/2014/main" xmlns="" id="{1BB7927B-DFB3-439B-A0E7-F655C64D81B3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7" name="ísḻïḓé">
              <a:extLst>
                <a:ext uri="{FF2B5EF4-FFF2-40B4-BE49-F238E27FC236}">
                  <a16:creationId xmlns:a16="http://schemas.microsoft.com/office/drawing/2014/main" xmlns="" id="{6EF068F9-DFE8-49BB-9D59-1370BC77CA39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8" name="íṡḷíḓé">
              <a:extLst>
                <a:ext uri="{FF2B5EF4-FFF2-40B4-BE49-F238E27FC236}">
                  <a16:creationId xmlns:a16="http://schemas.microsoft.com/office/drawing/2014/main" xmlns="" id="{1963D803-7C8F-4B1E-BA4E-A3164A5930E8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57163" cy="287338"/>
            </a:xfrm>
            <a:custGeom>
              <a:avLst/>
              <a:gdLst>
                <a:gd name="T0" fmla="*/ 29 w 48"/>
                <a:gd name="T1" fmla="*/ 0 h 87"/>
                <a:gd name="T2" fmla="*/ 24 w 48"/>
                <a:gd name="T3" fmla="*/ 12 h 87"/>
                <a:gd name="T4" fmla="*/ 24 w 48"/>
                <a:gd name="T5" fmla="*/ 13 h 87"/>
                <a:gd name="T6" fmla="*/ 7 w 48"/>
                <a:gd name="T7" fmla="*/ 57 h 87"/>
                <a:gd name="T8" fmla="*/ 6 w 48"/>
                <a:gd name="T9" fmla="*/ 58 h 87"/>
                <a:gd name="T10" fmla="*/ 0 w 48"/>
                <a:gd name="T11" fmla="*/ 73 h 87"/>
                <a:gd name="T12" fmla="*/ 12 w 48"/>
                <a:gd name="T13" fmla="*/ 87 h 87"/>
                <a:gd name="T14" fmla="*/ 48 w 48"/>
                <a:gd name="T15" fmla="*/ 33 h 87"/>
                <a:gd name="T16" fmla="*/ 48 w 48"/>
                <a:gd name="T17" fmla="*/ 33 h 87"/>
                <a:gd name="T18" fmla="*/ 33 w 48"/>
                <a:gd name="T19" fmla="*/ 8 h 87"/>
                <a:gd name="T20" fmla="*/ 33 w 48"/>
                <a:gd name="T21" fmla="*/ 7 h 87"/>
                <a:gd name="T22" fmla="*/ 29 w 48"/>
                <a:gd name="T2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7">
                  <a:moveTo>
                    <a:pt x="29" y="0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24" y="69"/>
                    <a:pt x="36" y="51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9" name="iṥļïḋê">
              <a:extLst>
                <a:ext uri="{FF2B5EF4-FFF2-40B4-BE49-F238E27FC236}">
                  <a16:creationId xmlns:a16="http://schemas.microsoft.com/office/drawing/2014/main" xmlns="" id="{607F8E35-7213-4AF3-9CDE-CDE76090E65E}"/>
                </a:ext>
              </a:extLst>
            </p:cNvPr>
            <p:cNvSpPr/>
            <p:nvPr userDrawn="1"/>
          </p:nvSpPr>
          <p:spPr bwMode="auto">
            <a:xfrm>
              <a:off x="4727576" y="2052638"/>
              <a:ext cx="931863" cy="539750"/>
            </a:xfrm>
            <a:custGeom>
              <a:avLst/>
              <a:gdLst>
                <a:gd name="T0" fmla="*/ 282 w 282"/>
                <a:gd name="T1" fmla="*/ 0 h 164"/>
                <a:gd name="T2" fmla="*/ 0 w 282"/>
                <a:gd name="T3" fmla="*/ 162 h 164"/>
                <a:gd name="T4" fmla="*/ 0 w 282"/>
                <a:gd name="T5" fmla="*/ 164 h 164"/>
                <a:gd name="T6" fmla="*/ 281 w 282"/>
                <a:gd name="T7" fmla="*/ 2 h 164"/>
                <a:gd name="T8" fmla="*/ 282 w 282"/>
                <a:gd name="T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64">
                  <a:moveTo>
                    <a:pt x="282" y="0"/>
                  </a:moveTo>
                  <a:cubicBezTo>
                    <a:pt x="0" y="162"/>
                    <a:pt x="0" y="162"/>
                    <a:pt x="0" y="162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1"/>
                    <a:pt x="281" y="1"/>
                    <a:pt x="28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0" name="ïŝ1ïḑê">
              <a:extLst>
                <a:ext uri="{FF2B5EF4-FFF2-40B4-BE49-F238E27FC236}">
                  <a16:creationId xmlns:a16="http://schemas.microsoft.com/office/drawing/2014/main" xmlns="" id="{816BDEAB-BDB1-45D0-BFF9-AE43A85BA57A}"/>
                </a:ext>
              </a:extLst>
            </p:cNvPr>
            <p:cNvSpPr/>
            <p:nvPr userDrawn="1"/>
          </p:nvSpPr>
          <p:spPr bwMode="auto">
            <a:xfrm>
              <a:off x="4727576" y="2589213"/>
              <a:ext cx="287338" cy="584200"/>
            </a:xfrm>
            <a:custGeom>
              <a:avLst/>
              <a:gdLst>
                <a:gd name="T0" fmla="*/ 2 w 87"/>
                <a:gd name="T1" fmla="*/ 0 h 177"/>
                <a:gd name="T2" fmla="*/ 0 w 87"/>
                <a:gd name="T3" fmla="*/ 1 h 177"/>
                <a:gd name="T4" fmla="*/ 1 w 87"/>
                <a:gd name="T5" fmla="*/ 177 h 177"/>
                <a:gd name="T6" fmla="*/ 85 w 87"/>
                <a:gd name="T7" fmla="*/ 128 h 177"/>
                <a:gd name="T8" fmla="*/ 87 w 87"/>
                <a:gd name="T9" fmla="*/ 125 h 177"/>
                <a:gd name="T10" fmla="*/ 2 w 87"/>
                <a:gd name="T11" fmla="*/ 174 h 177"/>
                <a:gd name="T12" fmla="*/ 2 w 87"/>
                <a:gd name="T13" fmla="*/ 174 h 177"/>
                <a:gd name="T14" fmla="*/ 2 w 87"/>
                <a:gd name="T15" fmla="*/ 174 h 177"/>
                <a:gd name="T16" fmla="*/ 2 w 87"/>
                <a:gd name="T17" fmla="*/ 136 h 177"/>
                <a:gd name="T18" fmla="*/ 1 w 87"/>
                <a:gd name="T19" fmla="*/ 137 h 177"/>
                <a:gd name="T20" fmla="*/ 1 w 87"/>
                <a:gd name="T21" fmla="*/ 136 h 177"/>
                <a:gd name="T22" fmla="*/ 2 w 87"/>
                <a:gd name="T23" fmla="*/ 135 h 177"/>
                <a:gd name="T24" fmla="*/ 2 w 87"/>
                <a:gd name="T25" fmla="*/ 135 h 177"/>
                <a:gd name="T26" fmla="*/ 2 w 87"/>
                <a:gd name="T27" fmla="*/ 104 h 177"/>
                <a:gd name="T28" fmla="*/ 1 w 87"/>
                <a:gd name="T29" fmla="*/ 105 h 177"/>
                <a:gd name="T30" fmla="*/ 1 w 87"/>
                <a:gd name="T31" fmla="*/ 103 h 177"/>
                <a:gd name="T32" fmla="*/ 2 w 87"/>
                <a:gd name="T33" fmla="*/ 103 h 177"/>
                <a:gd name="T34" fmla="*/ 2 w 87"/>
                <a:gd name="T35" fmla="*/ 69 h 177"/>
                <a:gd name="T36" fmla="*/ 1 w 87"/>
                <a:gd name="T37" fmla="*/ 70 h 177"/>
                <a:gd name="T38" fmla="*/ 1 w 87"/>
                <a:gd name="T39" fmla="*/ 69 h 177"/>
                <a:gd name="T40" fmla="*/ 2 w 87"/>
                <a:gd name="T41" fmla="*/ 68 h 177"/>
                <a:gd name="T42" fmla="*/ 2 w 87"/>
                <a:gd name="T43" fmla="*/ 37 h 177"/>
                <a:gd name="T44" fmla="*/ 1 w 87"/>
                <a:gd name="T45" fmla="*/ 37 h 177"/>
                <a:gd name="T46" fmla="*/ 1 w 87"/>
                <a:gd name="T47" fmla="*/ 36 h 177"/>
                <a:gd name="T48" fmla="*/ 2 w 87"/>
                <a:gd name="T49" fmla="*/ 35 h 177"/>
                <a:gd name="T50" fmla="*/ 2 w 87"/>
                <a:gd name="T51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177">
                  <a:moveTo>
                    <a:pt x="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77"/>
                    <a:pt x="1" y="177"/>
                    <a:pt x="1" y="177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86" y="127"/>
                    <a:pt x="86" y="126"/>
                    <a:pt x="87" y="125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1" y="136"/>
                    <a:pt x="1" y="136"/>
                    <a:pt x="1" y="136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1" name="îsḻíḋè">
              <a:extLst>
                <a:ext uri="{FF2B5EF4-FFF2-40B4-BE49-F238E27FC236}">
                  <a16:creationId xmlns:a16="http://schemas.microsoft.com/office/drawing/2014/main" xmlns="" id="{2FC50329-01C6-4845-AFF7-CD7E4D18CADF}"/>
                </a:ext>
              </a:extLst>
            </p:cNvPr>
            <p:cNvSpPr/>
            <p:nvPr userDrawn="1"/>
          </p:nvSpPr>
          <p:spPr bwMode="auto">
            <a:xfrm>
              <a:off x="7556501" y="2698751"/>
              <a:ext cx="804863" cy="58738"/>
            </a:xfrm>
            <a:custGeom>
              <a:avLst/>
              <a:gdLst>
                <a:gd name="T0" fmla="*/ 212 w 244"/>
                <a:gd name="T1" fmla="*/ 8 h 18"/>
                <a:gd name="T2" fmla="*/ 229 w 244"/>
                <a:gd name="T3" fmla="*/ 18 h 18"/>
                <a:gd name="T4" fmla="*/ 244 w 244"/>
                <a:gd name="T5" fmla="*/ 9 h 18"/>
                <a:gd name="T6" fmla="*/ 212 w 244"/>
                <a:gd name="T7" fmla="*/ 8 h 18"/>
                <a:gd name="T8" fmla="*/ 1 w 244"/>
                <a:gd name="T9" fmla="*/ 0 h 18"/>
                <a:gd name="T10" fmla="*/ 28 w 244"/>
                <a:gd name="T11" fmla="*/ 17 h 18"/>
                <a:gd name="T12" fmla="*/ 53 w 244"/>
                <a:gd name="T13" fmla="*/ 3 h 18"/>
                <a:gd name="T14" fmla="*/ 1 w 244"/>
                <a:gd name="T15" fmla="*/ 0 h 18"/>
                <a:gd name="T16" fmla="*/ 1 w 244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4" h="18">
                  <a:moveTo>
                    <a:pt x="212" y="8"/>
                  </a:moveTo>
                  <a:cubicBezTo>
                    <a:pt x="229" y="18"/>
                    <a:pt x="229" y="18"/>
                    <a:pt x="229" y="18"/>
                  </a:cubicBezTo>
                  <a:cubicBezTo>
                    <a:pt x="238" y="13"/>
                    <a:pt x="243" y="10"/>
                    <a:pt x="244" y="9"/>
                  </a:cubicBezTo>
                  <a:cubicBezTo>
                    <a:pt x="244" y="9"/>
                    <a:pt x="231" y="9"/>
                    <a:pt x="212" y="8"/>
                  </a:cubicBezTo>
                  <a:moveTo>
                    <a:pt x="1" y="0"/>
                  </a:moveTo>
                  <a:cubicBezTo>
                    <a:pt x="0" y="0"/>
                    <a:pt x="12" y="7"/>
                    <a:pt x="28" y="1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24" y="1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B8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2" name="í$1ïḑe">
              <a:extLst>
                <a:ext uri="{FF2B5EF4-FFF2-40B4-BE49-F238E27FC236}">
                  <a16:creationId xmlns:a16="http://schemas.microsoft.com/office/drawing/2014/main" xmlns="" id="{8E6D00D2-E86C-46C4-99FB-4812631CFA76}"/>
                </a:ext>
              </a:extLst>
            </p:cNvPr>
            <p:cNvSpPr/>
            <p:nvPr userDrawn="1"/>
          </p:nvSpPr>
          <p:spPr bwMode="auto">
            <a:xfrm>
              <a:off x="7648576" y="2708276"/>
              <a:ext cx="663575" cy="250825"/>
            </a:xfrm>
            <a:custGeom>
              <a:avLst/>
              <a:gdLst>
                <a:gd name="T0" fmla="*/ 25 w 201"/>
                <a:gd name="T1" fmla="*/ 0 h 76"/>
                <a:gd name="T2" fmla="*/ 0 w 201"/>
                <a:gd name="T3" fmla="*/ 14 h 76"/>
                <a:gd name="T4" fmla="*/ 106 w 201"/>
                <a:gd name="T5" fmla="*/ 76 h 76"/>
                <a:gd name="T6" fmla="*/ 201 w 201"/>
                <a:gd name="T7" fmla="*/ 15 h 76"/>
                <a:gd name="T8" fmla="*/ 184 w 201"/>
                <a:gd name="T9" fmla="*/ 5 h 76"/>
                <a:gd name="T10" fmla="*/ 25 w 201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1" h="76">
                  <a:moveTo>
                    <a:pt x="25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40" y="37"/>
                    <a:pt x="106" y="76"/>
                    <a:pt x="106" y="76"/>
                  </a:cubicBezTo>
                  <a:cubicBezTo>
                    <a:pt x="106" y="76"/>
                    <a:pt x="172" y="34"/>
                    <a:pt x="201" y="15"/>
                  </a:cubicBezTo>
                  <a:cubicBezTo>
                    <a:pt x="184" y="5"/>
                    <a:pt x="184" y="5"/>
                    <a:pt x="184" y="5"/>
                  </a:cubicBezTo>
                  <a:cubicBezTo>
                    <a:pt x="143" y="4"/>
                    <a:pt x="74" y="1"/>
                    <a:pt x="25" y="0"/>
                  </a:cubicBezTo>
                </a:path>
              </a:pathLst>
            </a:custGeom>
            <a:solidFill>
              <a:srgbClr val="839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3" name="ïṡḻïḓé">
              <a:extLst>
                <a:ext uri="{FF2B5EF4-FFF2-40B4-BE49-F238E27FC236}">
                  <a16:creationId xmlns:a16="http://schemas.microsoft.com/office/drawing/2014/main" xmlns="" id="{0252BD86-AB9B-45B8-8620-C45569A6E77A}"/>
                </a:ext>
              </a:extLst>
            </p:cNvPr>
            <p:cNvSpPr/>
            <p:nvPr userDrawn="1"/>
          </p:nvSpPr>
          <p:spPr bwMode="auto">
            <a:xfrm>
              <a:off x="7559676" y="2484438"/>
              <a:ext cx="801688" cy="431800"/>
            </a:xfrm>
            <a:custGeom>
              <a:avLst/>
              <a:gdLst>
                <a:gd name="T0" fmla="*/ 505 w 505"/>
                <a:gd name="T1" fmla="*/ 154 h 272"/>
                <a:gd name="T2" fmla="*/ 235 w 505"/>
                <a:gd name="T3" fmla="*/ 0 h 272"/>
                <a:gd name="T4" fmla="*/ 0 w 505"/>
                <a:gd name="T5" fmla="*/ 135 h 272"/>
                <a:gd name="T6" fmla="*/ 237 w 505"/>
                <a:gd name="T7" fmla="*/ 272 h 272"/>
                <a:gd name="T8" fmla="*/ 301 w 505"/>
                <a:gd name="T9" fmla="*/ 270 h 272"/>
                <a:gd name="T10" fmla="*/ 505 w 505"/>
                <a:gd name="T11" fmla="*/ 15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5" h="272">
                  <a:moveTo>
                    <a:pt x="505" y="154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1" y="270"/>
                  </a:lnTo>
                  <a:lnTo>
                    <a:pt x="505" y="154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4" name="î$ḻíḋè">
              <a:extLst>
                <a:ext uri="{FF2B5EF4-FFF2-40B4-BE49-F238E27FC236}">
                  <a16:creationId xmlns:a16="http://schemas.microsoft.com/office/drawing/2014/main" xmlns="" id="{E8791AB1-5BE4-4D3D-BFB7-51ED0AB607F2}"/>
                </a:ext>
              </a:extLst>
            </p:cNvPr>
            <p:cNvSpPr/>
            <p:nvPr userDrawn="1"/>
          </p:nvSpPr>
          <p:spPr bwMode="auto">
            <a:xfrm>
              <a:off x="7935913" y="2852738"/>
              <a:ext cx="101600" cy="63500"/>
            </a:xfrm>
            <a:custGeom>
              <a:avLst/>
              <a:gdLst>
                <a:gd name="T0" fmla="*/ 31 w 64"/>
                <a:gd name="T1" fmla="*/ 0 h 40"/>
                <a:gd name="T2" fmla="*/ 64 w 64"/>
                <a:gd name="T3" fmla="*/ 38 h 40"/>
                <a:gd name="T4" fmla="*/ 0 w 64"/>
                <a:gd name="T5" fmla="*/ 40 h 40"/>
                <a:gd name="T6" fmla="*/ 31 w 64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40">
                  <a:moveTo>
                    <a:pt x="31" y="0"/>
                  </a:moveTo>
                  <a:lnTo>
                    <a:pt x="64" y="38"/>
                  </a:lnTo>
                  <a:lnTo>
                    <a:pt x="0" y="4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5" name="î$ľíḑê">
              <a:extLst>
                <a:ext uri="{FF2B5EF4-FFF2-40B4-BE49-F238E27FC236}">
                  <a16:creationId xmlns:a16="http://schemas.microsoft.com/office/drawing/2014/main" xmlns="" id="{D12C242E-50C5-4787-8DAB-2632FB404D34}"/>
                </a:ext>
              </a:extLst>
            </p:cNvPr>
            <p:cNvSpPr/>
            <p:nvPr userDrawn="1"/>
          </p:nvSpPr>
          <p:spPr bwMode="auto">
            <a:xfrm>
              <a:off x="4148138" y="5218113"/>
              <a:ext cx="808038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133 w 245"/>
                <a:gd name="T7" fmla="*/ 5 h 79"/>
                <a:gd name="T8" fmla="*/ 106 w 245"/>
                <a:gd name="T9" fmla="*/ 21 h 79"/>
                <a:gd name="T10" fmla="*/ 73 w 245"/>
                <a:gd name="T11" fmla="*/ 3 h 79"/>
                <a:gd name="T12" fmla="*/ 2 w 245"/>
                <a:gd name="T13" fmla="*/ 0 h 79"/>
                <a:gd name="T14" fmla="*/ 2 w 245"/>
                <a:gd name="T1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190" y="7"/>
                    <a:pt x="133" y="5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34" y="2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6" name="îśľiḍé">
              <a:extLst>
                <a:ext uri="{FF2B5EF4-FFF2-40B4-BE49-F238E27FC236}">
                  <a16:creationId xmlns:a16="http://schemas.microsoft.com/office/drawing/2014/main" xmlns="" id="{37814ABE-5BB5-4CBD-AB15-46D74826BB15}"/>
                </a:ext>
              </a:extLst>
            </p:cNvPr>
            <p:cNvSpPr/>
            <p:nvPr userDrawn="1"/>
          </p:nvSpPr>
          <p:spPr bwMode="auto">
            <a:xfrm>
              <a:off x="4387851" y="5227638"/>
              <a:ext cx="198438" cy="58738"/>
            </a:xfrm>
            <a:custGeom>
              <a:avLst/>
              <a:gdLst>
                <a:gd name="T0" fmla="*/ 0 w 60"/>
                <a:gd name="T1" fmla="*/ 0 h 18"/>
                <a:gd name="T2" fmla="*/ 33 w 60"/>
                <a:gd name="T3" fmla="*/ 18 h 18"/>
                <a:gd name="T4" fmla="*/ 60 w 60"/>
                <a:gd name="T5" fmla="*/ 2 h 18"/>
                <a:gd name="T6" fmla="*/ 60 w 60"/>
                <a:gd name="T7" fmla="*/ 2 h 18"/>
                <a:gd name="T8" fmla="*/ 33 w 60"/>
                <a:gd name="T9" fmla="*/ 18 h 18"/>
                <a:gd name="T10" fmla="*/ 2 w 60"/>
                <a:gd name="T11" fmla="*/ 0 h 18"/>
                <a:gd name="T12" fmla="*/ 0 w 6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cubicBezTo>
                    <a:pt x="33" y="18"/>
                    <a:pt x="33" y="18"/>
                    <a:pt x="33" y="18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6A82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7" name="îslíďé">
              <a:extLst>
                <a:ext uri="{FF2B5EF4-FFF2-40B4-BE49-F238E27FC236}">
                  <a16:creationId xmlns:a16="http://schemas.microsoft.com/office/drawing/2014/main" xmlns="" id="{6B537A7C-B2B3-408B-B07D-3682D15C9245}"/>
                </a:ext>
              </a:extLst>
            </p:cNvPr>
            <p:cNvSpPr/>
            <p:nvPr userDrawn="1"/>
          </p:nvSpPr>
          <p:spPr bwMode="auto">
            <a:xfrm>
              <a:off x="4395788" y="5227638"/>
              <a:ext cx="190500" cy="58738"/>
            </a:xfrm>
            <a:custGeom>
              <a:avLst/>
              <a:gdLst>
                <a:gd name="T0" fmla="*/ 0 w 58"/>
                <a:gd name="T1" fmla="*/ 0 h 18"/>
                <a:gd name="T2" fmla="*/ 31 w 58"/>
                <a:gd name="T3" fmla="*/ 18 h 18"/>
                <a:gd name="T4" fmla="*/ 58 w 58"/>
                <a:gd name="T5" fmla="*/ 2 h 18"/>
                <a:gd name="T6" fmla="*/ 0 w 5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18">
                  <a:moveTo>
                    <a:pt x="0" y="0"/>
                  </a:moveTo>
                  <a:cubicBezTo>
                    <a:pt x="31" y="18"/>
                    <a:pt x="31" y="18"/>
                    <a:pt x="31" y="18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38" y="2"/>
                    <a:pt x="18" y="1"/>
                    <a:pt x="0" y="0"/>
                  </a:cubicBezTo>
                </a:path>
              </a:pathLst>
            </a:custGeom>
            <a:solidFill>
              <a:srgbClr val="8396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8" name="í$ḻídê">
              <a:extLst>
                <a:ext uri="{FF2B5EF4-FFF2-40B4-BE49-F238E27FC236}">
                  <a16:creationId xmlns:a16="http://schemas.microsoft.com/office/drawing/2014/main" xmlns="" id="{8840383D-272A-4A00-A6DA-25C8EB569FAF}"/>
                </a:ext>
              </a:extLst>
            </p:cNvPr>
            <p:cNvSpPr/>
            <p:nvPr userDrawn="1"/>
          </p:nvSpPr>
          <p:spPr bwMode="auto">
            <a:xfrm>
              <a:off x="4154488" y="5003801"/>
              <a:ext cx="801688" cy="431800"/>
            </a:xfrm>
            <a:custGeom>
              <a:avLst/>
              <a:gdLst>
                <a:gd name="T0" fmla="*/ 505 w 505"/>
                <a:gd name="T1" fmla="*/ 153 h 272"/>
                <a:gd name="T2" fmla="*/ 235 w 505"/>
                <a:gd name="T3" fmla="*/ 0 h 272"/>
                <a:gd name="T4" fmla="*/ 0 w 505"/>
                <a:gd name="T5" fmla="*/ 135 h 272"/>
                <a:gd name="T6" fmla="*/ 237 w 505"/>
                <a:gd name="T7" fmla="*/ 272 h 272"/>
                <a:gd name="T8" fmla="*/ 301 w 505"/>
                <a:gd name="T9" fmla="*/ 270 h 272"/>
                <a:gd name="T10" fmla="*/ 505 w 505"/>
                <a:gd name="T11" fmla="*/ 15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5" h="272">
                  <a:moveTo>
                    <a:pt x="505" y="153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1" y="270"/>
                  </a:lnTo>
                  <a:lnTo>
                    <a:pt x="505" y="153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9" name="ïsḻîḋè">
              <a:extLst>
                <a:ext uri="{FF2B5EF4-FFF2-40B4-BE49-F238E27FC236}">
                  <a16:creationId xmlns:a16="http://schemas.microsoft.com/office/drawing/2014/main" xmlns="" id="{33DAEEB9-1D53-4959-A07E-CCDC733282AC}"/>
                </a:ext>
              </a:extLst>
            </p:cNvPr>
            <p:cNvSpPr/>
            <p:nvPr userDrawn="1"/>
          </p:nvSpPr>
          <p:spPr bwMode="auto">
            <a:xfrm>
              <a:off x="4530726" y="5372101"/>
              <a:ext cx="101600" cy="63500"/>
            </a:xfrm>
            <a:custGeom>
              <a:avLst/>
              <a:gdLst>
                <a:gd name="T0" fmla="*/ 31 w 64"/>
                <a:gd name="T1" fmla="*/ 0 h 40"/>
                <a:gd name="T2" fmla="*/ 64 w 64"/>
                <a:gd name="T3" fmla="*/ 38 h 40"/>
                <a:gd name="T4" fmla="*/ 0 w 64"/>
                <a:gd name="T5" fmla="*/ 40 h 40"/>
                <a:gd name="T6" fmla="*/ 31 w 64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40">
                  <a:moveTo>
                    <a:pt x="31" y="0"/>
                  </a:moveTo>
                  <a:lnTo>
                    <a:pt x="64" y="38"/>
                  </a:lnTo>
                  <a:lnTo>
                    <a:pt x="0" y="4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0553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018/12/27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solidFill>
                  <a:srgbClr val="000000">
                    <a:lumMod val="50000"/>
                    <a:lumOff val="50000"/>
                  </a:srgbClr>
                </a:solidFill>
              </a:rPr>
              <a:t>www.islide.cc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69778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018/12/27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solidFill>
                  <a:srgbClr val="000000">
                    <a:lumMod val="50000"/>
                    <a:lumOff val="50000"/>
                  </a:srgbClr>
                </a:solidFill>
              </a:rPr>
              <a:t>www.islide.cc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1168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6489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xmlns="" id="{5039F2C8-BD93-45BC-B2C3-9D5ABFDFC72D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" name="直角三角形 6">
            <a:extLst>
              <a:ext uri="{FF2B5EF4-FFF2-40B4-BE49-F238E27FC236}">
                <a16:creationId xmlns:a16="http://schemas.microsoft.com/office/drawing/2014/main" xmlns="" id="{BF04DCAB-5876-439D-9666-93087BA020F9}"/>
              </a:ext>
            </a:extLst>
          </p:cNvPr>
          <p:cNvSpPr/>
          <p:nvPr userDrawn="1"/>
        </p:nvSpPr>
        <p:spPr>
          <a:xfrm flipH="1">
            <a:off x="5054373" y="1130300"/>
            <a:ext cx="7151915" cy="5737225"/>
          </a:xfrm>
          <a:prstGeom prst="rtTriangle">
            <a:avLst/>
          </a:prstGeom>
          <a:solidFill>
            <a:schemeClr val="accent2">
              <a:lumMod val="60000"/>
              <a:lumOff val="40000"/>
              <a:alpha val="2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grpSp>
        <p:nvGrpSpPr>
          <p:cNvPr id="8" name="821242f6-ee5f-4bf5-a8d8-efc95807eb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62C9CB17-544D-490B-8B3C-E296422B0F36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flipH="1">
            <a:off x="5617098" y="2132013"/>
            <a:ext cx="5715001" cy="4108450"/>
            <a:chOff x="3236913" y="1370013"/>
            <a:chExt cx="5715001" cy="4108450"/>
          </a:xfrm>
        </p:grpSpPr>
        <p:sp>
          <p:nvSpPr>
            <p:cNvPr id="9" name="íSḻíḋe">
              <a:extLst>
                <a:ext uri="{FF2B5EF4-FFF2-40B4-BE49-F238E27FC236}">
                  <a16:creationId xmlns:a16="http://schemas.microsoft.com/office/drawing/2014/main" xmlns="" id="{8EFEFA6B-D0D8-4B87-965D-64BC29F2FBC3}"/>
                </a:ext>
              </a:extLst>
            </p:cNvPr>
            <p:cNvSpPr/>
            <p:nvPr userDrawn="1"/>
          </p:nvSpPr>
          <p:spPr bwMode="auto">
            <a:xfrm>
              <a:off x="7073901" y="3773488"/>
              <a:ext cx="1189038" cy="722313"/>
            </a:xfrm>
            <a:custGeom>
              <a:avLst/>
              <a:gdLst>
                <a:gd name="T0" fmla="*/ 119 w 360"/>
                <a:gd name="T1" fmla="*/ 0 h 219"/>
                <a:gd name="T2" fmla="*/ 108 w 360"/>
                <a:gd name="T3" fmla="*/ 2 h 219"/>
                <a:gd name="T4" fmla="*/ 5 w 360"/>
                <a:gd name="T5" fmla="*/ 62 h 219"/>
                <a:gd name="T6" fmla="*/ 0 w 360"/>
                <a:gd name="T7" fmla="*/ 68 h 219"/>
                <a:gd name="T8" fmla="*/ 0 w 360"/>
                <a:gd name="T9" fmla="*/ 79 h 219"/>
                <a:gd name="T10" fmla="*/ 5 w 360"/>
                <a:gd name="T11" fmla="*/ 86 h 219"/>
                <a:gd name="T12" fmla="*/ 232 w 360"/>
                <a:gd name="T13" fmla="*/ 217 h 219"/>
                <a:gd name="T14" fmla="*/ 241 w 360"/>
                <a:gd name="T15" fmla="*/ 219 h 219"/>
                <a:gd name="T16" fmla="*/ 242 w 360"/>
                <a:gd name="T17" fmla="*/ 219 h 219"/>
                <a:gd name="T18" fmla="*/ 252 w 360"/>
                <a:gd name="T19" fmla="*/ 217 h 219"/>
                <a:gd name="T20" fmla="*/ 345 w 360"/>
                <a:gd name="T21" fmla="*/ 163 h 219"/>
                <a:gd name="T22" fmla="*/ 356 w 360"/>
                <a:gd name="T23" fmla="*/ 157 h 219"/>
                <a:gd name="T24" fmla="*/ 360 w 360"/>
                <a:gd name="T25" fmla="*/ 152 h 219"/>
                <a:gd name="T26" fmla="*/ 360 w 360"/>
                <a:gd name="T27" fmla="*/ 150 h 219"/>
                <a:gd name="T28" fmla="*/ 360 w 360"/>
                <a:gd name="T29" fmla="*/ 141 h 219"/>
                <a:gd name="T30" fmla="*/ 360 w 360"/>
                <a:gd name="T31" fmla="*/ 138 h 219"/>
                <a:gd name="T32" fmla="*/ 356 w 360"/>
                <a:gd name="T33" fmla="*/ 133 h 219"/>
                <a:gd name="T34" fmla="*/ 129 w 360"/>
                <a:gd name="T35" fmla="*/ 2 h 219"/>
                <a:gd name="T36" fmla="*/ 119 w 360"/>
                <a:gd name="T3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0" h="219">
                  <a:moveTo>
                    <a:pt x="119" y="0"/>
                  </a:moveTo>
                  <a:cubicBezTo>
                    <a:pt x="113" y="0"/>
                    <a:pt x="108" y="2"/>
                    <a:pt x="108" y="2"/>
                  </a:cubicBezTo>
                  <a:cubicBezTo>
                    <a:pt x="108" y="2"/>
                    <a:pt x="15" y="56"/>
                    <a:pt x="5" y="62"/>
                  </a:cubicBezTo>
                  <a:cubicBezTo>
                    <a:pt x="1" y="64"/>
                    <a:pt x="0" y="66"/>
                    <a:pt x="0" y="6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5" y="86"/>
                    <a:pt x="5" y="86"/>
                  </a:cubicBezTo>
                  <a:cubicBezTo>
                    <a:pt x="5" y="86"/>
                    <a:pt x="221" y="211"/>
                    <a:pt x="232" y="217"/>
                  </a:cubicBezTo>
                  <a:cubicBezTo>
                    <a:pt x="235" y="218"/>
                    <a:pt x="238" y="219"/>
                    <a:pt x="241" y="219"/>
                  </a:cubicBezTo>
                  <a:cubicBezTo>
                    <a:pt x="241" y="219"/>
                    <a:pt x="242" y="219"/>
                    <a:pt x="242" y="219"/>
                  </a:cubicBezTo>
                  <a:cubicBezTo>
                    <a:pt x="248" y="219"/>
                    <a:pt x="252" y="217"/>
                    <a:pt x="252" y="217"/>
                  </a:cubicBezTo>
                  <a:cubicBezTo>
                    <a:pt x="345" y="163"/>
                    <a:pt x="345" y="163"/>
                    <a:pt x="345" y="163"/>
                  </a:cubicBezTo>
                  <a:cubicBezTo>
                    <a:pt x="345" y="163"/>
                    <a:pt x="345" y="163"/>
                    <a:pt x="356" y="157"/>
                  </a:cubicBezTo>
                  <a:cubicBezTo>
                    <a:pt x="358" y="155"/>
                    <a:pt x="360" y="154"/>
                    <a:pt x="360" y="152"/>
                  </a:cubicBezTo>
                  <a:cubicBezTo>
                    <a:pt x="360" y="152"/>
                    <a:pt x="360" y="151"/>
                    <a:pt x="360" y="150"/>
                  </a:cubicBezTo>
                  <a:cubicBezTo>
                    <a:pt x="360" y="141"/>
                    <a:pt x="360" y="141"/>
                    <a:pt x="360" y="141"/>
                  </a:cubicBezTo>
                  <a:cubicBezTo>
                    <a:pt x="360" y="140"/>
                    <a:pt x="360" y="139"/>
                    <a:pt x="360" y="138"/>
                  </a:cubicBezTo>
                  <a:cubicBezTo>
                    <a:pt x="359" y="135"/>
                    <a:pt x="356" y="133"/>
                    <a:pt x="356" y="133"/>
                  </a:cubicBezTo>
                  <a:cubicBezTo>
                    <a:pt x="356" y="133"/>
                    <a:pt x="139" y="8"/>
                    <a:pt x="129" y="2"/>
                  </a:cubicBezTo>
                  <a:cubicBezTo>
                    <a:pt x="125" y="0"/>
                    <a:pt x="122" y="0"/>
                    <a:pt x="119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" name="ïṣḻíďé">
              <a:extLst>
                <a:ext uri="{FF2B5EF4-FFF2-40B4-BE49-F238E27FC236}">
                  <a16:creationId xmlns:a16="http://schemas.microsoft.com/office/drawing/2014/main" xmlns="" id="{3C06DBC4-5827-4B3B-B29E-7CBFA58CB6F7}"/>
                </a:ext>
              </a:extLst>
            </p:cNvPr>
            <p:cNvSpPr/>
            <p:nvPr userDrawn="1"/>
          </p:nvSpPr>
          <p:spPr bwMode="auto">
            <a:xfrm>
              <a:off x="7146926" y="3800476"/>
              <a:ext cx="1187450" cy="695325"/>
            </a:xfrm>
            <a:custGeom>
              <a:avLst/>
              <a:gdLst>
                <a:gd name="T0" fmla="*/ 360 w 360"/>
                <a:gd name="T1" fmla="*/ 144 h 211"/>
                <a:gd name="T2" fmla="*/ 360 w 360"/>
                <a:gd name="T3" fmla="*/ 142 h 211"/>
                <a:gd name="T4" fmla="*/ 360 w 360"/>
                <a:gd name="T5" fmla="*/ 130 h 211"/>
                <a:gd name="T6" fmla="*/ 336 w 360"/>
                <a:gd name="T7" fmla="*/ 126 h 211"/>
                <a:gd name="T8" fmla="*/ 129 w 360"/>
                <a:gd name="T9" fmla="*/ 6 h 211"/>
                <a:gd name="T10" fmla="*/ 108 w 360"/>
                <a:gd name="T11" fmla="*/ 6 h 211"/>
                <a:gd name="T12" fmla="*/ 12 w 360"/>
                <a:gd name="T13" fmla="*/ 61 h 211"/>
                <a:gd name="T14" fmla="*/ 1 w 360"/>
                <a:gd name="T15" fmla="*/ 59 h 211"/>
                <a:gd name="T16" fmla="*/ 1 w 360"/>
                <a:gd name="T17" fmla="*/ 71 h 211"/>
                <a:gd name="T18" fmla="*/ 5 w 360"/>
                <a:gd name="T19" fmla="*/ 78 h 211"/>
                <a:gd name="T20" fmla="*/ 232 w 360"/>
                <a:gd name="T21" fmla="*/ 209 h 211"/>
                <a:gd name="T22" fmla="*/ 241 w 360"/>
                <a:gd name="T23" fmla="*/ 211 h 211"/>
                <a:gd name="T24" fmla="*/ 241 w 360"/>
                <a:gd name="T25" fmla="*/ 211 h 211"/>
                <a:gd name="T26" fmla="*/ 253 w 360"/>
                <a:gd name="T27" fmla="*/ 209 h 211"/>
                <a:gd name="T28" fmla="*/ 345 w 360"/>
                <a:gd name="T29" fmla="*/ 155 h 211"/>
                <a:gd name="T30" fmla="*/ 356 w 360"/>
                <a:gd name="T31" fmla="*/ 149 h 211"/>
                <a:gd name="T32" fmla="*/ 360 w 360"/>
                <a:gd name="T33" fmla="*/ 14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0" h="211">
                  <a:moveTo>
                    <a:pt x="360" y="144"/>
                  </a:moveTo>
                  <a:cubicBezTo>
                    <a:pt x="360" y="144"/>
                    <a:pt x="360" y="143"/>
                    <a:pt x="360" y="142"/>
                  </a:cubicBezTo>
                  <a:cubicBezTo>
                    <a:pt x="360" y="130"/>
                    <a:pt x="360" y="130"/>
                    <a:pt x="360" y="130"/>
                  </a:cubicBezTo>
                  <a:cubicBezTo>
                    <a:pt x="336" y="126"/>
                    <a:pt x="336" y="126"/>
                    <a:pt x="336" y="126"/>
                  </a:cubicBezTo>
                  <a:cubicBezTo>
                    <a:pt x="282" y="94"/>
                    <a:pt x="137" y="11"/>
                    <a:pt x="129" y="6"/>
                  </a:cubicBezTo>
                  <a:cubicBezTo>
                    <a:pt x="119" y="0"/>
                    <a:pt x="108" y="6"/>
                    <a:pt x="108" y="6"/>
                  </a:cubicBezTo>
                  <a:cubicBezTo>
                    <a:pt x="108" y="6"/>
                    <a:pt x="37" y="47"/>
                    <a:pt x="12" y="61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75"/>
                    <a:pt x="5" y="78"/>
                    <a:pt x="5" y="78"/>
                  </a:cubicBezTo>
                  <a:cubicBezTo>
                    <a:pt x="5" y="78"/>
                    <a:pt x="222" y="203"/>
                    <a:pt x="232" y="209"/>
                  </a:cubicBezTo>
                  <a:cubicBezTo>
                    <a:pt x="235" y="210"/>
                    <a:pt x="239" y="211"/>
                    <a:pt x="241" y="211"/>
                  </a:cubicBezTo>
                  <a:cubicBezTo>
                    <a:pt x="241" y="211"/>
                    <a:pt x="241" y="211"/>
                    <a:pt x="241" y="211"/>
                  </a:cubicBezTo>
                  <a:cubicBezTo>
                    <a:pt x="248" y="211"/>
                    <a:pt x="253" y="209"/>
                    <a:pt x="253" y="209"/>
                  </a:cubicBezTo>
                  <a:cubicBezTo>
                    <a:pt x="345" y="155"/>
                    <a:pt x="345" y="155"/>
                    <a:pt x="345" y="155"/>
                  </a:cubicBezTo>
                  <a:cubicBezTo>
                    <a:pt x="345" y="155"/>
                    <a:pt x="345" y="155"/>
                    <a:pt x="356" y="149"/>
                  </a:cubicBezTo>
                  <a:cubicBezTo>
                    <a:pt x="359" y="147"/>
                    <a:pt x="360" y="146"/>
                    <a:pt x="360" y="14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" name="ïS1ïḑé">
              <a:extLst>
                <a:ext uri="{FF2B5EF4-FFF2-40B4-BE49-F238E27FC236}">
                  <a16:creationId xmlns:a16="http://schemas.microsoft.com/office/drawing/2014/main" xmlns="" id="{70A4DFC2-15A0-4D3B-9158-156B46C9AD7D}"/>
                </a:ext>
              </a:extLst>
            </p:cNvPr>
            <p:cNvSpPr/>
            <p:nvPr userDrawn="1"/>
          </p:nvSpPr>
          <p:spPr bwMode="auto">
            <a:xfrm>
              <a:off x="7131051" y="3760788"/>
              <a:ext cx="1223963" cy="708025"/>
            </a:xfrm>
            <a:custGeom>
              <a:avLst/>
              <a:gdLst>
                <a:gd name="T0" fmla="*/ 350 w 371"/>
                <a:gd name="T1" fmla="*/ 155 h 215"/>
                <a:gd name="T2" fmla="*/ 258 w 371"/>
                <a:gd name="T3" fmla="*/ 209 h 215"/>
                <a:gd name="T4" fmla="*/ 237 w 371"/>
                <a:gd name="T5" fmla="*/ 209 h 215"/>
                <a:gd name="T6" fmla="*/ 10 w 371"/>
                <a:gd name="T7" fmla="*/ 78 h 215"/>
                <a:gd name="T8" fmla="*/ 10 w 371"/>
                <a:gd name="T9" fmla="*/ 66 h 215"/>
                <a:gd name="T10" fmla="*/ 113 w 371"/>
                <a:gd name="T11" fmla="*/ 6 h 215"/>
                <a:gd name="T12" fmla="*/ 134 w 371"/>
                <a:gd name="T13" fmla="*/ 6 h 215"/>
                <a:gd name="T14" fmla="*/ 361 w 371"/>
                <a:gd name="T15" fmla="*/ 137 h 215"/>
                <a:gd name="T16" fmla="*/ 361 w 371"/>
                <a:gd name="T17" fmla="*/ 149 h 215"/>
                <a:gd name="T18" fmla="*/ 350 w 371"/>
                <a:gd name="T19" fmla="*/ 15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1" h="215">
                  <a:moveTo>
                    <a:pt x="350" y="155"/>
                  </a:moveTo>
                  <a:cubicBezTo>
                    <a:pt x="258" y="209"/>
                    <a:pt x="258" y="209"/>
                    <a:pt x="258" y="209"/>
                  </a:cubicBezTo>
                  <a:cubicBezTo>
                    <a:pt x="258" y="209"/>
                    <a:pt x="247" y="215"/>
                    <a:pt x="237" y="209"/>
                  </a:cubicBezTo>
                  <a:cubicBezTo>
                    <a:pt x="227" y="203"/>
                    <a:pt x="10" y="78"/>
                    <a:pt x="10" y="78"/>
                  </a:cubicBezTo>
                  <a:cubicBezTo>
                    <a:pt x="10" y="78"/>
                    <a:pt x="0" y="72"/>
                    <a:pt x="10" y="66"/>
                  </a:cubicBezTo>
                  <a:cubicBezTo>
                    <a:pt x="20" y="60"/>
                    <a:pt x="113" y="6"/>
                    <a:pt x="113" y="6"/>
                  </a:cubicBezTo>
                  <a:cubicBezTo>
                    <a:pt x="113" y="6"/>
                    <a:pt x="124" y="0"/>
                    <a:pt x="134" y="6"/>
                  </a:cubicBezTo>
                  <a:cubicBezTo>
                    <a:pt x="144" y="12"/>
                    <a:pt x="361" y="137"/>
                    <a:pt x="361" y="137"/>
                  </a:cubicBezTo>
                  <a:cubicBezTo>
                    <a:pt x="361" y="137"/>
                    <a:pt x="371" y="143"/>
                    <a:pt x="361" y="149"/>
                  </a:cubicBezTo>
                  <a:cubicBezTo>
                    <a:pt x="350" y="155"/>
                    <a:pt x="350" y="155"/>
                    <a:pt x="350" y="155"/>
                  </a:cubicBez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" name="ïśļîḑè">
              <a:extLst>
                <a:ext uri="{FF2B5EF4-FFF2-40B4-BE49-F238E27FC236}">
                  <a16:creationId xmlns:a16="http://schemas.microsoft.com/office/drawing/2014/main" xmlns="" id="{D345E328-C89A-423A-B7E6-FED551C1496F}"/>
                </a:ext>
              </a:extLst>
            </p:cNvPr>
            <p:cNvSpPr/>
            <p:nvPr userDrawn="1"/>
          </p:nvSpPr>
          <p:spPr bwMode="auto">
            <a:xfrm>
              <a:off x="7232651" y="3819526"/>
              <a:ext cx="950913" cy="550863"/>
            </a:xfrm>
            <a:custGeom>
              <a:avLst/>
              <a:gdLst>
                <a:gd name="T0" fmla="*/ 599 w 599"/>
                <a:gd name="T1" fmla="*/ 222 h 347"/>
                <a:gd name="T2" fmla="*/ 214 w 599"/>
                <a:gd name="T3" fmla="*/ 0 h 347"/>
                <a:gd name="T4" fmla="*/ 0 w 599"/>
                <a:gd name="T5" fmla="*/ 125 h 347"/>
                <a:gd name="T6" fmla="*/ 385 w 599"/>
                <a:gd name="T7" fmla="*/ 347 h 347"/>
                <a:gd name="T8" fmla="*/ 599 w 599"/>
                <a:gd name="T9" fmla="*/ 22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9" h="347">
                  <a:moveTo>
                    <a:pt x="599" y="222"/>
                  </a:moveTo>
                  <a:lnTo>
                    <a:pt x="214" y="0"/>
                  </a:lnTo>
                  <a:lnTo>
                    <a:pt x="0" y="125"/>
                  </a:lnTo>
                  <a:lnTo>
                    <a:pt x="385" y="347"/>
                  </a:lnTo>
                  <a:lnTo>
                    <a:pt x="599" y="222"/>
                  </a:ln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" name="îṡḷîďe">
              <a:extLst>
                <a:ext uri="{FF2B5EF4-FFF2-40B4-BE49-F238E27FC236}">
                  <a16:creationId xmlns:a16="http://schemas.microsoft.com/office/drawing/2014/main" xmlns="" id="{568CBA8E-C40B-46D8-9674-81AF27E8DF16}"/>
                </a:ext>
              </a:extLst>
            </p:cNvPr>
            <p:cNvSpPr/>
            <p:nvPr userDrawn="1"/>
          </p:nvSpPr>
          <p:spPr bwMode="auto">
            <a:xfrm>
              <a:off x="7964488" y="4232276"/>
              <a:ext cx="222250" cy="128588"/>
            </a:xfrm>
            <a:custGeom>
              <a:avLst/>
              <a:gdLst>
                <a:gd name="T0" fmla="*/ 65 w 67"/>
                <a:gd name="T1" fmla="*/ 2 h 39"/>
                <a:gd name="T2" fmla="*/ 63 w 67"/>
                <a:gd name="T3" fmla="*/ 1 h 39"/>
                <a:gd name="T4" fmla="*/ 55 w 67"/>
                <a:gd name="T5" fmla="*/ 1 h 39"/>
                <a:gd name="T6" fmla="*/ 2 w 67"/>
                <a:gd name="T7" fmla="*/ 32 h 39"/>
                <a:gd name="T8" fmla="*/ 2 w 67"/>
                <a:gd name="T9" fmla="*/ 37 h 39"/>
                <a:gd name="T10" fmla="*/ 3 w 67"/>
                <a:gd name="T11" fmla="*/ 37 h 39"/>
                <a:gd name="T12" fmla="*/ 12 w 67"/>
                <a:gd name="T13" fmla="*/ 37 h 39"/>
                <a:gd name="T14" fmla="*/ 65 w 67"/>
                <a:gd name="T15" fmla="*/ 7 h 39"/>
                <a:gd name="T16" fmla="*/ 65 w 67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39">
                  <a:moveTo>
                    <a:pt x="65" y="2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1" y="0"/>
                    <a:pt x="58" y="0"/>
                    <a:pt x="55" y="1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0" y="33"/>
                    <a:pt x="0" y="36"/>
                    <a:pt x="2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6" y="39"/>
                    <a:pt x="9" y="39"/>
                    <a:pt x="12" y="3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7" y="6"/>
                    <a:pt x="67" y="3"/>
                    <a:pt x="65" y="2"/>
                  </a:cubicBez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" name="iṣlidê">
              <a:extLst>
                <a:ext uri="{FF2B5EF4-FFF2-40B4-BE49-F238E27FC236}">
                  <a16:creationId xmlns:a16="http://schemas.microsoft.com/office/drawing/2014/main" xmlns="" id="{B384E6C0-5735-40EB-9E64-3C48885CBA4E}"/>
                </a:ext>
              </a:extLst>
            </p:cNvPr>
            <p:cNvSpPr/>
            <p:nvPr userDrawn="1"/>
          </p:nvSpPr>
          <p:spPr bwMode="auto">
            <a:xfrm>
              <a:off x="7351713" y="3889376"/>
              <a:ext cx="33338" cy="12700"/>
            </a:xfrm>
            <a:prstGeom prst="ellipse">
              <a:avLst/>
            </a:pr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" name="íṡļïḑe">
              <a:extLst>
                <a:ext uri="{FF2B5EF4-FFF2-40B4-BE49-F238E27FC236}">
                  <a16:creationId xmlns:a16="http://schemas.microsoft.com/office/drawing/2014/main" xmlns="" id="{D396B6B8-D779-4925-9E43-AE176DA81F43}"/>
                </a:ext>
              </a:extLst>
            </p:cNvPr>
            <p:cNvSpPr/>
            <p:nvPr userDrawn="1"/>
          </p:nvSpPr>
          <p:spPr bwMode="auto">
            <a:xfrm>
              <a:off x="6919913" y="2903538"/>
              <a:ext cx="1830388" cy="842963"/>
            </a:xfrm>
            <a:custGeom>
              <a:avLst/>
              <a:gdLst>
                <a:gd name="T0" fmla="*/ 241 w 1153"/>
                <a:gd name="T1" fmla="*/ 0 h 531"/>
                <a:gd name="T2" fmla="*/ 0 w 1153"/>
                <a:gd name="T3" fmla="*/ 116 h 531"/>
                <a:gd name="T4" fmla="*/ 723 w 1153"/>
                <a:gd name="T5" fmla="*/ 531 h 531"/>
                <a:gd name="T6" fmla="*/ 1153 w 1153"/>
                <a:gd name="T7" fmla="*/ 284 h 531"/>
                <a:gd name="T8" fmla="*/ 1153 w 1153"/>
                <a:gd name="T9" fmla="*/ 276 h 531"/>
                <a:gd name="T10" fmla="*/ 806 w 1153"/>
                <a:gd name="T11" fmla="*/ 475 h 531"/>
                <a:gd name="T12" fmla="*/ 193 w 1153"/>
                <a:gd name="T13" fmla="*/ 122 h 531"/>
                <a:gd name="T14" fmla="*/ 201 w 1153"/>
                <a:gd name="T15" fmla="*/ 118 h 531"/>
                <a:gd name="T16" fmla="*/ 193 w 1153"/>
                <a:gd name="T17" fmla="*/ 112 h 531"/>
                <a:gd name="T18" fmla="*/ 201 w 1153"/>
                <a:gd name="T19" fmla="*/ 108 h 531"/>
                <a:gd name="T20" fmla="*/ 193 w 1153"/>
                <a:gd name="T21" fmla="*/ 103 h 531"/>
                <a:gd name="T22" fmla="*/ 218 w 1153"/>
                <a:gd name="T23" fmla="*/ 89 h 531"/>
                <a:gd name="T24" fmla="*/ 193 w 1153"/>
                <a:gd name="T25" fmla="*/ 74 h 531"/>
                <a:gd name="T26" fmla="*/ 207 w 1153"/>
                <a:gd name="T27" fmla="*/ 66 h 531"/>
                <a:gd name="T28" fmla="*/ 193 w 1153"/>
                <a:gd name="T29" fmla="*/ 58 h 531"/>
                <a:gd name="T30" fmla="*/ 201 w 1153"/>
                <a:gd name="T31" fmla="*/ 54 h 531"/>
                <a:gd name="T32" fmla="*/ 193 w 1153"/>
                <a:gd name="T33" fmla="*/ 47 h 531"/>
                <a:gd name="T34" fmla="*/ 255 w 1153"/>
                <a:gd name="T35" fmla="*/ 12 h 531"/>
                <a:gd name="T36" fmla="*/ 237 w 1153"/>
                <a:gd name="T37" fmla="*/ 2 h 531"/>
                <a:gd name="T38" fmla="*/ 241 w 1153"/>
                <a:gd name="T3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53" h="531">
                  <a:moveTo>
                    <a:pt x="241" y="0"/>
                  </a:moveTo>
                  <a:lnTo>
                    <a:pt x="0" y="116"/>
                  </a:lnTo>
                  <a:lnTo>
                    <a:pt x="723" y="531"/>
                  </a:lnTo>
                  <a:lnTo>
                    <a:pt x="1153" y="284"/>
                  </a:lnTo>
                  <a:lnTo>
                    <a:pt x="1153" y="276"/>
                  </a:lnTo>
                  <a:lnTo>
                    <a:pt x="806" y="475"/>
                  </a:lnTo>
                  <a:lnTo>
                    <a:pt x="193" y="122"/>
                  </a:lnTo>
                  <a:lnTo>
                    <a:pt x="201" y="118"/>
                  </a:lnTo>
                  <a:lnTo>
                    <a:pt x="193" y="112"/>
                  </a:lnTo>
                  <a:lnTo>
                    <a:pt x="201" y="108"/>
                  </a:lnTo>
                  <a:lnTo>
                    <a:pt x="193" y="103"/>
                  </a:lnTo>
                  <a:lnTo>
                    <a:pt x="218" y="89"/>
                  </a:lnTo>
                  <a:lnTo>
                    <a:pt x="193" y="74"/>
                  </a:lnTo>
                  <a:lnTo>
                    <a:pt x="207" y="66"/>
                  </a:lnTo>
                  <a:lnTo>
                    <a:pt x="193" y="58"/>
                  </a:lnTo>
                  <a:lnTo>
                    <a:pt x="201" y="54"/>
                  </a:lnTo>
                  <a:lnTo>
                    <a:pt x="193" y="47"/>
                  </a:lnTo>
                  <a:lnTo>
                    <a:pt x="255" y="12"/>
                  </a:lnTo>
                  <a:lnTo>
                    <a:pt x="237" y="2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" name="ïš1íďê">
              <a:extLst>
                <a:ext uri="{FF2B5EF4-FFF2-40B4-BE49-F238E27FC236}">
                  <a16:creationId xmlns:a16="http://schemas.microsoft.com/office/drawing/2014/main" xmlns="" id="{5111CB22-4F94-446D-A1B2-D29D4E8FBF63}"/>
                </a:ext>
              </a:extLst>
            </p:cNvPr>
            <p:cNvSpPr/>
            <p:nvPr userDrawn="1"/>
          </p:nvSpPr>
          <p:spPr bwMode="auto">
            <a:xfrm>
              <a:off x="6919913" y="2903538"/>
              <a:ext cx="1830388" cy="842963"/>
            </a:xfrm>
            <a:custGeom>
              <a:avLst/>
              <a:gdLst>
                <a:gd name="T0" fmla="*/ 241 w 1153"/>
                <a:gd name="T1" fmla="*/ 0 h 531"/>
                <a:gd name="T2" fmla="*/ 0 w 1153"/>
                <a:gd name="T3" fmla="*/ 116 h 531"/>
                <a:gd name="T4" fmla="*/ 723 w 1153"/>
                <a:gd name="T5" fmla="*/ 531 h 531"/>
                <a:gd name="T6" fmla="*/ 1153 w 1153"/>
                <a:gd name="T7" fmla="*/ 284 h 531"/>
                <a:gd name="T8" fmla="*/ 1153 w 1153"/>
                <a:gd name="T9" fmla="*/ 276 h 531"/>
                <a:gd name="T10" fmla="*/ 806 w 1153"/>
                <a:gd name="T11" fmla="*/ 475 h 531"/>
                <a:gd name="T12" fmla="*/ 193 w 1153"/>
                <a:gd name="T13" fmla="*/ 122 h 531"/>
                <a:gd name="T14" fmla="*/ 201 w 1153"/>
                <a:gd name="T15" fmla="*/ 118 h 531"/>
                <a:gd name="T16" fmla="*/ 193 w 1153"/>
                <a:gd name="T17" fmla="*/ 112 h 531"/>
                <a:gd name="T18" fmla="*/ 201 w 1153"/>
                <a:gd name="T19" fmla="*/ 108 h 531"/>
                <a:gd name="T20" fmla="*/ 193 w 1153"/>
                <a:gd name="T21" fmla="*/ 103 h 531"/>
                <a:gd name="T22" fmla="*/ 218 w 1153"/>
                <a:gd name="T23" fmla="*/ 89 h 531"/>
                <a:gd name="T24" fmla="*/ 193 w 1153"/>
                <a:gd name="T25" fmla="*/ 74 h 531"/>
                <a:gd name="T26" fmla="*/ 207 w 1153"/>
                <a:gd name="T27" fmla="*/ 66 h 531"/>
                <a:gd name="T28" fmla="*/ 193 w 1153"/>
                <a:gd name="T29" fmla="*/ 58 h 531"/>
                <a:gd name="T30" fmla="*/ 201 w 1153"/>
                <a:gd name="T31" fmla="*/ 54 h 531"/>
                <a:gd name="T32" fmla="*/ 193 w 1153"/>
                <a:gd name="T33" fmla="*/ 47 h 531"/>
                <a:gd name="T34" fmla="*/ 255 w 1153"/>
                <a:gd name="T35" fmla="*/ 12 h 531"/>
                <a:gd name="T36" fmla="*/ 237 w 1153"/>
                <a:gd name="T37" fmla="*/ 2 h 531"/>
                <a:gd name="T38" fmla="*/ 241 w 1153"/>
                <a:gd name="T3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53" h="531">
                  <a:moveTo>
                    <a:pt x="241" y="0"/>
                  </a:moveTo>
                  <a:lnTo>
                    <a:pt x="0" y="116"/>
                  </a:lnTo>
                  <a:lnTo>
                    <a:pt x="723" y="531"/>
                  </a:lnTo>
                  <a:lnTo>
                    <a:pt x="1153" y="284"/>
                  </a:lnTo>
                  <a:lnTo>
                    <a:pt x="1153" y="276"/>
                  </a:lnTo>
                  <a:lnTo>
                    <a:pt x="806" y="475"/>
                  </a:lnTo>
                  <a:lnTo>
                    <a:pt x="193" y="122"/>
                  </a:lnTo>
                  <a:lnTo>
                    <a:pt x="201" y="118"/>
                  </a:lnTo>
                  <a:lnTo>
                    <a:pt x="193" y="112"/>
                  </a:lnTo>
                  <a:lnTo>
                    <a:pt x="201" y="108"/>
                  </a:lnTo>
                  <a:lnTo>
                    <a:pt x="193" y="103"/>
                  </a:lnTo>
                  <a:lnTo>
                    <a:pt x="218" y="89"/>
                  </a:lnTo>
                  <a:lnTo>
                    <a:pt x="193" y="74"/>
                  </a:lnTo>
                  <a:lnTo>
                    <a:pt x="207" y="66"/>
                  </a:lnTo>
                  <a:lnTo>
                    <a:pt x="193" y="58"/>
                  </a:lnTo>
                  <a:lnTo>
                    <a:pt x="201" y="54"/>
                  </a:lnTo>
                  <a:lnTo>
                    <a:pt x="193" y="47"/>
                  </a:lnTo>
                  <a:lnTo>
                    <a:pt x="255" y="12"/>
                  </a:lnTo>
                  <a:lnTo>
                    <a:pt x="237" y="2"/>
                  </a:lnTo>
                  <a:lnTo>
                    <a:pt x="2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" name="îšḻiḓe">
              <a:extLst>
                <a:ext uri="{FF2B5EF4-FFF2-40B4-BE49-F238E27FC236}">
                  <a16:creationId xmlns:a16="http://schemas.microsoft.com/office/drawing/2014/main" xmlns="" id="{91FE8048-F52F-46F7-8A79-5424518DD0EA}"/>
                </a:ext>
              </a:extLst>
            </p:cNvPr>
            <p:cNvSpPr/>
            <p:nvPr userDrawn="1"/>
          </p:nvSpPr>
          <p:spPr bwMode="auto">
            <a:xfrm>
              <a:off x="5981701" y="4624388"/>
              <a:ext cx="809625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2 w 245"/>
                <a:gd name="T7" fmla="*/ 0 h 79"/>
                <a:gd name="T8" fmla="*/ 2 w 24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7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" name="ïšľîḑê">
              <a:extLst>
                <a:ext uri="{FF2B5EF4-FFF2-40B4-BE49-F238E27FC236}">
                  <a16:creationId xmlns:a16="http://schemas.microsoft.com/office/drawing/2014/main" xmlns="" id="{F3F29ACD-9325-4AF5-9B8C-B4FA6160615B}"/>
                </a:ext>
              </a:extLst>
            </p:cNvPr>
            <p:cNvSpPr/>
            <p:nvPr userDrawn="1"/>
          </p:nvSpPr>
          <p:spPr bwMode="auto">
            <a:xfrm>
              <a:off x="5988051" y="4410076"/>
              <a:ext cx="803275" cy="431800"/>
            </a:xfrm>
            <a:custGeom>
              <a:avLst/>
              <a:gdLst>
                <a:gd name="T0" fmla="*/ 506 w 506"/>
                <a:gd name="T1" fmla="*/ 154 h 272"/>
                <a:gd name="T2" fmla="*/ 235 w 506"/>
                <a:gd name="T3" fmla="*/ 0 h 272"/>
                <a:gd name="T4" fmla="*/ 0 w 506"/>
                <a:gd name="T5" fmla="*/ 135 h 272"/>
                <a:gd name="T6" fmla="*/ 237 w 506"/>
                <a:gd name="T7" fmla="*/ 272 h 272"/>
                <a:gd name="T8" fmla="*/ 302 w 506"/>
                <a:gd name="T9" fmla="*/ 270 h 272"/>
                <a:gd name="T10" fmla="*/ 506 w 506"/>
                <a:gd name="T11" fmla="*/ 15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6" h="272">
                  <a:moveTo>
                    <a:pt x="506" y="154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2" y="270"/>
                  </a:lnTo>
                  <a:lnTo>
                    <a:pt x="506" y="154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" name="isḷïḋè">
              <a:extLst>
                <a:ext uri="{FF2B5EF4-FFF2-40B4-BE49-F238E27FC236}">
                  <a16:creationId xmlns:a16="http://schemas.microsoft.com/office/drawing/2014/main" xmlns="" id="{7FCAA872-69AC-4B0C-A206-F607E869CA80}"/>
                </a:ext>
              </a:extLst>
            </p:cNvPr>
            <p:cNvSpPr/>
            <p:nvPr userDrawn="1"/>
          </p:nvSpPr>
          <p:spPr bwMode="auto">
            <a:xfrm>
              <a:off x="6364288" y="4778376"/>
              <a:ext cx="103188" cy="63500"/>
            </a:xfrm>
            <a:custGeom>
              <a:avLst/>
              <a:gdLst>
                <a:gd name="T0" fmla="*/ 32 w 65"/>
                <a:gd name="T1" fmla="*/ 0 h 40"/>
                <a:gd name="T2" fmla="*/ 65 w 65"/>
                <a:gd name="T3" fmla="*/ 38 h 40"/>
                <a:gd name="T4" fmla="*/ 0 w 65"/>
                <a:gd name="T5" fmla="*/ 40 h 40"/>
                <a:gd name="T6" fmla="*/ 32 w 65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40">
                  <a:moveTo>
                    <a:pt x="32" y="0"/>
                  </a:moveTo>
                  <a:lnTo>
                    <a:pt x="65" y="38"/>
                  </a:lnTo>
                  <a:lnTo>
                    <a:pt x="0" y="4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" name="íšḻiḍe">
              <a:extLst>
                <a:ext uri="{FF2B5EF4-FFF2-40B4-BE49-F238E27FC236}">
                  <a16:creationId xmlns:a16="http://schemas.microsoft.com/office/drawing/2014/main" xmlns="" id="{5122C905-B1F6-4E0D-BE7B-8DE157DD468B}"/>
                </a:ext>
              </a:extLst>
            </p:cNvPr>
            <p:cNvSpPr/>
            <p:nvPr userDrawn="1"/>
          </p:nvSpPr>
          <p:spPr bwMode="auto">
            <a:xfrm>
              <a:off x="7226301" y="27051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" name="iSḷîḑé">
              <a:extLst>
                <a:ext uri="{FF2B5EF4-FFF2-40B4-BE49-F238E27FC236}">
                  <a16:creationId xmlns:a16="http://schemas.microsoft.com/office/drawing/2014/main" xmlns="" id="{32EE354B-CE5A-4120-B46E-406B3548C7F2}"/>
                </a:ext>
              </a:extLst>
            </p:cNvPr>
            <p:cNvSpPr/>
            <p:nvPr userDrawn="1"/>
          </p:nvSpPr>
          <p:spPr bwMode="auto">
            <a:xfrm>
              <a:off x="7226301" y="27051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" name="íśľïde">
              <a:extLst>
                <a:ext uri="{FF2B5EF4-FFF2-40B4-BE49-F238E27FC236}">
                  <a16:creationId xmlns:a16="http://schemas.microsoft.com/office/drawing/2014/main" xmlns="" id="{71B49854-68C6-42FE-9D6E-4E48D96E5AC7}"/>
                </a:ext>
              </a:extLst>
            </p:cNvPr>
            <p:cNvSpPr/>
            <p:nvPr userDrawn="1"/>
          </p:nvSpPr>
          <p:spPr bwMode="auto">
            <a:xfrm>
              <a:off x="7226301" y="3081338"/>
              <a:ext cx="1655763" cy="576263"/>
            </a:xfrm>
            <a:custGeom>
              <a:avLst/>
              <a:gdLst>
                <a:gd name="T0" fmla="*/ 0 w 1043"/>
                <a:gd name="T1" fmla="*/ 0 h 363"/>
                <a:gd name="T2" fmla="*/ 0 w 1043"/>
                <a:gd name="T3" fmla="*/ 10 h 363"/>
                <a:gd name="T4" fmla="*/ 613 w 1043"/>
                <a:gd name="T5" fmla="*/ 363 h 363"/>
                <a:gd name="T6" fmla="*/ 1043 w 1043"/>
                <a:gd name="T7" fmla="*/ 116 h 363"/>
                <a:gd name="T8" fmla="*/ 1043 w 1043"/>
                <a:gd name="T9" fmla="*/ 106 h 363"/>
                <a:gd name="T10" fmla="*/ 0 w 1043"/>
                <a:gd name="T1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3">
                  <a:moveTo>
                    <a:pt x="0" y="0"/>
                  </a:moveTo>
                  <a:lnTo>
                    <a:pt x="0" y="10"/>
                  </a:lnTo>
                  <a:lnTo>
                    <a:pt x="613" y="363"/>
                  </a:lnTo>
                  <a:lnTo>
                    <a:pt x="1043" y="116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5" name="íšḻide">
              <a:extLst>
                <a:ext uri="{FF2B5EF4-FFF2-40B4-BE49-F238E27FC236}">
                  <a16:creationId xmlns:a16="http://schemas.microsoft.com/office/drawing/2014/main" xmlns="" id="{08F9FB94-5C81-407D-9FDB-9142BFEAADE3}"/>
                </a:ext>
              </a:extLst>
            </p:cNvPr>
            <p:cNvSpPr/>
            <p:nvPr userDrawn="1"/>
          </p:nvSpPr>
          <p:spPr bwMode="auto">
            <a:xfrm>
              <a:off x="7226301" y="2689226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6" name="îṧḷîḑè">
              <a:extLst>
                <a:ext uri="{FF2B5EF4-FFF2-40B4-BE49-F238E27FC236}">
                  <a16:creationId xmlns:a16="http://schemas.microsoft.com/office/drawing/2014/main" xmlns="" id="{040D7BD2-4525-4110-B9D6-07A12E56F6D5}"/>
                </a:ext>
              </a:extLst>
            </p:cNvPr>
            <p:cNvSpPr/>
            <p:nvPr userDrawn="1"/>
          </p:nvSpPr>
          <p:spPr bwMode="auto">
            <a:xfrm>
              <a:off x="7226301" y="2689226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7" name="ísļîďê">
              <a:extLst>
                <a:ext uri="{FF2B5EF4-FFF2-40B4-BE49-F238E27FC236}">
                  <a16:creationId xmlns:a16="http://schemas.microsoft.com/office/drawing/2014/main" xmlns="" id="{F38950E6-D792-452D-97EA-2A34B3289AAE}"/>
                </a:ext>
              </a:extLst>
            </p:cNvPr>
            <p:cNvSpPr/>
            <p:nvPr userDrawn="1"/>
          </p:nvSpPr>
          <p:spPr bwMode="auto">
            <a:xfrm>
              <a:off x="7226301" y="2674938"/>
              <a:ext cx="1655763" cy="954088"/>
            </a:xfrm>
            <a:custGeom>
              <a:avLst/>
              <a:gdLst>
                <a:gd name="T0" fmla="*/ 1043 w 1043"/>
                <a:gd name="T1" fmla="*/ 353 h 601"/>
                <a:gd name="T2" fmla="*/ 430 w 1043"/>
                <a:gd name="T3" fmla="*/ 0 h 601"/>
                <a:gd name="T4" fmla="*/ 0 w 1043"/>
                <a:gd name="T5" fmla="*/ 247 h 601"/>
                <a:gd name="T6" fmla="*/ 613 w 1043"/>
                <a:gd name="T7" fmla="*/ 601 h 601"/>
                <a:gd name="T8" fmla="*/ 1043 w 1043"/>
                <a:gd name="T9" fmla="*/ 353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1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1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8" name="ïṡļîdê">
              <a:extLst>
                <a:ext uri="{FF2B5EF4-FFF2-40B4-BE49-F238E27FC236}">
                  <a16:creationId xmlns:a16="http://schemas.microsoft.com/office/drawing/2014/main" xmlns="" id="{73F6217C-E6C3-4DE8-BE82-3CA6769A0EC3}"/>
                </a:ext>
              </a:extLst>
            </p:cNvPr>
            <p:cNvSpPr/>
            <p:nvPr userDrawn="1"/>
          </p:nvSpPr>
          <p:spPr bwMode="auto">
            <a:xfrm>
              <a:off x="7226301" y="2674938"/>
              <a:ext cx="1655763" cy="954088"/>
            </a:xfrm>
            <a:custGeom>
              <a:avLst/>
              <a:gdLst>
                <a:gd name="T0" fmla="*/ 1043 w 1043"/>
                <a:gd name="T1" fmla="*/ 353 h 601"/>
                <a:gd name="T2" fmla="*/ 430 w 1043"/>
                <a:gd name="T3" fmla="*/ 0 h 601"/>
                <a:gd name="T4" fmla="*/ 0 w 1043"/>
                <a:gd name="T5" fmla="*/ 247 h 601"/>
                <a:gd name="T6" fmla="*/ 613 w 1043"/>
                <a:gd name="T7" fmla="*/ 601 h 601"/>
                <a:gd name="T8" fmla="*/ 1043 w 1043"/>
                <a:gd name="T9" fmla="*/ 353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1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1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9" name="íṡlîḍè">
              <a:extLst>
                <a:ext uri="{FF2B5EF4-FFF2-40B4-BE49-F238E27FC236}">
                  <a16:creationId xmlns:a16="http://schemas.microsoft.com/office/drawing/2014/main" xmlns="" id="{B2C57444-C8CB-4BDD-AB0C-D3CF266BD7FE}"/>
                </a:ext>
              </a:extLst>
            </p:cNvPr>
            <p:cNvSpPr/>
            <p:nvPr userDrawn="1"/>
          </p:nvSpPr>
          <p:spPr bwMode="auto">
            <a:xfrm>
              <a:off x="7226301" y="3021013"/>
              <a:ext cx="1655763" cy="608013"/>
            </a:xfrm>
            <a:custGeom>
              <a:avLst/>
              <a:gdLst>
                <a:gd name="T0" fmla="*/ 0 w 1043"/>
                <a:gd name="T1" fmla="*/ 0 h 383"/>
                <a:gd name="T2" fmla="*/ 0 w 1043"/>
                <a:gd name="T3" fmla="*/ 29 h 383"/>
                <a:gd name="T4" fmla="*/ 613 w 1043"/>
                <a:gd name="T5" fmla="*/ 383 h 383"/>
                <a:gd name="T6" fmla="*/ 1043 w 1043"/>
                <a:gd name="T7" fmla="*/ 135 h 383"/>
                <a:gd name="T8" fmla="*/ 1043 w 1043"/>
                <a:gd name="T9" fmla="*/ 106 h 383"/>
                <a:gd name="T10" fmla="*/ 0 w 1043"/>
                <a:gd name="T1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3">
                  <a:moveTo>
                    <a:pt x="0" y="0"/>
                  </a:moveTo>
                  <a:lnTo>
                    <a:pt x="0" y="29"/>
                  </a:lnTo>
                  <a:lnTo>
                    <a:pt x="613" y="383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5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0" name="íṡ1îḑè">
              <a:extLst>
                <a:ext uri="{FF2B5EF4-FFF2-40B4-BE49-F238E27FC236}">
                  <a16:creationId xmlns:a16="http://schemas.microsoft.com/office/drawing/2014/main" xmlns="" id="{BE6314D0-AC6A-4E7E-85C2-CDAC12B14E46}"/>
                </a:ext>
              </a:extLst>
            </p:cNvPr>
            <p:cNvSpPr/>
            <p:nvPr userDrawn="1"/>
          </p:nvSpPr>
          <p:spPr bwMode="auto">
            <a:xfrm>
              <a:off x="7226301" y="26289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1" name="î$ḷïḓé">
              <a:extLst>
                <a:ext uri="{FF2B5EF4-FFF2-40B4-BE49-F238E27FC236}">
                  <a16:creationId xmlns:a16="http://schemas.microsoft.com/office/drawing/2014/main" xmlns="" id="{9011874E-618C-4F3A-9FC2-B01AB878A5B2}"/>
                </a:ext>
              </a:extLst>
            </p:cNvPr>
            <p:cNvSpPr/>
            <p:nvPr userDrawn="1"/>
          </p:nvSpPr>
          <p:spPr bwMode="auto">
            <a:xfrm>
              <a:off x="7226301" y="26289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" name="íṩľídè">
              <a:extLst>
                <a:ext uri="{FF2B5EF4-FFF2-40B4-BE49-F238E27FC236}">
                  <a16:creationId xmlns:a16="http://schemas.microsoft.com/office/drawing/2014/main" xmlns="" id="{316FF3A0-9512-43FA-B1CE-CFB758595D81}"/>
                </a:ext>
              </a:extLst>
            </p:cNvPr>
            <p:cNvSpPr/>
            <p:nvPr userDrawn="1"/>
          </p:nvSpPr>
          <p:spPr bwMode="auto">
            <a:xfrm>
              <a:off x="7226301" y="26035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3" name="iṥlîďé">
              <a:extLst>
                <a:ext uri="{FF2B5EF4-FFF2-40B4-BE49-F238E27FC236}">
                  <a16:creationId xmlns:a16="http://schemas.microsoft.com/office/drawing/2014/main" xmlns="" id="{15A3435B-960D-4103-B253-14A1F7CD0034}"/>
                </a:ext>
              </a:extLst>
            </p:cNvPr>
            <p:cNvSpPr/>
            <p:nvPr userDrawn="1"/>
          </p:nvSpPr>
          <p:spPr bwMode="auto">
            <a:xfrm>
              <a:off x="7226301" y="26035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4" name="íṥḻiďê">
              <a:extLst>
                <a:ext uri="{FF2B5EF4-FFF2-40B4-BE49-F238E27FC236}">
                  <a16:creationId xmlns:a16="http://schemas.microsoft.com/office/drawing/2014/main" xmlns="" id="{44611180-BC43-4E18-8516-ED61DE76D026}"/>
                </a:ext>
              </a:extLst>
            </p:cNvPr>
            <p:cNvSpPr/>
            <p:nvPr userDrawn="1"/>
          </p:nvSpPr>
          <p:spPr bwMode="auto">
            <a:xfrm>
              <a:off x="7226301" y="2978151"/>
              <a:ext cx="1655763" cy="577850"/>
            </a:xfrm>
            <a:custGeom>
              <a:avLst/>
              <a:gdLst>
                <a:gd name="T0" fmla="*/ 0 w 1043"/>
                <a:gd name="T1" fmla="*/ 0 h 364"/>
                <a:gd name="T2" fmla="*/ 0 w 1043"/>
                <a:gd name="T3" fmla="*/ 11 h 364"/>
                <a:gd name="T4" fmla="*/ 613 w 1043"/>
                <a:gd name="T5" fmla="*/ 364 h 364"/>
                <a:gd name="T6" fmla="*/ 1043 w 1043"/>
                <a:gd name="T7" fmla="*/ 117 h 364"/>
                <a:gd name="T8" fmla="*/ 1043 w 1043"/>
                <a:gd name="T9" fmla="*/ 106 h 364"/>
                <a:gd name="T10" fmla="*/ 0 w 1043"/>
                <a:gd name="T11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4">
                  <a:moveTo>
                    <a:pt x="0" y="0"/>
                  </a:moveTo>
                  <a:lnTo>
                    <a:pt x="0" y="11"/>
                  </a:lnTo>
                  <a:lnTo>
                    <a:pt x="613" y="364"/>
                  </a:lnTo>
                  <a:lnTo>
                    <a:pt x="1043" y="117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5" name="ïšľíḋe">
              <a:extLst>
                <a:ext uri="{FF2B5EF4-FFF2-40B4-BE49-F238E27FC236}">
                  <a16:creationId xmlns:a16="http://schemas.microsoft.com/office/drawing/2014/main" xmlns="" id="{DFDB74FB-E92C-4DA0-A278-6B214A6649C3}"/>
                </a:ext>
              </a:extLst>
            </p:cNvPr>
            <p:cNvSpPr/>
            <p:nvPr userDrawn="1"/>
          </p:nvSpPr>
          <p:spPr bwMode="auto">
            <a:xfrm>
              <a:off x="7226301" y="2586038"/>
              <a:ext cx="1655763" cy="957263"/>
            </a:xfrm>
            <a:custGeom>
              <a:avLst/>
              <a:gdLst>
                <a:gd name="T0" fmla="*/ 1043 w 1043"/>
                <a:gd name="T1" fmla="*/ 353 h 603"/>
                <a:gd name="T2" fmla="*/ 430 w 1043"/>
                <a:gd name="T3" fmla="*/ 0 h 603"/>
                <a:gd name="T4" fmla="*/ 0 w 1043"/>
                <a:gd name="T5" fmla="*/ 247 h 603"/>
                <a:gd name="T6" fmla="*/ 613 w 1043"/>
                <a:gd name="T7" fmla="*/ 603 h 603"/>
                <a:gd name="T8" fmla="*/ 1043 w 1043"/>
                <a:gd name="T9" fmla="*/ 35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3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3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" name="iŝļíḋê">
              <a:extLst>
                <a:ext uri="{FF2B5EF4-FFF2-40B4-BE49-F238E27FC236}">
                  <a16:creationId xmlns:a16="http://schemas.microsoft.com/office/drawing/2014/main" xmlns="" id="{85FD90A9-D6F6-4EA5-B302-52684D61A965}"/>
                </a:ext>
              </a:extLst>
            </p:cNvPr>
            <p:cNvSpPr/>
            <p:nvPr userDrawn="1"/>
          </p:nvSpPr>
          <p:spPr bwMode="auto">
            <a:xfrm>
              <a:off x="7226301" y="2586038"/>
              <a:ext cx="1655763" cy="957263"/>
            </a:xfrm>
            <a:custGeom>
              <a:avLst/>
              <a:gdLst>
                <a:gd name="T0" fmla="*/ 1043 w 1043"/>
                <a:gd name="T1" fmla="*/ 353 h 603"/>
                <a:gd name="T2" fmla="*/ 430 w 1043"/>
                <a:gd name="T3" fmla="*/ 0 h 603"/>
                <a:gd name="T4" fmla="*/ 0 w 1043"/>
                <a:gd name="T5" fmla="*/ 247 h 603"/>
                <a:gd name="T6" fmla="*/ 613 w 1043"/>
                <a:gd name="T7" fmla="*/ 603 h 603"/>
                <a:gd name="T8" fmla="*/ 1043 w 1043"/>
                <a:gd name="T9" fmla="*/ 35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3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3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" name="isḷïḍé">
              <a:extLst>
                <a:ext uri="{FF2B5EF4-FFF2-40B4-BE49-F238E27FC236}">
                  <a16:creationId xmlns:a16="http://schemas.microsoft.com/office/drawing/2014/main" xmlns="" id="{C1446773-4485-4E36-848C-FBEFD58386ED}"/>
                </a:ext>
              </a:extLst>
            </p:cNvPr>
            <p:cNvSpPr/>
            <p:nvPr userDrawn="1"/>
          </p:nvSpPr>
          <p:spPr bwMode="auto">
            <a:xfrm>
              <a:off x="7226301" y="2978151"/>
              <a:ext cx="973138" cy="679450"/>
            </a:xfrm>
            <a:custGeom>
              <a:avLst/>
              <a:gdLst>
                <a:gd name="T0" fmla="*/ 613 w 613"/>
                <a:gd name="T1" fmla="*/ 356 h 428"/>
                <a:gd name="T2" fmla="*/ 613 w 613"/>
                <a:gd name="T3" fmla="*/ 428 h 428"/>
                <a:gd name="T4" fmla="*/ 0 w 613"/>
                <a:gd name="T5" fmla="*/ 75 h 428"/>
                <a:gd name="T6" fmla="*/ 0 w 613"/>
                <a:gd name="T7" fmla="*/ 0 h 428"/>
                <a:gd name="T8" fmla="*/ 613 w 613"/>
                <a:gd name="T9" fmla="*/ 356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3" h="428">
                  <a:moveTo>
                    <a:pt x="613" y="356"/>
                  </a:moveTo>
                  <a:lnTo>
                    <a:pt x="613" y="428"/>
                  </a:lnTo>
                  <a:lnTo>
                    <a:pt x="0" y="75"/>
                  </a:lnTo>
                  <a:lnTo>
                    <a:pt x="0" y="0"/>
                  </a:lnTo>
                  <a:lnTo>
                    <a:pt x="613" y="356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" name="íšlïḑê">
              <a:extLst>
                <a:ext uri="{FF2B5EF4-FFF2-40B4-BE49-F238E27FC236}">
                  <a16:creationId xmlns:a16="http://schemas.microsoft.com/office/drawing/2014/main" xmlns="" id="{3389EF52-198D-436B-8056-3E8C4CD5BBA9}"/>
                </a:ext>
              </a:extLst>
            </p:cNvPr>
            <p:cNvSpPr/>
            <p:nvPr userDrawn="1"/>
          </p:nvSpPr>
          <p:spPr bwMode="auto">
            <a:xfrm>
              <a:off x="7296151" y="25146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" name="išľîḋê">
              <a:extLst>
                <a:ext uri="{FF2B5EF4-FFF2-40B4-BE49-F238E27FC236}">
                  <a16:creationId xmlns:a16="http://schemas.microsoft.com/office/drawing/2014/main" xmlns="" id="{4CF0D9F0-A65B-4B74-AAF6-F89C2A50D2A1}"/>
                </a:ext>
              </a:extLst>
            </p:cNvPr>
            <p:cNvSpPr/>
            <p:nvPr userDrawn="1"/>
          </p:nvSpPr>
          <p:spPr bwMode="auto">
            <a:xfrm>
              <a:off x="7296151" y="25146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" name="îṩlïďê">
              <a:extLst>
                <a:ext uri="{FF2B5EF4-FFF2-40B4-BE49-F238E27FC236}">
                  <a16:creationId xmlns:a16="http://schemas.microsoft.com/office/drawing/2014/main" xmlns="" id="{9F594A32-5AD3-4804-927C-82044169077B}"/>
                </a:ext>
              </a:extLst>
            </p:cNvPr>
            <p:cNvSpPr/>
            <p:nvPr userDrawn="1"/>
          </p:nvSpPr>
          <p:spPr bwMode="auto">
            <a:xfrm>
              <a:off x="7296151" y="2892426"/>
              <a:ext cx="1655763" cy="574675"/>
            </a:xfrm>
            <a:custGeom>
              <a:avLst/>
              <a:gdLst>
                <a:gd name="T0" fmla="*/ 0 w 1043"/>
                <a:gd name="T1" fmla="*/ 0 h 362"/>
                <a:gd name="T2" fmla="*/ 0 w 1043"/>
                <a:gd name="T3" fmla="*/ 9 h 362"/>
                <a:gd name="T4" fmla="*/ 613 w 1043"/>
                <a:gd name="T5" fmla="*/ 362 h 362"/>
                <a:gd name="T6" fmla="*/ 1043 w 1043"/>
                <a:gd name="T7" fmla="*/ 115 h 362"/>
                <a:gd name="T8" fmla="*/ 1043 w 1043"/>
                <a:gd name="T9" fmla="*/ 106 h 362"/>
                <a:gd name="T10" fmla="*/ 0 w 1043"/>
                <a:gd name="T11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2">
                  <a:moveTo>
                    <a:pt x="0" y="0"/>
                  </a:moveTo>
                  <a:lnTo>
                    <a:pt x="0" y="9"/>
                  </a:lnTo>
                  <a:lnTo>
                    <a:pt x="613" y="362"/>
                  </a:lnTo>
                  <a:lnTo>
                    <a:pt x="1043" y="11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" name="işlídè">
              <a:extLst>
                <a:ext uri="{FF2B5EF4-FFF2-40B4-BE49-F238E27FC236}">
                  <a16:creationId xmlns:a16="http://schemas.microsoft.com/office/drawing/2014/main" xmlns="" id="{570EDDA6-3A56-4ED1-9591-C13D50024277}"/>
                </a:ext>
              </a:extLst>
            </p:cNvPr>
            <p:cNvSpPr/>
            <p:nvPr userDrawn="1"/>
          </p:nvSpPr>
          <p:spPr bwMode="auto">
            <a:xfrm>
              <a:off x="7296151" y="24971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" name="ïṧľîḋê">
              <a:extLst>
                <a:ext uri="{FF2B5EF4-FFF2-40B4-BE49-F238E27FC236}">
                  <a16:creationId xmlns:a16="http://schemas.microsoft.com/office/drawing/2014/main" xmlns="" id="{646EDDDF-DFF2-411A-805F-0D4006B621B6}"/>
                </a:ext>
              </a:extLst>
            </p:cNvPr>
            <p:cNvSpPr/>
            <p:nvPr userDrawn="1"/>
          </p:nvSpPr>
          <p:spPr bwMode="auto">
            <a:xfrm>
              <a:off x="7296151" y="24971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" name="ïṥlíḓe">
              <a:extLst>
                <a:ext uri="{FF2B5EF4-FFF2-40B4-BE49-F238E27FC236}">
                  <a16:creationId xmlns:a16="http://schemas.microsoft.com/office/drawing/2014/main" xmlns="" id="{1A6FEC4E-26E4-4054-8439-0C5A4E464DF4}"/>
                </a:ext>
              </a:extLst>
            </p:cNvPr>
            <p:cNvSpPr/>
            <p:nvPr userDrawn="1"/>
          </p:nvSpPr>
          <p:spPr bwMode="auto">
            <a:xfrm>
              <a:off x="7296151" y="2484438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" name="îSlíḍè">
              <a:extLst>
                <a:ext uri="{FF2B5EF4-FFF2-40B4-BE49-F238E27FC236}">
                  <a16:creationId xmlns:a16="http://schemas.microsoft.com/office/drawing/2014/main" xmlns="" id="{A5B3C4F6-59D4-44A4-909C-BE24DE6096C9}"/>
                </a:ext>
              </a:extLst>
            </p:cNvPr>
            <p:cNvSpPr/>
            <p:nvPr userDrawn="1"/>
          </p:nvSpPr>
          <p:spPr bwMode="auto">
            <a:xfrm>
              <a:off x="7296151" y="2484438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" name="îŝľîḓê">
              <a:extLst>
                <a:ext uri="{FF2B5EF4-FFF2-40B4-BE49-F238E27FC236}">
                  <a16:creationId xmlns:a16="http://schemas.microsoft.com/office/drawing/2014/main" xmlns="" id="{5D88D7FB-91A9-45FD-B767-766CDBD269CF}"/>
                </a:ext>
              </a:extLst>
            </p:cNvPr>
            <p:cNvSpPr/>
            <p:nvPr userDrawn="1"/>
          </p:nvSpPr>
          <p:spPr bwMode="auto">
            <a:xfrm>
              <a:off x="7296151" y="2830513"/>
              <a:ext cx="1655763" cy="606425"/>
            </a:xfrm>
            <a:custGeom>
              <a:avLst/>
              <a:gdLst>
                <a:gd name="T0" fmla="*/ 0 w 1043"/>
                <a:gd name="T1" fmla="*/ 0 h 382"/>
                <a:gd name="T2" fmla="*/ 0 w 1043"/>
                <a:gd name="T3" fmla="*/ 29 h 382"/>
                <a:gd name="T4" fmla="*/ 613 w 1043"/>
                <a:gd name="T5" fmla="*/ 382 h 382"/>
                <a:gd name="T6" fmla="*/ 1043 w 1043"/>
                <a:gd name="T7" fmla="*/ 135 h 382"/>
                <a:gd name="T8" fmla="*/ 1043 w 1043"/>
                <a:gd name="T9" fmla="*/ 106 h 382"/>
                <a:gd name="T10" fmla="*/ 0 w 1043"/>
                <a:gd name="T11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2">
                  <a:moveTo>
                    <a:pt x="0" y="0"/>
                  </a:moveTo>
                  <a:lnTo>
                    <a:pt x="0" y="29"/>
                  </a:lnTo>
                  <a:lnTo>
                    <a:pt x="613" y="382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4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" name="íślïḓè">
              <a:extLst>
                <a:ext uri="{FF2B5EF4-FFF2-40B4-BE49-F238E27FC236}">
                  <a16:creationId xmlns:a16="http://schemas.microsoft.com/office/drawing/2014/main" xmlns="" id="{E5934ED5-E60C-49ED-B13D-ECF696B50267}"/>
                </a:ext>
              </a:extLst>
            </p:cNvPr>
            <p:cNvSpPr/>
            <p:nvPr userDrawn="1"/>
          </p:nvSpPr>
          <p:spPr bwMode="auto">
            <a:xfrm>
              <a:off x="7296151" y="2830513"/>
              <a:ext cx="1655763" cy="606425"/>
            </a:xfrm>
            <a:custGeom>
              <a:avLst/>
              <a:gdLst>
                <a:gd name="T0" fmla="*/ 0 w 1043"/>
                <a:gd name="T1" fmla="*/ 0 h 382"/>
                <a:gd name="T2" fmla="*/ 0 w 1043"/>
                <a:gd name="T3" fmla="*/ 29 h 382"/>
                <a:gd name="T4" fmla="*/ 613 w 1043"/>
                <a:gd name="T5" fmla="*/ 382 h 382"/>
                <a:gd name="T6" fmla="*/ 1043 w 1043"/>
                <a:gd name="T7" fmla="*/ 135 h 382"/>
                <a:gd name="T8" fmla="*/ 1043 w 1043"/>
                <a:gd name="T9" fmla="*/ 106 h 382"/>
                <a:gd name="T10" fmla="*/ 0 w 1043"/>
                <a:gd name="T11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2">
                  <a:moveTo>
                    <a:pt x="0" y="0"/>
                  </a:moveTo>
                  <a:lnTo>
                    <a:pt x="0" y="29"/>
                  </a:lnTo>
                  <a:lnTo>
                    <a:pt x="613" y="382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" name="íšḷïdé">
              <a:extLst>
                <a:ext uri="{FF2B5EF4-FFF2-40B4-BE49-F238E27FC236}">
                  <a16:creationId xmlns:a16="http://schemas.microsoft.com/office/drawing/2014/main" xmlns="" id="{3B58BBEE-02AB-4618-80BA-8ED2B7D9E984}"/>
                </a:ext>
              </a:extLst>
            </p:cNvPr>
            <p:cNvSpPr/>
            <p:nvPr userDrawn="1"/>
          </p:nvSpPr>
          <p:spPr bwMode="auto">
            <a:xfrm>
              <a:off x="7296151" y="2438401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" name="îṩļîḑé">
              <a:extLst>
                <a:ext uri="{FF2B5EF4-FFF2-40B4-BE49-F238E27FC236}">
                  <a16:creationId xmlns:a16="http://schemas.microsoft.com/office/drawing/2014/main" xmlns="" id="{D306B89A-6294-4DF3-9B99-C4348A7FBAC3}"/>
                </a:ext>
              </a:extLst>
            </p:cNvPr>
            <p:cNvSpPr/>
            <p:nvPr userDrawn="1"/>
          </p:nvSpPr>
          <p:spPr bwMode="auto">
            <a:xfrm>
              <a:off x="7296151" y="2438401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" name="ï$ļiḍê">
              <a:extLst>
                <a:ext uri="{FF2B5EF4-FFF2-40B4-BE49-F238E27FC236}">
                  <a16:creationId xmlns:a16="http://schemas.microsoft.com/office/drawing/2014/main" xmlns="" id="{A0C9911A-5B53-42D6-93AA-2E680F94A161}"/>
                </a:ext>
              </a:extLst>
            </p:cNvPr>
            <p:cNvSpPr/>
            <p:nvPr userDrawn="1"/>
          </p:nvSpPr>
          <p:spPr bwMode="auto">
            <a:xfrm>
              <a:off x="7296151" y="2411413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" name="íŝļïḑè">
              <a:extLst>
                <a:ext uri="{FF2B5EF4-FFF2-40B4-BE49-F238E27FC236}">
                  <a16:creationId xmlns:a16="http://schemas.microsoft.com/office/drawing/2014/main" xmlns="" id="{9D956336-9CC8-435E-B608-47C342BCAA55}"/>
                </a:ext>
              </a:extLst>
            </p:cNvPr>
            <p:cNvSpPr/>
            <p:nvPr userDrawn="1"/>
          </p:nvSpPr>
          <p:spPr bwMode="auto">
            <a:xfrm>
              <a:off x="7296151" y="2411413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" name="ïs1îde">
              <a:extLst>
                <a:ext uri="{FF2B5EF4-FFF2-40B4-BE49-F238E27FC236}">
                  <a16:creationId xmlns:a16="http://schemas.microsoft.com/office/drawing/2014/main" xmlns="" id="{98C5D9E7-0AC0-4586-BF8B-46F3AA2A2822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1655763" cy="573088"/>
            </a:xfrm>
            <a:custGeom>
              <a:avLst/>
              <a:gdLst>
                <a:gd name="T0" fmla="*/ 0 w 1043"/>
                <a:gd name="T1" fmla="*/ 0 h 361"/>
                <a:gd name="T2" fmla="*/ 0 w 1043"/>
                <a:gd name="T3" fmla="*/ 8 h 361"/>
                <a:gd name="T4" fmla="*/ 613 w 1043"/>
                <a:gd name="T5" fmla="*/ 361 h 361"/>
                <a:gd name="T6" fmla="*/ 1043 w 1043"/>
                <a:gd name="T7" fmla="*/ 114 h 361"/>
                <a:gd name="T8" fmla="*/ 1043 w 1043"/>
                <a:gd name="T9" fmla="*/ 106 h 361"/>
                <a:gd name="T10" fmla="*/ 0 w 1043"/>
                <a:gd name="T11" fmla="*/ 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1">
                  <a:moveTo>
                    <a:pt x="0" y="0"/>
                  </a:moveTo>
                  <a:lnTo>
                    <a:pt x="0" y="8"/>
                  </a:lnTo>
                  <a:lnTo>
                    <a:pt x="613" y="361"/>
                  </a:lnTo>
                  <a:lnTo>
                    <a:pt x="1043" y="114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" name="íşḷïdê">
              <a:extLst>
                <a:ext uri="{FF2B5EF4-FFF2-40B4-BE49-F238E27FC236}">
                  <a16:creationId xmlns:a16="http://schemas.microsoft.com/office/drawing/2014/main" xmlns="" id="{A2DEDF9E-C1B9-4BAE-A97F-B61EDF3A1314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1655763" cy="573088"/>
            </a:xfrm>
            <a:custGeom>
              <a:avLst/>
              <a:gdLst>
                <a:gd name="T0" fmla="*/ 0 w 1043"/>
                <a:gd name="T1" fmla="*/ 0 h 361"/>
                <a:gd name="T2" fmla="*/ 0 w 1043"/>
                <a:gd name="T3" fmla="*/ 8 h 361"/>
                <a:gd name="T4" fmla="*/ 613 w 1043"/>
                <a:gd name="T5" fmla="*/ 361 h 361"/>
                <a:gd name="T6" fmla="*/ 1043 w 1043"/>
                <a:gd name="T7" fmla="*/ 114 h 361"/>
                <a:gd name="T8" fmla="*/ 1043 w 1043"/>
                <a:gd name="T9" fmla="*/ 106 h 361"/>
                <a:gd name="T10" fmla="*/ 0 w 1043"/>
                <a:gd name="T11" fmla="*/ 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1">
                  <a:moveTo>
                    <a:pt x="0" y="0"/>
                  </a:moveTo>
                  <a:lnTo>
                    <a:pt x="0" y="8"/>
                  </a:lnTo>
                  <a:lnTo>
                    <a:pt x="613" y="361"/>
                  </a:lnTo>
                  <a:lnTo>
                    <a:pt x="1043" y="114"/>
                  </a:lnTo>
                  <a:lnTo>
                    <a:pt x="1043" y="10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" name="íŝḻîďê">
              <a:extLst>
                <a:ext uri="{FF2B5EF4-FFF2-40B4-BE49-F238E27FC236}">
                  <a16:creationId xmlns:a16="http://schemas.microsoft.com/office/drawing/2014/main" xmlns="" id="{073EDF65-8F93-4C6A-8F21-DFC07A1D2C2B}"/>
                </a:ext>
              </a:extLst>
            </p:cNvPr>
            <p:cNvSpPr/>
            <p:nvPr userDrawn="1"/>
          </p:nvSpPr>
          <p:spPr bwMode="auto">
            <a:xfrm>
              <a:off x="7296151" y="23955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" name="îS1îďé">
              <a:extLst>
                <a:ext uri="{FF2B5EF4-FFF2-40B4-BE49-F238E27FC236}">
                  <a16:creationId xmlns:a16="http://schemas.microsoft.com/office/drawing/2014/main" xmlns="" id="{86A4D930-D3BA-4D46-9096-BDD57BD9359E}"/>
                </a:ext>
              </a:extLst>
            </p:cNvPr>
            <p:cNvSpPr/>
            <p:nvPr userDrawn="1"/>
          </p:nvSpPr>
          <p:spPr bwMode="auto">
            <a:xfrm>
              <a:off x="7296151" y="23955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5" name="iśḻîḍe">
              <a:extLst>
                <a:ext uri="{FF2B5EF4-FFF2-40B4-BE49-F238E27FC236}">
                  <a16:creationId xmlns:a16="http://schemas.microsoft.com/office/drawing/2014/main" xmlns="" id="{1D8C15C3-DB8E-4A19-B683-A4978C87A219}"/>
                </a:ext>
              </a:extLst>
            </p:cNvPr>
            <p:cNvSpPr/>
            <p:nvPr userDrawn="1"/>
          </p:nvSpPr>
          <p:spPr bwMode="auto">
            <a:xfrm>
              <a:off x="7588251" y="2566988"/>
              <a:ext cx="1069975" cy="615950"/>
            </a:xfrm>
            <a:custGeom>
              <a:avLst/>
              <a:gdLst>
                <a:gd name="T0" fmla="*/ 0 w 674"/>
                <a:gd name="T1" fmla="*/ 141 h 388"/>
                <a:gd name="T2" fmla="*/ 246 w 674"/>
                <a:gd name="T3" fmla="*/ 0 h 388"/>
                <a:gd name="T4" fmla="*/ 674 w 674"/>
                <a:gd name="T5" fmla="*/ 247 h 388"/>
                <a:gd name="T6" fmla="*/ 429 w 674"/>
                <a:gd name="T7" fmla="*/ 388 h 388"/>
                <a:gd name="T8" fmla="*/ 0 w 674"/>
                <a:gd name="T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4" h="388">
                  <a:moveTo>
                    <a:pt x="0" y="141"/>
                  </a:moveTo>
                  <a:lnTo>
                    <a:pt x="246" y="0"/>
                  </a:lnTo>
                  <a:lnTo>
                    <a:pt x="674" y="247"/>
                  </a:lnTo>
                  <a:lnTo>
                    <a:pt x="429" y="388"/>
                  </a:lnTo>
                  <a:lnTo>
                    <a:pt x="0" y="141"/>
                  </a:ln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6" name="îślíďê">
              <a:extLst>
                <a:ext uri="{FF2B5EF4-FFF2-40B4-BE49-F238E27FC236}">
                  <a16:creationId xmlns:a16="http://schemas.microsoft.com/office/drawing/2014/main" xmlns="" id="{16BDE442-93F9-4611-B26B-04056044A199}"/>
                </a:ext>
              </a:extLst>
            </p:cNvPr>
            <p:cNvSpPr/>
            <p:nvPr userDrawn="1"/>
          </p:nvSpPr>
          <p:spPr bwMode="auto">
            <a:xfrm>
              <a:off x="7588251" y="2566988"/>
              <a:ext cx="1069975" cy="615950"/>
            </a:xfrm>
            <a:custGeom>
              <a:avLst/>
              <a:gdLst>
                <a:gd name="T0" fmla="*/ 0 w 674"/>
                <a:gd name="T1" fmla="*/ 141 h 388"/>
                <a:gd name="T2" fmla="*/ 246 w 674"/>
                <a:gd name="T3" fmla="*/ 0 h 388"/>
                <a:gd name="T4" fmla="*/ 674 w 674"/>
                <a:gd name="T5" fmla="*/ 247 h 388"/>
                <a:gd name="T6" fmla="*/ 429 w 674"/>
                <a:gd name="T7" fmla="*/ 388 h 388"/>
                <a:gd name="T8" fmla="*/ 0 w 674"/>
                <a:gd name="T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4" h="388">
                  <a:moveTo>
                    <a:pt x="0" y="141"/>
                  </a:moveTo>
                  <a:lnTo>
                    <a:pt x="246" y="0"/>
                  </a:lnTo>
                  <a:lnTo>
                    <a:pt x="674" y="247"/>
                  </a:lnTo>
                  <a:lnTo>
                    <a:pt x="429" y="388"/>
                  </a:lnTo>
                  <a:lnTo>
                    <a:pt x="0" y="14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7" name="îşľîdé">
              <a:extLst>
                <a:ext uri="{FF2B5EF4-FFF2-40B4-BE49-F238E27FC236}">
                  <a16:creationId xmlns:a16="http://schemas.microsoft.com/office/drawing/2014/main" xmlns="" id="{9247F508-6CA0-4268-9FF5-5E6BA3C0D9B8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973138" cy="676275"/>
            </a:xfrm>
            <a:custGeom>
              <a:avLst/>
              <a:gdLst>
                <a:gd name="T0" fmla="*/ 613 w 613"/>
                <a:gd name="T1" fmla="*/ 353 h 426"/>
                <a:gd name="T2" fmla="*/ 613 w 613"/>
                <a:gd name="T3" fmla="*/ 426 h 426"/>
                <a:gd name="T4" fmla="*/ 0 w 613"/>
                <a:gd name="T5" fmla="*/ 73 h 426"/>
                <a:gd name="T6" fmla="*/ 0 w 613"/>
                <a:gd name="T7" fmla="*/ 0 h 426"/>
                <a:gd name="T8" fmla="*/ 613 w 613"/>
                <a:gd name="T9" fmla="*/ 353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3" h="426">
                  <a:moveTo>
                    <a:pt x="613" y="353"/>
                  </a:moveTo>
                  <a:lnTo>
                    <a:pt x="613" y="426"/>
                  </a:lnTo>
                  <a:lnTo>
                    <a:pt x="0" y="73"/>
                  </a:lnTo>
                  <a:lnTo>
                    <a:pt x="0" y="0"/>
                  </a:lnTo>
                  <a:lnTo>
                    <a:pt x="613" y="353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8" name="išlîďé">
              <a:extLst>
                <a:ext uri="{FF2B5EF4-FFF2-40B4-BE49-F238E27FC236}">
                  <a16:creationId xmlns:a16="http://schemas.microsoft.com/office/drawing/2014/main" xmlns="" id="{DC693261-4F77-4E74-9E09-4B8A428B7905}"/>
                </a:ext>
              </a:extLst>
            </p:cNvPr>
            <p:cNvSpPr/>
            <p:nvPr userDrawn="1"/>
          </p:nvSpPr>
          <p:spPr bwMode="auto">
            <a:xfrm>
              <a:off x="4689476" y="4205288"/>
              <a:ext cx="841375" cy="504825"/>
            </a:xfrm>
            <a:custGeom>
              <a:avLst/>
              <a:gdLst>
                <a:gd name="T0" fmla="*/ 0 w 255"/>
                <a:gd name="T1" fmla="*/ 1 h 153"/>
                <a:gd name="T2" fmla="*/ 0 w 255"/>
                <a:gd name="T3" fmla="*/ 0 h 153"/>
                <a:gd name="T4" fmla="*/ 2 w 255"/>
                <a:gd name="T5" fmla="*/ 0 h 153"/>
                <a:gd name="T6" fmla="*/ 4 w 255"/>
                <a:gd name="T7" fmla="*/ 1 h 153"/>
                <a:gd name="T8" fmla="*/ 7 w 255"/>
                <a:gd name="T9" fmla="*/ 2 h 153"/>
                <a:gd name="T10" fmla="*/ 11 w 255"/>
                <a:gd name="T11" fmla="*/ 4 h 153"/>
                <a:gd name="T12" fmla="*/ 13 w 255"/>
                <a:gd name="T13" fmla="*/ 4 h 153"/>
                <a:gd name="T14" fmla="*/ 15 w 255"/>
                <a:gd name="T15" fmla="*/ 5 h 153"/>
                <a:gd name="T16" fmla="*/ 35 w 255"/>
                <a:gd name="T17" fmla="*/ 12 h 153"/>
                <a:gd name="T18" fmla="*/ 35 w 255"/>
                <a:gd name="T19" fmla="*/ 12 h 153"/>
                <a:gd name="T20" fmla="*/ 35 w 255"/>
                <a:gd name="T21" fmla="*/ 12 h 153"/>
                <a:gd name="T22" fmla="*/ 35 w 255"/>
                <a:gd name="T23" fmla="*/ 12 h 153"/>
                <a:gd name="T24" fmla="*/ 35 w 255"/>
                <a:gd name="T25" fmla="*/ 12 h 153"/>
                <a:gd name="T26" fmla="*/ 251 w 255"/>
                <a:gd name="T27" fmla="*/ 137 h 153"/>
                <a:gd name="T28" fmla="*/ 255 w 255"/>
                <a:gd name="T29" fmla="*/ 142 h 153"/>
                <a:gd name="T30" fmla="*/ 251 w 255"/>
                <a:gd name="T31" fmla="*/ 149 h 153"/>
                <a:gd name="T32" fmla="*/ 245 w 255"/>
                <a:gd name="T33" fmla="*/ 153 h 153"/>
                <a:gd name="T34" fmla="*/ 29 w 255"/>
                <a:gd name="T35" fmla="*/ 27 h 153"/>
                <a:gd name="T36" fmla="*/ 29 w 255"/>
                <a:gd name="T37" fmla="*/ 27 h 153"/>
                <a:gd name="T38" fmla="*/ 11 w 255"/>
                <a:gd name="T39" fmla="*/ 10 h 153"/>
                <a:gd name="T40" fmla="*/ 0 w 255"/>
                <a:gd name="T41" fmla="*/ 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5" h="153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3" y="1"/>
                    <a:pt x="4" y="1"/>
                  </a:cubicBezTo>
                  <a:cubicBezTo>
                    <a:pt x="5" y="1"/>
                    <a:pt x="6" y="2"/>
                    <a:pt x="7" y="2"/>
                  </a:cubicBezTo>
                  <a:cubicBezTo>
                    <a:pt x="9" y="3"/>
                    <a:pt x="10" y="3"/>
                    <a:pt x="11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6" y="5"/>
                    <a:pt x="33" y="11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251" y="137"/>
                    <a:pt x="251" y="137"/>
                    <a:pt x="251" y="137"/>
                  </a:cubicBezTo>
                  <a:cubicBezTo>
                    <a:pt x="255" y="142"/>
                    <a:pt x="255" y="142"/>
                    <a:pt x="255" y="142"/>
                  </a:cubicBezTo>
                  <a:cubicBezTo>
                    <a:pt x="251" y="149"/>
                    <a:pt x="251" y="149"/>
                    <a:pt x="251" y="149"/>
                  </a:cubicBezTo>
                  <a:cubicBezTo>
                    <a:pt x="245" y="153"/>
                    <a:pt x="245" y="153"/>
                    <a:pt x="245" y="153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3" y="22"/>
                    <a:pt x="17" y="15"/>
                    <a:pt x="11" y="10"/>
                  </a:cubicBezTo>
                  <a:cubicBezTo>
                    <a:pt x="7" y="7"/>
                    <a:pt x="3" y="4"/>
                    <a:pt x="0" y="1"/>
                  </a:cubicBezTo>
                  <a:close/>
                </a:path>
              </a:pathLst>
            </a:custGeom>
            <a:solidFill>
              <a:srgbClr val="647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9" name="ïšḷïḋé">
              <a:extLst>
                <a:ext uri="{FF2B5EF4-FFF2-40B4-BE49-F238E27FC236}">
                  <a16:creationId xmlns:a16="http://schemas.microsoft.com/office/drawing/2014/main" xmlns="" id="{5E810548-741F-4E88-85B1-DEFC16F65795}"/>
                </a:ext>
              </a:extLst>
            </p:cNvPr>
            <p:cNvSpPr/>
            <p:nvPr userDrawn="1"/>
          </p:nvSpPr>
          <p:spPr bwMode="auto">
            <a:xfrm>
              <a:off x="4699001" y="4192588"/>
              <a:ext cx="52388" cy="33338"/>
            </a:xfrm>
            <a:custGeom>
              <a:avLst/>
              <a:gdLst>
                <a:gd name="T0" fmla="*/ 1 w 16"/>
                <a:gd name="T1" fmla="*/ 0 h 10"/>
                <a:gd name="T2" fmla="*/ 2 w 16"/>
                <a:gd name="T3" fmla="*/ 1 h 10"/>
                <a:gd name="T4" fmla="*/ 4 w 16"/>
                <a:gd name="T5" fmla="*/ 1 h 10"/>
                <a:gd name="T6" fmla="*/ 8 w 16"/>
                <a:gd name="T7" fmla="*/ 3 h 10"/>
                <a:gd name="T8" fmla="*/ 12 w 16"/>
                <a:gd name="T9" fmla="*/ 4 h 10"/>
                <a:gd name="T10" fmla="*/ 14 w 16"/>
                <a:gd name="T11" fmla="*/ 5 h 10"/>
                <a:gd name="T12" fmla="*/ 16 w 16"/>
                <a:gd name="T13" fmla="*/ 5 h 10"/>
                <a:gd name="T14" fmla="*/ 11 w 16"/>
                <a:gd name="T15" fmla="*/ 10 h 10"/>
                <a:gd name="T16" fmla="*/ 0 w 16"/>
                <a:gd name="T17" fmla="*/ 1 h 10"/>
                <a:gd name="T18" fmla="*/ 1 w 16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0"/>
                  </a:moveTo>
                  <a:cubicBezTo>
                    <a:pt x="1" y="0"/>
                    <a:pt x="2" y="0"/>
                    <a:pt x="2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2"/>
                    <a:pt x="7" y="2"/>
                    <a:pt x="8" y="3"/>
                  </a:cubicBezTo>
                  <a:cubicBezTo>
                    <a:pt x="9" y="3"/>
                    <a:pt x="11" y="3"/>
                    <a:pt x="12" y="4"/>
                  </a:cubicBezTo>
                  <a:cubicBezTo>
                    <a:pt x="13" y="4"/>
                    <a:pt x="13" y="4"/>
                    <a:pt x="14" y="5"/>
                  </a:cubicBezTo>
                  <a:cubicBezTo>
                    <a:pt x="15" y="5"/>
                    <a:pt x="15" y="5"/>
                    <a:pt x="16" y="5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7"/>
                    <a:pt x="4" y="4"/>
                    <a:pt x="0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342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0" name="í$lîḍê">
              <a:extLst>
                <a:ext uri="{FF2B5EF4-FFF2-40B4-BE49-F238E27FC236}">
                  <a16:creationId xmlns:a16="http://schemas.microsoft.com/office/drawing/2014/main" xmlns="" id="{3557B4CA-1320-4BB8-BA24-68800B4B8B1A}"/>
                </a:ext>
              </a:extLst>
            </p:cNvPr>
            <p:cNvSpPr/>
            <p:nvPr userDrawn="1"/>
          </p:nvSpPr>
          <p:spPr bwMode="auto">
            <a:xfrm>
              <a:off x="4735513" y="4208463"/>
              <a:ext cx="82550" cy="76200"/>
            </a:xfrm>
            <a:custGeom>
              <a:avLst/>
              <a:gdLst>
                <a:gd name="T0" fmla="*/ 5 w 25"/>
                <a:gd name="T1" fmla="*/ 0 h 23"/>
                <a:gd name="T2" fmla="*/ 25 w 25"/>
                <a:gd name="T3" fmla="*/ 7 h 23"/>
                <a:gd name="T4" fmla="*/ 23 w 25"/>
                <a:gd name="T5" fmla="*/ 9 h 23"/>
                <a:gd name="T6" fmla="*/ 17 w 25"/>
                <a:gd name="T7" fmla="*/ 17 h 23"/>
                <a:gd name="T8" fmla="*/ 19 w 25"/>
                <a:gd name="T9" fmla="*/ 23 h 23"/>
                <a:gd name="T10" fmla="*/ 0 w 25"/>
                <a:gd name="T11" fmla="*/ 5 h 23"/>
                <a:gd name="T12" fmla="*/ 5 w 25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3">
                  <a:moveTo>
                    <a:pt x="5" y="0"/>
                  </a:moveTo>
                  <a:cubicBezTo>
                    <a:pt x="6" y="1"/>
                    <a:pt x="24" y="7"/>
                    <a:pt x="25" y="7"/>
                  </a:cubicBezTo>
                  <a:cubicBezTo>
                    <a:pt x="24" y="8"/>
                    <a:pt x="24" y="8"/>
                    <a:pt x="23" y="9"/>
                  </a:cubicBezTo>
                  <a:cubicBezTo>
                    <a:pt x="20" y="10"/>
                    <a:pt x="17" y="14"/>
                    <a:pt x="17" y="17"/>
                  </a:cubicBezTo>
                  <a:cubicBezTo>
                    <a:pt x="17" y="19"/>
                    <a:pt x="18" y="22"/>
                    <a:pt x="19" y="23"/>
                  </a:cubicBezTo>
                  <a:cubicBezTo>
                    <a:pt x="13" y="17"/>
                    <a:pt x="6" y="10"/>
                    <a:pt x="0" y="5"/>
                  </a:cubicBezTo>
                  <a:cubicBezTo>
                    <a:pt x="0" y="4"/>
                    <a:pt x="4" y="0"/>
                    <a:pt x="5" y="0"/>
                  </a:cubicBezTo>
                  <a:close/>
                </a:path>
              </a:pathLst>
            </a:custGeom>
            <a:solidFill>
              <a:srgbClr val="FFE2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1" name="işļîdé">
              <a:extLst>
                <a:ext uri="{FF2B5EF4-FFF2-40B4-BE49-F238E27FC236}">
                  <a16:creationId xmlns:a16="http://schemas.microsoft.com/office/drawing/2014/main" xmlns="" id="{C7503120-A3FA-494B-A181-BE099D1AFB46}"/>
                </a:ext>
              </a:extLst>
            </p:cNvPr>
            <p:cNvSpPr/>
            <p:nvPr userDrawn="1"/>
          </p:nvSpPr>
          <p:spPr bwMode="auto">
            <a:xfrm>
              <a:off x="4791076" y="4232276"/>
              <a:ext cx="36513" cy="49213"/>
            </a:xfrm>
            <a:custGeom>
              <a:avLst/>
              <a:gdLst>
                <a:gd name="T0" fmla="*/ 0 w 11"/>
                <a:gd name="T1" fmla="*/ 10 h 15"/>
                <a:gd name="T2" fmla="*/ 5 w 11"/>
                <a:gd name="T3" fmla="*/ 14 h 15"/>
                <a:gd name="T4" fmla="*/ 11 w 11"/>
                <a:gd name="T5" fmla="*/ 4 h 15"/>
                <a:gd name="T6" fmla="*/ 6 w 11"/>
                <a:gd name="T7" fmla="*/ 1 h 15"/>
                <a:gd name="T8" fmla="*/ 0 w 11"/>
                <a:gd name="T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0" y="10"/>
                  </a:moveTo>
                  <a:cubicBezTo>
                    <a:pt x="0" y="14"/>
                    <a:pt x="2" y="15"/>
                    <a:pt x="5" y="14"/>
                  </a:cubicBezTo>
                  <a:cubicBezTo>
                    <a:pt x="8" y="12"/>
                    <a:pt x="11" y="8"/>
                    <a:pt x="11" y="4"/>
                  </a:cubicBezTo>
                  <a:cubicBezTo>
                    <a:pt x="11" y="1"/>
                    <a:pt x="9" y="0"/>
                    <a:pt x="6" y="1"/>
                  </a:cubicBezTo>
                  <a:cubicBezTo>
                    <a:pt x="3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2" name="îşḷïďe">
              <a:extLst>
                <a:ext uri="{FF2B5EF4-FFF2-40B4-BE49-F238E27FC236}">
                  <a16:creationId xmlns:a16="http://schemas.microsoft.com/office/drawing/2014/main" xmlns="" id="{4617E819-B21C-4B70-ADD7-F0B4336E7F16}"/>
                </a:ext>
              </a:extLst>
            </p:cNvPr>
            <p:cNvSpPr/>
            <p:nvPr userDrawn="1"/>
          </p:nvSpPr>
          <p:spPr bwMode="auto">
            <a:xfrm>
              <a:off x="4787901" y="4268788"/>
              <a:ext cx="722313" cy="428625"/>
            </a:xfrm>
            <a:custGeom>
              <a:avLst/>
              <a:gdLst>
                <a:gd name="T0" fmla="*/ 449 w 455"/>
                <a:gd name="T1" fmla="*/ 261 h 270"/>
                <a:gd name="T2" fmla="*/ 0 w 455"/>
                <a:gd name="T3" fmla="*/ 0 h 270"/>
                <a:gd name="T4" fmla="*/ 6 w 455"/>
                <a:gd name="T5" fmla="*/ 10 h 270"/>
                <a:gd name="T6" fmla="*/ 455 w 455"/>
                <a:gd name="T7" fmla="*/ 270 h 270"/>
                <a:gd name="T8" fmla="*/ 449 w 455"/>
                <a:gd name="T9" fmla="*/ 261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0">
                  <a:moveTo>
                    <a:pt x="449" y="261"/>
                  </a:moveTo>
                  <a:lnTo>
                    <a:pt x="0" y="0"/>
                  </a:lnTo>
                  <a:lnTo>
                    <a:pt x="6" y="10"/>
                  </a:lnTo>
                  <a:lnTo>
                    <a:pt x="455" y="270"/>
                  </a:lnTo>
                  <a:lnTo>
                    <a:pt x="449" y="261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3" name="ísḻíḓe">
              <a:extLst>
                <a:ext uri="{FF2B5EF4-FFF2-40B4-BE49-F238E27FC236}">
                  <a16:creationId xmlns:a16="http://schemas.microsoft.com/office/drawing/2014/main" xmlns="" id="{6AB33EBD-6EFE-4F5F-AD17-C4D1D64950D1}"/>
                </a:ext>
              </a:extLst>
            </p:cNvPr>
            <p:cNvSpPr/>
            <p:nvPr userDrawn="1"/>
          </p:nvSpPr>
          <p:spPr bwMode="auto">
            <a:xfrm>
              <a:off x="4787901" y="4241801"/>
              <a:ext cx="722313" cy="441325"/>
            </a:xfrm>
            <a:custGeom>
              <a:avLst/>
              <a:gdLst>
                <a:gd name="T0" fmla="*/ 455 w 455"/>
                <a:gd name="T1" fmla="*/ 262 h 278"/>
                <a:gd name="T2" fmla="*/ 6 w 455"/>
                <a:gd name="T3" fmla="*/ 0 h 278"/>
                <a:gd name="T4" fmla="*/ 0 w 455"/>
                <a:gd name="T5" fmla="*/ 17 h 278"/>
                <a:gd name="T6" fmla="*/ 449 w 455"/>
                <a:gd name="T7" fmla="*/ 278 h 278"/>
                <a:gd name="T8" fmla="*/ 455 w 455"/>
                <a:gd name="T9" fmla="*/ 26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8">
                  <a:moveTo>
                    <a:pt x="455" y="262"/>
                  </a:moveTo>
                  <a:lnTo>
                    <a:pt x="6" y="0"/>
                  </a:lnTo>
                  <a:lnTo>
                    <a:pt x="0" y="17"/>
                  </a:lnTo>
                  <a:lnTo>
                    <a:pt x="449" y="278"/>
                  </a:lnTo>
                  <a:lnTo>
                    <a:pt x="455" y="262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4" name="íṩľiḓé">
              <a:extLst>
                <a:ext uri="{FF2B5EF4-FFF2-40B4-BE49-F238E27FC236}">
                  <a16:creationId xmlns:a16="http://schemas.microsoft.com/office/drawing/2014/main" xmlns="" id="{4E391A3C-E5E5-49D6-B712-4A6267F21436}"/>
                </a:ext>
              </a:extLst>
            </p:cNvPr>
            <p:cNvSpPr/>
            <p:nvPr userDrawn="1"/>
          </p:nvSpPr>
          <p:spPr bwMode="auto">
            <a:xfrm>
              <a:off x="4797426" y="4232276"/>
              <a:ext cx="733425" cy="425450"/>
            </a:xfrm>
            <a:custGeom>
              <a:avLst/>
              <a:gdLst>
                <a:gd name="T0" fmla="*/ 462 w 462"/>
                <a:gd name="T1" fmla="*/ 261 h 268"/>
                <a:gd name="T2" fmla="*/ 13 w 462"/>
                <a:gd name="T3" fmla="*/ 0 h 268"/>
                <a:gd name="T4" fmla="*/ 0 w 462"/>
                <a:gd name="T5" fmla="*/ 6 h 268"/>
                <a:gd name="T6" fmla="*/ 449 w 462"/>
                <a:gd name="T7" fmla="*/ 268 h 268"/>
                <a:gd name="T8" fmla="*/ 462 w 462"/>
                <a:gd name="T9" fmla="*/ 261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2" h="268">
                  <a:moveTo>
                    <a:pt x="462" y="261"/>
                  </a:moveTo>
                  <a:lnTo>
                    <a:pt x="13" y="0"/>
                  </a:lnTo>
                  <a:lnTo>
                    <a:pt x="0" y="6"/>
                  </a:lnTo>
                  <a:lnTo>
                    <a:pt x="449" y="268"/>
                  </a:lnTo>
                  <a:lnTo>
                    <a:pt x="462" y="261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5" name="íş1îdé">
              <a:extLst>
                <a:ext uri="{FF2B5EF4-FFF2-40B4-BE49-F238E27FC236}">
                  <a16:creationId xmlns:a16="http://schemas.microsoft.com/office/drawing/2014/main" xmlns="" id="{8D2F1911-6473-4458-8465-B8AC6D4959CB}"/>
                </a:ext>
              </a:extLst>
            </p:cNvPr>
            <p:cNvSpPr/>
            <p:nvPr userDrawn="1"/>
          </p:nvSpPr>
          <p:spPr bwMode="auto">
            <a:xfrm>
              <a:off x="5500688" y="4646613"/>
              <a:ext cx="39688" cy="50800"/>
            </a:xfrm>
            <a:custGeom>
              <a:avLst/>
              <a:gdLst>
                <a:gd name="T0" fmla="*/ 6 w 25"/>
                <a:gd name="T1" fmla="*/ 7 h 32"/>
                <a:gd name="T2" fmla="*/ 0 w 25"/>
                <a:gd name="T3" fmla="*/ 23 h 32"/>
                <a:gd name="T4" fmla="*/ 6 w 25"/>
                <a:gd name="T5" fmla="*/ 32 h 32"/>
                <a:gd name="T6" fmla="*/ 19 w 25"/>
                <a:gd name="T7" fmla="*/ 25 h 32"/>
                <a:gd name="T8" fmla="*/ 25 w 25"/>
                <a:gd name="T9" fmla="*/ 9 h 32"/>
                <a:gd name="T10" fmla="*/ 19 w 25"/>
                <a:gd name="T11" fmla="*/ 0 h 32"/>
                <a:gd name="T12" fmla="*/ 6 w 25"/>
                <a:gd name="T13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2">
                  <a:moveTo>
                    <a:pt x="6" y="7"/>
                  </a:moveTo>
                  <a:lnTo>
                    <a:pt x="0" y="23"/>
                  </a:lnTo>
                  <a:lnTo>
                    <a:pt x="6" y="32"/>
                  </a:lnTo>
                  <a:lnTo>
                    <a:pt x="19" y="25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6" name="ïsľîḍe">
              <a:extLst>
                <a:ext uri="{FF2B5EF4-FFF2-40B4-BE49-F238E27FC236}">
                  <a16:creationId xmlns:a16="http://schemas.microsoft.com/office/drawing/2014/main" xmlns="" id="{96E63022-90E9-472D-9330-B9DC8BD491FC}"/>
                </a:ext>
              </a:extLst>
            </p:cNvPr>
            <p:cNvSpPr/>
            <p:nvPr userDrawn="1"/>
          </p:nvSpPr>
          <p:spPr bwMode="auto">
            <a:xfrm>
              <a:off x="3236913" y="4429126"/>
              <a:ext cx="1979613" cy="798513"/>
            </a:xfrm>
            <a:custGeom>
              <a:avLst/>
              <a:gdLst>
                <a:gd name="T0" fmla="*/ 372 w 600"/>
                <a:gd name="T1" fmla="*/ 219 h 242"/>
                <a:gd name="T2" fmla="*/ 488 w 600"/>
                <a:gd name="T3" fmla="*/ 161 h 242"/>
                <a:gd name="T4" fmla="*/ 465 w 600"/>
                <a:gd name="T5" fmla="*/ 148 h 242"/>
                <a:gd name="T6" fmla="*/ 364 w 600"/>
                <a:gd name="T7" fmla="*/ 214 h 242"/>
                <a:gd name="T8" fmla="*/ 465 w 600"/>
                <a:gd name="T9" fmla="*/ 148 h 242"/>
                <a:gd name="T10" fmla="*/ 339 w 600"/>
                <a:gd name="T11" fmla="*/ 199 h 242"/>
                <a:gd name="T12" fmla="*/ 454 w 600"/>
                <a:gd name="T13" fmla="*/ 141 h 242"/>
                <a:gd name="T14" fmla="*/ 429 w 600"/>
                <a:gd name="T15" fmla="*/ 127 h 242"/>
                <a:gd name="T16" fmla="*/ 328 w 600"/>
                <a:gd name="T17" fmla="*/ 193 h 242"/>
                <a:gd name="T18" fmla="*/ 429 w 600"/>
                <a:gd name="T19" fmla="*/ 127 h 242"/>
                <a:gd name="T20" fmla="*/ 477 w 600"/>
                <a:gd name="T21" fmla="*/ 135 h 242"/>
                <a:gd name="T22" fmla="*/ 528 w 600"/>
                <a:gd name="T23" fmla="*/ 140 h 242"/>
                <a:gd name="T24" fmla="*/ 495 w 600"/>
                <a:gd name="T25" fmla="*/ 93 h 242"/>
                <a:gd name="T26" fmla="*/ 530 w 600"/>
                <a:gd name="T27" fmla="*/ 138 h 242"/>
                <a:gd name="T28" fmla="*/ 495 w 600"/>
                <a:gd name="T29" fmla="*/ 93 h 242"/>
                <a:gd name="T30" fmla="*/ 516 w 600"/>
                <a:gd name="T31" fmla="*/ 102 h 242"/>
                <a:gd name="T32" fmla="*/ 576 w 600"/>
                <a:gd name="T33" fmla="*/ 112 h 242"/>
                <a:gd name="T34" fmla="*/ 216 w 600"/>
                <a:gd name="T35" fmla="*/ 72 h 242"/>
                <a:gd name="T36" fmla="*/ 169 w 600"/>
                <a:gd name="T37" fmla="*/ 98 h 242"/>
                <a:gd name="T38" fmla="*/ 216 w 600"/>
                <a:gd name="T39" fmla="*/ 126 h 242"/>
                <a:gd name="T40" fmla="*/ 216 w 600"/>
                <a:gd name="T41" fmla="*/ 126 h 242"/>
                <a:gd name="T42" fmla="*/ 262 w 600"/>
                <a:gd name="T43" fmla="*/ 99 h 242"/>
                <a:gd name="T44" fmla="*/ 216 w 600"/>
                <a:gd name="T45" fmla="*/ 72 h 242"/>
                <a:gd name="T46" fmla="*/ 503 w 600"/>
                <a:gd name="T47" fmla="*/ 67 h 242"/>
                <a:gd name="T48" fmla="*/ 600 w 600"/>
                <a:gd name="T49" fmla="*/ 98 h 242"/>
                <a:gd name="T50" fmla="*/ 503 w 600"/>
                <a:gd name="T51" fmla="*/ 67 h 242"/>
                <a:gd name="T52" fmla="*/ 278 w 600"/>
                <a:gd name="T53" fmla="*/ 178 h 242"/>
                <a:gd name="T54" fmla="*/ 491 w 600"/>
                <a:gd name="T55" fmla="*/ 63 h 242"/>
                <a:gd name="T56" fmla="*/ 451 w 600"/>
                <a:gd name="T57" fmla="*/ 53 h 242"/>
                <a:gd name="T58" fmla="*/ 264 w 600"/>
                <a:gd name="T59" fmla="*/ 170 h 242"/>
                <a:gd name="T60" fmla="*/ 451 w 600"/>
                <a:gd name="T61" fmla="*/ 53 h 242"/>
                <a:gd name="T62" fmla="*/ 0 w 600"/>
                <a:gd name="T63" fmla="*/ 50 h 242"/>
                <a:gd name="T64" fmla="*/ 351 w 600"/>
                <a:gd name="T65" fmla="*/ 242 h 242"/>
                <a:gd name="T66" fmla="*/ 419 w 600"/>
                <a:gd name="T67" fmla="*/ 45 h 242"/>
                <a:gd name="T68" fmla="*/ 241 w 600"/>
                <a:gd name="T69" fmla="*/ 156 h 242"/>
                <a:gd name="T70" fmla="*/ 419 w 600"/>
                <a:gd name="T71" fmla="*/ 45 h 242"/>
                <a:gd name="T72" fmla="*/ 43 w 600"/>
                <a:gd name="T73" fmla="*/ 41 h 242"/>
                <a:gd name="T74" fmla="*/ 82 w 600"/>
                <a:gd name="T75" fmla="*/ 33 h 242"/>
                <a:gd name="T76" fmla="*/ 261 w 600"/>
                <a:gd name="T77" fmla="*/ 35 h 242"/>
                <a:gd name="T78" fmla="*/ 260 w 600"/>
                <a:gd name="T79" fmla="*/ 73 h 242"/>
                <a:gd name="T80" fmla="*/ 293 w 600"/>
                <a:gd name="T81" fmla="*/ 81 h 242"/>
                <a:gd name="T82" fmla="*/ 326 w 600"/>
                <a:gd name="T83" fmla="*/ 73 h 242"/>
                <a:gd name="T84" fmla="*/ 327 w 600"/>
                <a:gd name="T85" fmla="*/ 35 h 242"/>
                <a:gd name="T86" fmla="*/ 329 w 600"/>
                <a:gd name="T87" fmla="*/ 21 h 242"/>
                <a:gd name="T88" fmla="*/ 371 w 600"/>
                <a:gd name="T89" fmla="*/ 36 h 242"/>
                <a:gd name="T90" fmla="*/ 371 w 600"/>
                <a:gd name="T91" fmla="*/ 36 h 242"/>
                <a:gd name="T92" fmla="*/ 329 w 600"/>
                <a:gd name="T93" fmla="*/ 21 h 242"/>
                <a:gd name="T94" fmla="*/ 124 w 600"/>
                <a:gd name="T95" fmla="*/ 25 h 242"/>
                <a:gd name="T96" fmla="*/ 77 w 600"/>
                <a:gd name="T97" fmla="*/ 61 h 242"/>
                <a:gd name="T98" fmla="*/ 198 w 600"/>
                <a:gd name="T99" fmla="*/ 10 h 242"/>
                <a:gd name="T100" fmla="*/ 86 w 600"/>
                <a:gd name="T101" fmla="*/ 66 h 242"/>
                <a:gd name="T102" fmla="*/ 198 w 600"/>
                <a:gd name="T103" fmla="*/ 10 h 242"/>
                <a:gd name="T104" fmla="*/ 118 w 600"/>
                <a:gd name="T105" fmla="*/ 85 h 242"/>
                <a:gd name="T106" fmla="*/ 271 w 600"/>
                <a:gd name="T107" fmla="*/ 6 h 242"/>
                <a:gd name="T108" fmla="*/ 248 w 600"/>
                <a:gd name="T109" fmla="*/ 0 h 242"/>
                <a:gd name="T110" fmla="*/ 102 w 600"/>
                <a:gd name="T111" fmla="*/ 76 h 242"/>
                <a:gd name="T112" fmla="*/ 248 w 600"/>
                <a:gd name="T11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0" h="242">
                  <a:moveTo>
                    <a:pt x="480" y="156"/>
                  </a:moveTo>
                  <a:cubicBezTo>
                    <a:pt x="372" y="219"/>
                    <a:pt x="372" y="219"/>
                    <a:pt x="372" y="219"/>
                  </a:cubicBezTo>
                  <a:cubicBezTo>
                    <a:pt x="380" y="223"/>
                    <a:pt x="380" y="223"/>
                    <a:pt x="380" y="223"/>
                  </a:cubicBezTo>
                  <a:cubicBezTo>
                    <a:pt x="488" y="161"/>
                    <a:pt x="488" y="161"/>
                    <a:pt x="488" y="161"/>
                  </a:cubicBezTo>
                  <a:cubicBezTo>
                    <a:pt x="480" y="156"/>
                    <a:pt x="480" y="156"/>
                    <a:pt x="480" y="156"/>
                  </a:cubicBezTo>
                  <a:moveTo>
                    <a:pt x="465" y="148"/>
                  </a:moveTo>
                  <a:cubicBezTo>
                    <a:pt x="357" y="210"/>
                    <a:pt x="357" y="210"/>
                    <a:pt x="357" y="210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472" y="152"/>
                    <a:pt x="472" y="152"/>
                    <a:pt x="472" y="152"/>
                  </a:cubicBezTo>
                  <a:cubicBezTo>
                    <a:pt x="465" y="148"/>
                    <a:pt x="465" y="148"/>
                    <a:pt x="465" y="148"/>
                  </a:cubicBezTo>
                  <a:moveTo>
                    <a:pt x="447" y="137"/>
                  </a:moveTo>
                  <a:cubicBezTo>
                    <a:pt x="339" y="199"/>
                    <a:pt x="339" y="199"/>
                    <a:pt x="339" y="199"/>
                  </a:cubicBezTo>
                  <a:cubicBezTo>
                    <a:pt x="346" y="204"/>
                    <a:pt x="346" y="204"/>
                    <a:pt x="346" y="204"/>
                  </a:cubicBezTo>
                  <a:cubicBezTo>
                    <a:pt x="454" y="141"/>
                    <a:pt x="454" y="141"/>
                    <a:pt x="454" y="141"/>
                  </a:cubicBezTo>
                  <a:cubicBezTo>
                    <a:pt x="447" y="137"/>
                    <a:pt x="447" y="137"/>
                    <a:pt x="447" y="137"/>
                  </a:cubicBezTo>
                  <a:moveTo>
                    <a:pt x="429" y="127"/>
                  </a:moveTo>
                  <a:cubicBezTo>
                    <a:pt x="321" y="189"/>
                    <a:pt x="321" y="189"/>
                    <a:pt x="321" y="189"/>
                  </a:cubicBezTo>
                  <a:cubicBezTo>
                    <a:pt x="328" y="193"/>
                    <a:pt x="328" y="193"/>
                    <a:pt x="328" y="193"/>
                  </a:cubicBezTo>
                  <a:cubicBezTo>
                    <a:pt x="436" y="131"/>
                    <a:pt x="436" y="131"/>
                    <a:pt x="436" y="131"/>
                  </a:cubicBezTo>
                  <a:cubicBezTo>
                    <a:pt x="429" y="127"/>
                    <a:pt x="429" y="127"/>
                    <a:pt x="429" y="127"/>
                  </a:cubicBezTo>
                  <a:moveTo>
                    <a:pt x="499" y="123"/>
                  </a:moveTo>
                  <a:cubicBezTo>
                    <a:pt x="477" y="135"/>
                    <a:pt x="477" y="135"/>
                    <a:pt x="477" y="135"/>
                  </a:cubicBezTo>
                  <a:cubicBezTo>
                    <a:pt x="506" y="152"/>
                    <a:pt x="506" y="152"/>
                    <a:pt x="506" y="152"/>
                  </a:cubicBezTo>
                  <a:cubicBezTo>
                    <a:pt x="528" y="140"/>
                    <a:pt x="528" y="140"/>
                    <a:pt x="528" y="140"/>
                  </a:cubicBezTo>
                  <a:cubicBezTo>
                    <a:pt x="499" y="123"/>
                    <a:pt x="499" y="123"/>
                    <a:pt x="499" y="123"/>
                  </a:cubicBezTo>
                  <a:moveTo>
                    <a:pt x="495" y="93"/>
                  </a:moveTo>
                  <a:cubicBezTo>
                    <a:pt x="473" y="105"/>
                    <a:pt x="473" y="105"/>
                    <a:pt x="473" y="105"/>
                  </a:cubicBezTo>
                  <a:cubicBezTo>
                    <a:pt x="530" y="138"/>
                    <a:pt x="530" y="138"/>
                    <a:pt x="530" y="138"/>
                  </a:cubicBezTo>
                  <a:cubicBezTo>
                    <a:pt x="552" y="126"/>
                    <a:pt x="552" y="126"/>
                    <a:pt x="552" y="126"/>
                  </a:cubicBezTo>
                  <a:cubicBezTo>
                    <a:pt x="495" y="93"/>
                    <a:pt x="495" y="93"/>
                    <a:pt x="495" y="93"/>
                  </a:cubicBezTo>
                  <a:moveTo>
                    <a:pt x="537" y="90"/>
                  </a:moveTo>
                  <a:cubicBezTo>
                    <a:pt x="516" y="102"/>
                    <a:pt x="516" y="102"/>
                    <a:pt x="516" y="102"/>
                  </a:cubicBezTo>
                  <a:cubicBezTo>
                    <a:pt x="554" y="125"/>
                    <a:pt x="554" y="125"/>
                    <a:pt x="554" y="125"/>
                  </a:cubicBezTo>
                  <a:cubicBezTo>
                    <a:pt x="576" y="112"/>
                    <a:pt x="576" y="112"/>
                    <a:pt x="576" y="112"/>
                  </a:cubicBezTo>
                  <a:cubicBezTo>
                    <a:pt x="537" y="90"/>
                    <a:pt x="537" y="90"/>
                    <a:pt x="537" y="90"/>
                  </a:cubicBezTo>
                  <a:moveTo>
                    <a:pt x="216" y="72"/>
                  </a:moveTo>
                  <a:cubicBezTo>
                    <a:pt x="204" y="72"/>
                    <a:pt x="192" y="74"/>
                    <a:pt x="183" y="79"/>
                  </a:cubicBezTo>
                  <a:cubicBezTo>
                    <a:pt x="174" y="84"/>
                    <a:pt x="170" y="91"/>
                    <a:pt x="169" y="98"/>
                  </a:cubicBezTo>
                  <a:cubicBezTo>
                    <a:pt x="169" y="105"/>
                    <a:pt x="174" y="112"/>
                    <a:pt x="183" y="118"/>
                  </a:cubicBezTo>
                  <a:cubicBezTo>
                    <a:pt x="191" y="123"/>
                    <a:pt x="203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28" y="126"/>
                    <a:pt x="240" y="123"/>
                    <a:pt x="249" y="118"/>
                  </a:cubicBezTo>
                  <a:cubicBezTo>
                    <a:pt x="258" y="113"/>
                    <a:pt x="262" y="106"/>
                    <a:pt x="262" y="99"/>
                  </a:cubicBezTo>
                  <a:cubicBezTo>
                    <a:pt x="263" y="91"/>
                    <a:pt x="258" y="85"/>
                    <a:pt x="249" y="79"/>
                  </a:cubicBezTo>
                  <a:cubicBezTo>
                    <a:pt x="240" y="74"/>
                    <a:pt x="228" y="72"/>
                    <a:pt x="216" y="72"/>
                  </a:cubicBezTo>
                  <a:moveTo>
                    <a:pt x="503" y="67"/>
                  </a:moveTo>
                  <a:cubicBezTo>
                    <a:pt x="503" y="67"/>
                    <a:pt x="503" y="67"/>
                    <a:pt x="503" y="67"/>
                  </a:cubicBezTo>
                  <a:cubicBezTo>
                    <a:pt x="578" y="111"/>
                    <a:pt x="578" y="111"/>
                    <a:pt x="578" y="111"/>
                  </a:cubicBezTo>
                  <a:cubicBezTo>
                    <a:pt x="600" y="98"/>
                    <a:pt x="600" y="98"/>
                    <a:pt x="600" y="98"/>
                  </a:cubicBezTo>
                  <a:cubicBezTo>
                    <a:pt x="579" y="87"/>
                    <a:pt x="579" y="87"/>
                    <a:pt x="579" y="87"/>
                  </a:cubicBezTo>
                  <a:cubicBezTo>
                    <a:pt x="503" y="67"/>
                    <a:pt x="503" y="67"/>
                    <a:pt x="503" y="67"/>
                  </a:cubicBezTo>
                  <a:moveTo>
                    <a:pt x="481" y="61"/>
                  </a:moveTo>
                  <a:cubicBezTo>
                    <a:pt x="278" y="178"/>
                    <a:pt x="278" y="178"/>
                    <a:pt x="278" y="178"/>
                  </a:cubicBezTo>
                  <a:cubicBezTo>
                    <a:pt x="285" y="182"/>
                    <a:pt x="285" y="182"/>
                    <a:pt x="285" y="182"/>
                  </a:cubicBezTo>
                  <a:cubicBezTo>
                    <a:pt x="491" y="63"/>
                    <a:pt x="491" y="63"/>
                    <a:pt x="491" y="63"/>
                  </a:cubicBezTo>
                  <a:cubicBezTo>
                    <a:pt x="481" y="61"/>
                    <a:pt x="481" y="61"/>
                    <a:pt x="481" y="61"/>
                  </a:cubicBezTo>
                  <a:moveTo>
                    <a:pt x="451" y="53"/>
                  </a:moveTo>
                  <a:cubicBezTo>
                    <a:pt x="256" y="165"/>
                    <a:pt x="256" y="165"/>
                    <a:pt x="256" y="165"/>
                  </a:cubicBezTo>
                  <a:cubicBezTo>
                    <a:pt x="264" y="170"/>
                    <a:pt x="264" y="170"/>
                    <a:pt x="264" y="170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51" y="53"/>
                    <a:pt x="451" y="53"/>
                    <a:pt x="451" y="53"/>
                  </a:cubicBezTo>
                  <a:moveTo>
                    <a:pt x="15" y="47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49" y="242"/>
                    <a:pt x="349" y="242"/>
                    <a:pt x="349" y="242"/>
                  </a:cubicBezTo>
                  <a:cubicBezTo>
                    <a:pt x="350" y="242"/>
                    <a:pt x="350" y="242"/>
                    <a:pt x="351" y="242"/>
                  </a:cubicBezTo>
                  <a:cubicBezTo>
                    <a:pt x="15" y="47"/>
                    <a:pt x="15" y="47"/>
                    <a:pt x="15" y="47"/>
                  </a:cubicBezTo>
                  <a:moveTo>
                    <a:pt x="419" y="45"/>
                  </a:moveTo>
                  <a:cubicBezTo>
                    <a:pt x="233" y="152"/>
                    <a:pt x="233" y="152"/>
                    <a:pt x="233" y="152"/>
                  </a:cubicBezTo>
                  <a:cubicBezTo>
                    <a:pt x="241" y="156"/>
                    <a:pt x="241" y="156"/>
                    <a:pt x="241" y="156"/>
                  </a:cubicBezTo>
                  <a:cubicBezTo>
                    <a:pt x="430" y="47"/>
                    <a:pt x="430" y="47"/>
                    <a:pt x="430" y="47"/>
                  </a:cubicBezTo>
                  <a:cubicBezTo>
                    <a:pt x="419" y="45"/>
                    <a:pt x="419" y="45"/>
                    <a:pt x="419" y="45"/>
                  </a:cubicBezTo>
                  <a:moveTo>
                    <a:pt x="82" y="33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82" y="33"/>
                    <a:pt x="82" y="33"/>
                    <a:pt x="82" y="33"/>
                  </a:cubicBezTo>
                  <a:moveTo>
                    <a:pt x="294" y="27"/>
                  </a:moveTo>
                  <a:cubicBezTo>
                    <a:pt x="281" y="27"/>
                    <a:pt x="269" y="29"/>
                    <a:pt x="261" y="35"/>
                  </a:cubicBezTo>
                  <a:cubicBezTo>
                    <a:pt x="252" y="40"/>
                    <a:pt x="247" y="46"/>
                    <a:pt x="247" y="53"/>
                  </a:cubicBezTo>
                  <a:cubicBezTo>
                    <a:pt x="246" y="60"/>
                    <a:pt x="251" y="68"/>
                    <a:pt x="260" y="73"/>
                  </a:cubicBezTo>
                  <a:cubicBezTo>
                    <a:pt x="269" y="78"/>
                    <a:pt x="281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306" y="81"/>
                    <a:pt x="318" y="78"/>
                    <a:pt x="326" y="73"/>
                  </a:cubicBezTo>
                  <a:cubicBezTo>
                    <a:pt x="335" y="68"/>
                    <a:pt x="340" y="61"/>
                    <a:pt x="340" y="54"/>
                  </a:cubicBezTo>
                  <a:cubicBezTo>
                    <a:pt x="340" y="46"/>
                    <a:pt x="335" y="40"/>
                    <a:pt x="327" y="35"/>
                  </a:cubicBezTo>
                  <a:cubicBezTo>
                    <a:pt x="318" y="29"/>
                    <a:pt x="306" y="27"/>
                    <a:pt x="294" y="27"/>
                  </a:cubicBezTo>
                  <a:moveTo>
                    <a:pt x="329" y="21"/>
                  </a:moveTo>
                  <a:cubicBezTo>
                    <a:pt x="332" y="24"/>
                    <a:pt x="335" y="26"/>
                    <a:pt x="338" y="28"/>
                  </a:cubicBezTo>
                  <a:cubicBezTo>
                    <a:pt x="347" y="33"/>
                    <a:pt x="358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5" y="36"/>
                    <a:pt x="379" y="36"/>
                    <a:pt x="383" y="35"/>
                  </a:cubicBezTo>
                  <a:cubicBezTo>
                    <a:pt x="329" y="21"/>
                    <a:pt x="329" y="21"/>
                    <a:pt x="329" y="21"/>
                  </a:cubicBezTo>
                  <a:moveTo>
                    <a:pt x="147" y="20"/>
                  </a:moveTo>
                  <a:cubicBezTo>
                    <a:pt x="124" y="25"/>
                    <a:pt x="124" y="25"/>
                    <a:pt x="124" y="25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147" y="20"/>
                    <a:pt x="147" y="20"/>
                    <a:pt x="147" y="20"/>
                  </a:cubicBezTo>
                  <a:moveTo>
                    <a:pt x="198" y="10"/>
                  </a:moveTo>
                  <a:cubicBezTo>
                    <a:pt x="174" y="15"/>
                    <a:pt x="174" y="15"/>
                    <a:pt x="174" y="15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198" y="10"/>
                    <a:pt x="198" y="10"/>
                    <a:pt x="198" y="10"/>
                  </a:cubicBezTo>
                  <a:moveTo>
                    <a:pt x="260" y="3"/>
                  </a:moveTo>
                  <a:cubicBezTo>
                    <a:pt x="118" y="85"/>
                    <a:pt x="118" y="85"/>
                    <a:pt x="118" y="85"/>
                  </a:cubicBezTo>
                  <a:cubicBezTo>
                    <a:pt x="126" y="90"/>
                    <a:pt x="126" y="90"/>
                    <a:pt x="126" y="90"/>
                  </a:cubicBezTo>
                  <a:cubicBezTo>
                    <a:pt x="271" y="6"/>
                    <a:pt x="271" y="6"/>
                    <a:pt x="271" y="6"/>
                  </a:cubicBezTo>
                  <a:cubicBezTo>
                    <a:pt x="260" y="3"/>
                    <a:pt x="260" y="3"/>
                    <a:pt x="260" y="3"/>
                  </a:cubicBezTo>
                  <a:moveTo>
                    <a:pt x="248" y="0"/>
                  </a:moveTo>
                  <a:cubicBezTo>
                    <a:pt x="225" y="5"/>
                    <a:pt x="225" y="5"/>
                    <a:pt x="225" y="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248" y="0"/>
                    <a:pt x="248" y="0"/>
                    <a:pt x="248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7" name="iṩḷídê">
              <a:extLst>
                <a:ext uri="{FF2B5EF4-FFF2-40B4-BE49-F238E27FC236}">
                  <a16:creationId xmlns:a16="http://schemas.microsoft.com/office/drawing/2014/main" xmlns="" id="{24417A83-4C20-463D-A6DA-345181A75B53}"/>
                </a:ext>
              </a:extLst>
            </p:cNvPr>
            <p:cNvSpPr/>
            <p:nvPr userDrawn="1"/>
          </p:nvSpPr>
          <p:spPr bwMode="auto">
            <a:xfrm>
              <a:off x="4438651" y="4419601"/>
              <a:ext cx="58738" cy="36513"/>
            </a:xfrm>
            <a:custGeom>
              <a:avLst/>
              <a:gdLst>
                <a:gd name="T0" fmla="*/ 3 w 18"/>
                <a:gd name="T1" fmla="*/ 2 h 11"/>
                <a:gd name="T2" fmla="*/ 14 w 18"/>
                <a:gd name="T3" fmla="*/ 2 h 11"/>
                <a:gd name="T4" fmla="*/ 14 w 18"/>
                <a:gd name="T5" fmla="*/ 9 h 11"/>
                <a:gd name="T6" fmla="*/ 3 w 18"/>
                <a:gd name="T7" fmla="*/ 9 h 11"/>
                <a:gd name="T8" fmla="*/ 3 w 18"/>
                <a:gd name="T9" fmla="*/ 2 h 11"/>
                <a:gd name="T10" fmla="*/ 11 w 18"/>
                <a:gd name="T11" fmla="*/ 4 h 11"/>
                <a:gd name="T12" fmla="*/ 6 w 18"/>
                <a:gd name="T13" fmla="*/ 4 h 11"/>
                <a:gd name="T14" fmla="*/ 6 w 18"/>
                <a:gd name="T15" fmla="*/ 7 h 11"/>
                <a:gd name="T16" fmla="*/ 12 w 18"/>
                <a:gd name="T17" fmla="*/ 7 h 11"/>
                <a:gd name="T18" fmla="*/ 11 w 18"/>
                <a:gd name="T1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1">
                  <a:moveTo>
                    <a:pt x="3" y="2"/>
                  </a:moveTo>
                  <a:cubicBezTo>
                    <a:pt x="6" y="0"/>
                    <a:pt x="11" y="1"/>
                    <a:pt x="14" y="2"/>
                  </a:cubicBezTo>
                  <a:cubicBezTo>
                    <a:pt x="17" y="4"/>
                    <a:pt x="18" y="7"/>
                    <a:pt x="14" y="9"/>
                  </a:cubicBezTo>
                  <a:cubicBezTo>
                    <a:pt x="11" y="11"/>
                    <a:pt x="6" y="11"/>
                    <a:pt x="3" y="9"/>
                  </a:cubicBezTo>
                  <a:cubicBezTo>
                    <a:pt x="0" y="7"/>
                    <a:pt x="0" y="4"/>
                    <a:pt x="3" y="2"/>
                  </a:cubicBezTo>
                  <a:close/>
                  <a:moveTo>
                    <a:pt x="11" y="4"/>
                  </a:moveTo>
                  <a:cubicBezTo>
                    <a:pt x="9" y="3"/>
                    <a:pt x="7" y="3"/>
                    <a:pt x="6" y="4"/>
                  </a:cubicBezTo>
                  <a:cubicBezTo>
                    <a:pt x="5" y="5"/>
                    <a:pt x="5" y="6"/>
                    <a:pt x="6" y="7"/>
                  </a:cubicBezTo>
                  <a:cubicBezTo>
                    <a:pt x="8" y="8"/>
                    <a:pt x="10" y="8"/>
                    <a:pt x="12" y="7"/>
                  </a:cubicBezTo>
                  <a:cubicBezTo>
                    <a:pt x="13" y="6"/>
                    <a:pt x="13" y="5"/>
                    <a:pt x="11" y="4"/>
                  </a:cubicBezTo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8" name="ïṧḻîḋe">
              <a:extLst>
                <a:ext uri="{FF2B5EF4-FFF2-40B4-BE49-F238E27FC236}">
                  <a16:creationId xmlns:a16="http://schemas.microsoft.com/office/drawing/2014/main" xmlns="" id="{1D4F72F5-5E4D-464C-B6CC-F9C316E95C9B}"/>
                </a:ext>
              </a:extLst>
            </p:cNvPr>
            <p:cNvSpPr/>
            <p:nvPr userDrawn="1"/>
          </p:nvSpPr>
          <p:spPr bwMode="auto">
            <a:xfrm>
              <a:off x="4454526" y="4429126"/>
              <a:ext cx="26988" cy="17463"/>
            </a:xfrm>
            <a:custGeom>
              <a:avLst/>
              <a:gdLst>
                <a:gd name="T0" fmla="*/ 1 w 8"/>
                <a:gd name="T1" fmla="*/ 4 h 5"/>
                <a:gd name="T2" fmla="*/ 7 w 8"/>
                <a:gd name="T3" fmla="*/ 4 h 5"/>
                <a:gd name="T4" fmla="*/ 6 w 8"/>
                <a:gd name="T5" fmla="*/ 1 h 5"/>
                <a:gd name="T6" fmla="*/ 1 w 8"/>
                <a:gd name="T7" fmla="*/ 1 h 5"/>
                <a:gd name="T8" fmla="*/ 1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1" y="4"/>
                  </a:moveTo>
                  <a:cubicBezTo>
                    <a:pt x="3" y="5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9" name="îšļiḋe">
              <a:extLst>
                <a:ext uri="{FF2B5EF4-FFF2-40B4-BE49-F238E27FC236}">
                  <a16:creationId xmlns:a16="http://schemas.microsoft.com/office/drawing/2014/main" xmlns="" id="{B7BA85E7-4319-4D43-AD61-E71961144634}"/>
                </a:ext>
              </a:extLst>
            </p:cNvPr>
            <p:cNvSpPr/>
            <p:nvPr userDrawn="1"/>
          </p:nvSpPr>
          <p:spPr bwMode="auto">
            <a:xfrm>
              <a:off x="4395788" y="4452938"/>
              <a:ext cx="134938" cy="19050"/>
            </a:xfrm>
            <a:custGeom>
              <a:avLst/>
              <a:gdLst>
                <a:gd name="T0" fmla="*/ 8 w 85"/>
                <a:gd name="T1" fmla="*/ 0 h 12"/>
                <a:gd name="T2" fmla="*/ 0 w 85"/>
                <a:gd name="T3" fmla="*/ 4 h 12"/>
                <a:gd name="T4" fmla="*/ 76 w 85"/>
                <a:gd name="T5" fmla="*/ 12 h 12"/>
                <a:gd name="T6" fmla="*/ 85 w 85"/>
                <a:gd name="T7" fmla="*/ 8 h 12"/>
                <a:gd name="T8" fmla="*/ 8 w 8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2">
                  <a:moveTo>
                    <a:pt x="8" y="0"/>
                  </a:moveTo>
                  <a:lnTo>
                    <a:pt x="0" y="4"/>
                  </a:lnTo>
                  <a:lnTo>
                    <a:pt x="76" y="12"/>
                  </a:lnTo>
                  <a:lnTo>
                    <a:pt x="85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0" name="íşlïḋe">
              <a:extLst>
                <a:ext uri="{FF2B5EF4-FFF2-40B4-BE49-F238E27FC236}">
                  <a16:creationId xmlns:a16="http://schemas.microsoft.com/office/drawing/2014/main" xmlns="" id="{8FBCB2FE-C04B-453D-8BB5-A02A5ADCB846}"/>
                </a:ext>
              </a:extLst>
            </p:cNvPr>
            <p:cNvSpPr/>
            <p:nvPr userDrawn="1"/>
          </p:nvSpPr>
          <p:spPr bwMode="auto">
            <a:xfrm>
              <a:off x="4445001" y="4475163"/>
              <a:ext cx="28575" cy="17463"/>
            </a:xfrm>
            <a:custGeom>
              <a:avLst/>
              <a:gdLst>
                <a:gd name="T0" fmla="*/ 7 w 9"/>
                <a:gd name="T1" fmla="*/ 1 h 5"/>
                <a:gd name="T2" fmla="*/ 2 w 9"/>
                <a:gd name="T3" fmla="*/ 1 h 5"/>
                <a:gd name="T4" fmla="*/ 2 w 9"/>
                <a:gd name="T5" fmla="*/ 4 h 5"/>
                <a:gd name="T6" fmla="*/ 7 w 9"/>
                <a:gd name="T7" fmla="*/ 4 h 5"/>
                <a:gd name="T8" fmla="*/ 7 w 9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7" y="1"/>
                  </a:moveTo>
                  <a:cubicBezTo>
                    <a:pt x="5" y="0"/>
                    <a:pt x="3" y="0"/>
                    <a:pt x="2" y="1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9" y="4"/>
                    <a:pt x="9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1" name="îşḻiḋê">
              <a:extLst>
                <a:ext uri="{FF2B5EF4-FFF2-40B4-BE49-F238E27FC236}">
                  <a16:creationId xmlns:a16="http://schemas.microsoft.com/office/drawing/2014/main" xmlns="" id="{4C0DF8A4-8803-4D11-81B2-36C6DF0135F4}"/>
                </a:ext>
              </a:extLst>
            </p:cNvPr>
            <p:cNvSpPr/>
            <p:nvPr userDrawn="1"/>
          </p:nvSpPr>
          <p:spPr bwMode="auto">
            <a:xfrm>
              <a:off x="4352926" y="4370388"/>
              <a:ext cx="263525" cy="177800"/>
            </a:xfrm>
            <a:custGeom>
              <a:avLst/>
              <a:gdLst>
                <a:gd name="T0" fmla="*/ 6 w 80"/>
                <a:gd name="T1" fmla="*/ 42 h 54"/>
                <a:gd name="T2" fmla="*/ 0 w 80"/>
                <a:gd name="T3" fmla="*/ 46 h 54"/>
                <a:gd name="T4" fmla="*/ 33 w 80"/>
                <a:gd name="T5" fmla="*/ 54 h 54"/>
                <a:gd name="T6" fmla="*/ 66 w 80"/>
                <a:gd name="T7" fmla="*/ 46 h 54"/>
                <a:gd name="T8" fmla="*/ 80 w 80"/>
                <a:gd name="T9" fmla="*/ 27 h 54"/>
                <a:gd name="T10" fmla="*/ 66 w 80"/>
                <a:gd name="T11" fmla="*/ 8 h 54"/>
                <a:gd name="T12" fmla="*/ 33 w 80"/>
                <a:gd name="T13" fmla="*/ 0 h 54"/>
                <a:gd name="T14" fmla="*/ 0 w 80"/>
                <a:gd name="T15" fmla="*/ 8 h 54"/>
                <a:gd name="T16" fmla="*/ 7 w 80"/>
                <a:gd name="T17" fmla="*/ 11 h 54"/>
                <a:gd name="T18" fmla="*/ 33 w 80"/>
                <a:gd name="T19" fmla="*/ 5 h 54"/>
                <a:gd name="T20" fmla="*/ 60 w 80"/>
                <a:gd name="T21" fmla="*/ 11 h 54"/>
                <a:gd name="T22" fmla="*/ 71 w 80"/>
                <a:gd name="T23" fmla="*/ 27 h 54"/>
                <a:gd name="T24" fmla="*/ 60 w 80"/>
                <a:gd name="T25" fmla="*/ 42 h 54"/>
                <a:gd name="T26" fmla="*/ 33 w 80"/>
                <a:gd name="T27" fmla="*/ 49 h 54"/>
                <a:gd name="T28" fmla="*/ 6 w 80"/>
                <a:gd name="T2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54">
                  <a:moveTo>
                    <a:pt x="6" y="42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9" y="51"/>
                    <a:pt x="21" y="54"/>
                    <a:pt x="33" y="54"/>
                  </a:cubicBezTo>
                  <a:cubicBezTo>
                    <a:pt x="45" y="54"/>
                    <a:pt x="57" y="51"/>
                    <a:pt x="66" y="46"/>
                  </a:cubicBezTo>
                  <a:cubicBezTo>
                    <a:pt x="75" y="41"/>
                    <a:pt x="80" y="34"/>
                    <a:pt x="80" y="27"/>
                  </a:cubicBezTo>
                  <a:cubicBezTo>
                    <a:pt x="80" y="20"/>
                    <a:pt x="75" y="13"/>
                    <a:pt x="66" y="8"/>
                  </a:cubicBezTo>
                  <a:cubicBezTo>
                    <a:pt x="57" y="3"/>
                    <a:pt x="46" y="0"/>
                    <a:pt x="33" y="0"/>
                  </a:cubicBezTo>
                  <a:cubicBezTo>
                    <a:pt x="21" y="0"/>
                    <a:pt x="9" y="3"/>
                    <a:pt x="0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4" y="7"/>
                    <a:pt x="23" y="5"/>
                    <a:pt x="33" y="5"/>
                  </a:cubicBezTo>
                  <a:cubicBezTo>
                    <a:pt x="43" y="5"/>
                    <a:pt x="53" y="7"/>
                    <a:pt x="60" y="11"/>
                  </a:cubicBezTo>
                  <a:cubicBezTo>
                    <a:pt x="67" y="16"/>
                    <a:pt x="71" y="21"/>
                    <a:pt x="71" y="27"/>
                  </a:cubicBezTo>
                  <a:cubicBezTo>
                    <a:pt x="71" y="33"/>
                    <a:pt x="67" y="38"/>
                    <a:pt x="60" y="42"/>
                  </a:cubicBezTo>
                  <a:cubicBezTo>
                    <a:pt x="53" y="46"/>
                    <a:pt x="43" y="49"/>
                    <a:pt x="33" y="49"/>
                  </a:cubicBezTo>
                  <a:cubicBezTo>
                    <a:pt x="23" y="49"/>
                    <a:pt x="13" y="46"/>
                    <a:pt x="6" y="42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2" name="îšḷîḋe">
              <a:extLst>
                <a:ext uri="{FF2B5EF4-FFF2-40B4-BE49-F238E27FC236}">
                  <a16:creationId xmlns:a16="http://schemas.microsoft.com/office/drawing/2014/main" xmlns="" id="{1F793B13-BD4F-45FE-9943-C8E7660C238B}"/>
                </a:ext>
              </a:extLst>
            </p:cNvPr>
            <p:cNvSpPr/>
            <p:nvPr userDrawn="1"/>
          </p:nvSpPr>
          <p:spPr bwMode="auto">
            <a:xfrm>
              <a:off x="3365501" y="4122738"/>
              <a:ext cx="811213" cy="468313"/>
            </a:xfrm>
            <a:custGeom>
              <a:avLst/>
              <a:gdLst>
                <a:gd name="T0" fmla="*/ 0 w 511"/>
                <a:gd name="T1" fmla="*/ 274 h 295"/>
                <a:gd name="T2" fmla="*/ 35 w 511"/>
                <a:gd name="T3" fmla="*/ 295 h 295"/>
                <a:gd name="T4" fmla="*/ 511 w 511"/>
                <a:gd name="T5" fmla="*/ 19 h 295"/>
                <a:gd name="T6" fmla="*/ 478 w 511"/>
                <a:gd name="T7" fmla="*/ 0 h 295"/>
                <a:gd name="T8" fmla="*/ 0 w 511"/>
                <a:gd name="T9" fmla="*/ 27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1" h="295">
                  <a:moveTo>
                    <a:pt x="0" y="274"/>
                  </a:moveTo>
                  <a:lnTo>
                    <a:pt x="35" y="295"/>
                  </a:lnTo>
                  <a:lnTo>
                    <a:pt x="511" y="19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3" name="işľíḋê">
              <a:extLst>
                <a:ext uri="{FF2B5EF4-FFF2-40B4-BE49-F238E27FC236}">
                  <a16:creationId xmlns:a16="http://schemas.microsoft.com/office/drawing/2014/main" xmlns="" id="{7E8D7ED6-3D30-4C82-933E-8F65CE37910C}"/>
                </a:ext>
              </a:extLst>
            </p:cNvPr>
            <p:cNvSpPr/>
            <p:nvPr userDrawn="1"/>
          </p:nvSpPr>
          <p:spPr bwMode="auto">
            <a:xfrm>
              <a:off x="4197351" y="4578351"/>
              <a:ext cx="25400" cy="15875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4 h 5"/>
                <a:gd name="T4" fmla="*/ 7 w 8"/>
                <a:gd name="T5" fmla="*/ 1 h 5"/>
                <a:gd name="T6" fmla="*/ 2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0" y="1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4" name="îṣḷide">
              <a:extLst>
                <a:ext uri="{FF2B5EF4-FFF2-40B4-BE49-F238E27FC236}">
                  <a16:creationId xmlns:a16="http://schemas.microsoft.com/office/drawing/2014/main" xmlns="" id="{84B6A977-AE81-4EA5-88E7-A9B5E3792C25}"/>
                </a:ext>
              </a:extLst>
            </p:cNvPr>
            <p:cNvSpPr/>
            <p:nvPr userDrawn="1"/>
          </p:nvSpPr>
          <p:spPr bwMode="auto">
            <a:xfrm>
              <a:off x="4078288" y="4535488"/>
              <a:ext cx="250825" cy="144463"/>
            </a:xfrm>
            <a:custGeom>
              <a:avLst/>
              <a:gdLst>
                <a:gd name="T0" fmla="*/ 12 w 76"/>
                <a:gd name="T1" fmla="*/ 37 h 44"/>
                <a:gd name="T2" fmla="*/ 1 w 76"/>
                <a:gd name="T3" fmla="*/ 21 h 44"/>
                <a:gd name="T4" fmla="*/ 12 w 76"/>
                <a:gd name="T5" fmla="*/ 6 h 44"/>
                <a:gd name="T6" fmla="*/ 39 w 76"/>
                <a:gd name="T7" fmla="*/ 0 h 44"/>
                <a:gd name="T8" fmla="*/ 65 w 76"/>
                <a:gd name="T9" fmla="*/ 6 h 44"/>
                <a:gd name="T10" fmla="*/ 76 w 76"/>
                <a:gd name="T11" fmla="*/ 22 h 44"/>
                <a:gd name="T12" fmla="*/ 65 w 76"/>
                <a:gd name="T13" fmla="*/ 37 h 44"/>
                <a:gd name="T14" fmla="*/ 38 w 76"/>
                <a:gd name="T15" fmla="*/ 44 h 44"/>
                <a:gd name="T16" fmla="*/ 12 w 76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12" y="37"/>
                  </a:moveTo>
                  <a:cubicBezTo>
                    <a:pt x="4" y="33"/>
                    <a:pt x="0" y="27"/>
                    <a:pt x="1" y="21"/>
                  </a:cubicBezTo>
                  <a:cubicBezTo>
                    <a:pt x="1" y="16"/>
                    <a:pt x="5" y="10"/>
                    <a:pt x="12" y="6"/>
                  </a:cubicBezTo>
                  <a:cubicBezTo>
                    <a:pt x="19" y="2"/>
                    <a:pt x="29" y="0"/>
                    <a:pt x="39" y="0"/>
                  </a:cubicBezTo>
                  <a:cubicBezTo>
                    <a:pt x="49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8"/>
                    <a:pt x="72" y="33"/>
                    <a:pt x="65" y="37"/>
                  </a:cubicBezTo>
                  <a:cubicBezTo>
                    <a:pt x="58" y="41"/>
                    <a:pt x="48" y="44"/>
                    <a:pt x="38" y="44"/>
                  </a:cubicBezTo>
                  <a:cubicBezTo>
                    <a:pt x="28" y="44"/>
                    <a:pt x="19" y="41"/>
                    <a:pt x="12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5" name="iṣḻídé">
              <a:extLst>
                <a:ext uri="{FF2B5EF4-FFF2-40B4-BE49-F238E27FC236}">
                  <a16:creationId xmlns:a16="http://schemas.microsoft.com/office/drawing/2014/main" xmlns="" id="{E33CEEC9-E4CE-470F-87DC-80E4EF151165}"/>
                </a:ext>
              </a:extLst>
            </p:cNvPr>
            <p:cNvSpPr/>
            <p:nvPr userDrawn="1"/>
          </p:nvSpPr>
          <p:spPr bwMode="auto">
            <a:xfrm>
              <a:off x="4191001" y="4624388"/>
              <a:ext cx="25400" cy="15875"/>
            </a:xfrm>
            <a:custGeom>
              <a:avLst/>
              <a:gdLst>
                <a:gd name="T0" fmla="*/ 7 w 8"/>
                <a:gd name="T1" fmla="*/ 1 h 5"/>
                <a:gd name="T2" fmla="*/ 1 w 8"/>
                <a:gd name="T3" fmla="*/ 1 h 5"/>
                <a:gd name="T4" fmla="*/ 2 w 8"/>
                <a:gd name="T5" fmla="*/ 4 h 5"/>
                <a:gd name="T6" fmla="*/ 7 w 8"/>
                <a:gd name="T7" fmla="*/ 4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5" y="0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6" name="i$lîḓe">
              <a:extLst>
                <a:ext uri="{FF2B5EF4-FFF2-40B4-BE49-F238E27FC236}">
                  <a16:creationId xmlns:a16="http://schemas.microsoft.com/office/drawing/2014/main" xmlns="" id="{E3294991-0945-479B-AF44-CBFF3D1E2E1D}"/>
                </a:ext>
              </a:extLst>
            </p:cNvPr>
            <p:cNvSpPr/>
            <p:nvPr userDrawn="1"/>
          </p:nvSpPr>
          <p:spPr bwMode="auto">
            <a:xfrm>
              <a:off x="3521076" y="4208463"/>
              <a:ext cx="781050" cy="455613"/>
            </a:xfrm>
            <a:custGeom>
              <a:avLst/>
              <a:gdLst>
                <a:gd name="T0" fmla="*/ 0 w 492"/>
                <a:gd name="T1" fmla="*/ 276 h 287"/>
                <a:gd name="T2" fmla="*/ 14 w 492"/>
                <a:gd name="T3" fmla="*/ 287 h 287"/>
                <a:gd name="T4" fmla="*/ 492 w 492"/>
                <a:gd name="T5" fmla="*/ 11 h 287"/>
                <a:gd name="T6" fmla="*/ 476 w 492"/>
                <a:gd name="T7" fmla="*/ 0 h 287"/>
                <a:gd name="T8" fmla="*/ 0 w 492"/>
                <a:gd name="T9" fmla="*/ 27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7">
                  <a:moveTo>
                    <a:pt x="0" y="276"/>
                  </a:moveTo>
                  <a:lnTo>
                    <a:pt x="14" y="287"/>
                  </a:lnTo>
                  <a:lnTo>
                    <a:pt x="492" y="11"/>
                  </a:lnTo>
                  <a:lnTo>
                    <a:pt x="476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7" name="ïŝļidè">
              <a:extLst>
                <a:ext uri="{FF2B5EF4-FFF2-40B4-BE49-F238E27FC236}">
                  <a16:creationId xmlns:a16="http://schemas.microsoft.com/office/drawing/2014/main" xmlns="" id="{7E3D1B39-BFBF-4018-8965-88EA0EA68B97}"/>
                </a:ext>
              </a:extLst>
            </p:cNvPr>
            <p:cNvSpPr/>
            <p:nvPr userDrawn="1"/>
          </p:nvSpPr>
          <p:spPr bwMode="auto">
            <a:xfrm>
              <a:off x="3573463" y="4241801"/>
              <a:ext cx="782638" cy="450850"/>
            </a:xfrm>
            <a:custGeom>
              <a:avLst/>
              <a:gdLst>
                <a:gd name="T0" fmla="*/ 0 w 493"/>
                <a:gd name="T1" fmla="*/ 276 h 284"/>
                <a:gd name="T2" fmla="*/ 15 w 493"/>
                <a:gd name="T3" fmla="*/ 284 h 284"/>
                <a:gd name="T4" fmla="*/ 493 w 493"/>
                <a:gd name="T5" fmla="*/ 8 h 284"/>
                <a:gd name="T6" fmla="*/ 478 w 493"/>
                <a:gd name="T7" fmla="*/ 0 h 284"/>
                <a:gd name="T8" fmla="*/ 0 w 493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3" h="284">
                  <a:moveTo>
                    <a:pt x="0" y="276"/>
                  </a:moveTo>
                  <a:lnTo>
                    <a:pt x="15" y="284"/>
                  </a:lnTo>
                  <a:lnTo>
                    <a:pt x="493" y="8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8" name="íşļíďe">
              <a:extLst>
                <a:ext uri="{FF2B5EF4-FFF2-40B4-BE49-F238E27FC236}">
                  <a16:creationId xmlns:a16="http://schemas.microsoft.com/office/drawing/2014/main" xmlns="" id="{203D16FE-6C68-43C3-B4C5-097D9C5C6D29}"/>
                </a:ext>
              </a:extLst>
            </p:cNvPr>
            <p:cNvSpPr/>
            <p:nvPr userDrawn="1"/>
          </p:nvSpPr>
          <p:spPr bwMode="auto">
            <a:xfrm>
              <a:off x="4078288" y="4518026"/>
              <a:ext cx="280988" cy="179388"/>
            </a:xfrm>
            <a:custGeom>
              <a:avLst/>
              <a:gdLst>
                <a:gd name="T0" fmla="*/ 6 w 85"/>
                <a:gd name="T1" fmla="*/ 8 h 54"/>
                <a:gd name="T2" fmla="*/ 12 w 85"/>
                <a:gd name="T3" fmla="*/ 11 h 54"/>
                <a:gd name="T4" fmla="*/ 1 w 85"/>
                <a:gd name="T5" fmla="*/ 26 h 54"/>
                <a:gd name="T6" fmla="*/ 12 w 85"/>
                <a:gd name="T7" fmla="*/ 42 h 54"/>
                <a:gd name="T8" fmla="*/ 1 w 85"/>
                <a:gd name="T9" fmla="*/ 26 h 54"/>
                <a:gd name="T10" fmla="*/ 12 w 85"/>
                <a:gd name="T11" fmla="*/ 11 h 54"/>
                <a:gd name="T12" fmla="*/ 39 w 85"/>
                <a:gd name="T13" fmla="*/ 5 h 54"/>
                <a:gd name="T14" fmla="*/ 65 w 85"/>
                <a:gd name="T15" fmla="*/ 11 h 54"/>
                <a:gd name="T16" fmla="*/ 76 w 85"/>
                <a:gd name="T17" fmla="*/ 27 h 54"/>
                <a:gd name="T18" fmla="*/ 65 w 85"/>
                <a:gd name="T19" fmla="*/ 42 h 54"/>
                <a:gd name="T20" fmla="*/ 71 w 85"/>
                <a:gd name="T21" fmla="*/ 46 h 54"/>
                <a:gd name="T22" fmla="*/ 38 w 85"/>
                <a:gd name="T23" fmla="*/ 54 h 54"/>
                <a:gd name="T24" fmla="*/ 5 w 85"/>
                <a:gd name="T25" fmla="*/ 46 h 54"/>
                <a:gd name="T26" fmla="*/ 38 w 85"/>
                <a:gd name="T27" fmla="*/ 54 h 54"/>
                <a:gd name="T28" fmla="*/ 71 w 85"/>
                <a:gd name="T29" fmla="*/ 46 h 54"/>
                <a:gd name="T30" fmla="*/ 85 w 85"/>
                <a:gd name="T31" fmla="*/ 27 h 54"/>
                <a:gd name="T32" fmla="*/ 72 w 85"/>
                <a:gd name="T33" fmla="*/ 8 h 54"/>
                <a:gd name="T34" fmla="*/ 39 w 85"/>
                <a:gd name="T35" fmla="*/ 0 h 54"/>
                <a:gd name="T36" fmla="*/ 6 w 85"/>
                <a:gd name="T37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54">
                  <a:moveTo>
                    <a:pt x="6" y="8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5" y="15"/>
                    <a:pt x="1" y="21"/>
                    <a:pt x="1" y="26"/>
                  </a:cubicBezTo>
                  <a:cubicBezTo>
                    <a:pt x="0" y="32"/>
                    <a:pt x="4" y="38"/>
                    <a:pt x="12" y="42"/>
                  </a:cubicBezTo>
                  <a:cubicBezTo>
                    <a:pt x="4" y="38"/>
                    <a:pt x="0" y="32"/>
                    <a:pt x="1" y="26"/>
                  </a:cubicBezTo>
                  <a:cubicBezTo>
                    <a:pt x="1" y="21"/>
                    <a:pt x="5" y="15"/>
                    <a:pt x="12" y="11"/>
                  </a:cubicBezTo>
                  <a:cubicBezTo>
                    <a:pt x="19" y="7"/>
                    <a:pt x="29" y="5"/>
                    <a:pt x="39" y="5"/>
                  </a:cubicBezTo>
                  <a:cubicBezTo>
                    <a:pt x="49" y="5"/>
                    <a:pt x="58" y="7"/>
                    <a:pt x="65" y="11"/>
                  </a:cubicBezTo>
                  <a:cubicBezTo>
                    <a:pt x="72" y="15"/>
                    <a:pt x="76" y="21"/>
                    <a:pt x="76" y="27"/>
                  </a:cubicBezTo>
                  <a:cubicBezTo>
                    <a:pt x="76" y="33"/>
                    <a:pt x="72" y="38"/>
                    <a:pt x="65" y="42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63" y="51"/>
                    <a:pt x="51" y="54"/>
                    <a:pt x="38" y="54"/>
                  </a:cubicBezTo>
                  <a:cubicBezTo>
                    <a:pt x="26" y="54"/>
                    <a:pt x="14" y="51"/>
                    <a:pt x="5" y="46"/>
                  </a:cubicBezTo>
                  <a:cubicBezTo>
                    <a:pt x="14" y="51"/>
                    <a:pt x="26" y="54"/>
                    <a:pt x="38" y="54"/>
                  </a:cubicBezTo>
                  <a:cubicBezTo>
                    <a:pt x="51" y="54"/>
                    <a:pt x="63" y="51"/>
                    <a:pt x="71" y="46"/>
                  </a:cubicBezTo>
                  <a:cubicBezTo>
                    <a:pt x="80" y="41"/>
                    <a:pt x="85" y="34"/>
                    <a:pt x="85" y="27"/>
                  </a:cubicBezTo>
                  <a:cubicBezTo>
                    <a:pt x="85" y="19"/>
                    <a:pt x="80" y="13"/>
                    <a:pt x="72" y="8"/>
                  </a:cubicBezTo>
                  <a:cubicBezTo>
                    <a:pt x="63" y="2"/>
                    <a:pt x="51" y="0"/>
                    <a:pt x="39" y="0"/>
                  </a:cubicBezTo>
                  <a:cubicBezTo>
                    <a:pt x="26" y="0"/>
                    <a:pt x="14" y="2"/>
                    <a:pt x="6" y="8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9" name="îsļíḋé">
              <a:extLst>
                <a:ext uri="{FF2B5EF4-FFF2-40B4-BE49-F238E27FC236}">
                  <a16:creationId xmlns:a16="http://schemas.microsoft.com/office/drawing/2014/main" xmlns="" id="{1A2A5C2A-BD8C-4ED8-99BA-E0B08C5C83A1}"/>
                </a:ext>
              </a:extLst>
            </p:cNvPr>
            <p:cNvSpPr/>
            <p:nvPr userDrawn="1"/>
          </p:nvSpPr>
          <p:spPr bwMode="auto">
            <a:xfrm>
              <a:off x="4048126" y="4545013"/>
              <a:ext cx="265113" cy="152400"/>
            </a:xfrm>
            <a:custGeom>
              <a:avLst/>
              <a:gdLst>
                <a:gd name="T0" fmla="*/ 15 w 80"/>
                <a:gd name="T1" fmla="*/ 0 h 46"/>
                <a:gd name="T2" fmla="*/ 1 w 80"/>
                <a:gd name="T3" fmla="*/ 18 h 46"/>
                <a:gd name="T4" fmla="*/ 14 w 80"/>
                <a:gd name="T5" fmla="*/ 38 h 46"/>
                <a:gd name="T6" fmla="*/ 47 w 80"/>
                <a:gd name="T7" fmla="*/ 46 h 46"/>
                <a:gd name="T8" fmla="*/ 80 w 80"/>
                <a:gd name="T9" fmla="*/ 38 h 46"/>
                <a:gd name="T10" fmla="*/ 74 w 80"/>
                <a:gd name="T11" fmla="*/ 34 h 46"/>
                <a:gd name="T12" fmla="*/ 47 w 80"/>
                <a:gd name="T13" fmla="*/ 41 h 46"/>
                <a:gd name="T14" fmla="*/ 21 w 80"/>
                <a:gd name="T15" fmla="*/ 34 h 46"/>
                <a:gd name="T16" fmla="*/ 10 w 80"/>
                <a:gd name="T17" fmla="*/ 18 h 46"/>
                <a:gd name="T18" fmla="*/ 21 w 80"/>
                <a:gd name="T19" fmla="*/ 3 h 46"/>
                <a:gd name="T20" fmla="*/ 15 w 80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46">
                  <a:moveTo>
                    <a:pt x="15" y="0"/>
                  </a:moveTo>
                  <a:cubicBezTo>
                    <a:pt x="6" y="5"/>
                    <a:pt x="1" y="11"/>
                    <a:pt x="1" y="18"/>
                  </a:cubicBezTo>
                  <a:cubicBezTo>
                    <a:pt x="0" y="25"/>
                    <a:pt x="5" y="33"/>
                    <a:pt x="14" y="38"/>
                  </a:cubicBezTo>
                  <a:cubicBezTo>
                    <a:pt x="23" y="43"/>
                    <a:pt x="35" y="46"/>
                    <a:pt x="47" y="46"/>
                  </a:cubicBezTo>
                  <a:cubicBezTo>
                    <a:pt x="60" y="46"/>
                    <a:pt x="72" y="43"/>
                    <a:pt x="80" y="38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67" y="38"/>
                    <a:pt x="57" y="41"/>
                    <a:pt x="47" y="41"/>
                  </a:cubicBezTo>
                  <a:cubicBezTo>
                    <a:pt x="37" y="41"/>
                    <a:pt x="28" y="38"/>
                    <a:pt x="21" y="34"/>
                  </a:cubicBezTo>
                  <a:cubicBezTo>
                    <a:pt x="13" y="30"/>
                    <a:pt x="9" y="24"/>
                    <a:pt x="10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0" name="íṣḻïdé">
              <a:extLst>
                <a:ext uri="{FF2B5EF4-FFF2-40B4-BE49-F238E27FC236}">
                  <a16:creationId xmlns:a16="http://schemas.microsoft.com/office/drawing/2014/main" xmlns="" id="{6DE5AB99-27F4-4661-A1C0-C5613E4451A7}"/>
                </a:ext>
              </a:extLst>
            </p:cNvPr>
            <p:cNvSpPr/>
            <p:nvPr userDrawn="1"/>
          </p:nvSpPr>
          <p:spPr bwMode="auto">
            <a:xfrm>
              <a:off x="3625851" y="4271963"/>
              <a:ext cx="785813" cy="454025"/>
            </a:xfrm>
            <a:custGeom>
              <a:avLst/>
              <a:gdLst>
                <a:gd name="T0" fmla="*/ 0 w 495"/>
                <a:gd name="T1" fmla="*/ 276 h 286"/>
                <a:gd name="T2" fmla="*/ 17 w 495"/>
                <a:gd name="T3" fmla="*/ 286 h 286"/>
                <a:gd name="T4" fmla="*/ 495 w 495"/>
                <a:gd name="T5" fmla="*/ 10 h 286"/>
                <a:gd name="T6" fmla="*/ 478 w 495"/>
                <a:gd name="T7" fmla="*/ 0 h 286"/>
                <a:gd name="T8" fmla="*/ 0 w 495"/>
                <a:gd name="T9" fmla="*/ 27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6">
                  <a:moveTo>
                    <a:pt x="0" y="276"/>
                  </a:moveTo>
                  <a:lnTo>
                    <a:pt x="17" y="286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1" name="ïsḷiḑe">
              <a:extLst>
                <a:ext uri="{FF2B5EF4-FFF2-40B4-BE49-F238E27FC236}">
                  <a16:creationId xmlns:a16="http://schemas.microsoft.com/office/drawing/2014/main" xmlns="" id="{F6E65772-E63B-4A42-8463-6013F6EED985}"/>
                </a:ext>
              </a:extLst>
            </p:cNvPr>
            <p:cNvSpPr/>
            <p:nvPr userDrawn="1"/>
          </p:nvSpPr>
          <p:spPr bwMode="auto">
            <a:xfrm>
              <a:off x="3943351" y="4722813"/>
              <a:ext cx="25400" cy="17463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5 h 5"/>
                <a:gd name="T4" fmla="*/ 6 w 8"/>
                <a:gd name="T5" fmla="*/ 2 h 5"/>
                <a:gd name="T6" fmla="*/ 1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3" y="5"/>
                    <a:pt x="5" y="5"/>
                    <a:pt x="7" y="5"/>
                  </a:cubicBezTo>
                  <a:cubicBezTo>
                    <a:pt x="8" y="4"/>
                    <a:pt x="8" y="3"/>
                    <a:pt x="6" y="2"/>
                  </a:cubicBezTo>
                  <a:cubicBezTo>
                    <a:pt x="5" y="1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2" name="ïṣ1íḍé">
              <a:extLst>
                <a:ext uri="{FF2B5EF4-FFF2-40B4-BE49-F238E27FC236}">
                  <a16:creationId xmlns:a16="http://schemas.microsoft.com/office/drawing/2014/main" xmlns="" id="{CFA917A9-E6EA-497B-9D21-7DD10764E090}"/>
                </a:ext>
              </a:extLst>
            </p:cNvPr>
            <p:cNvSpPr/>
            <p:nvPr userDrawn="1"/>
          </p:nvSpPr>
          <p:spPr bwMode="auto">
            <a:xfrm>
              <a:off x="3824288" y="4683126"/>
              <a:ext cx="250825" cy="142875"/>
            </a:xfrm>
            <a:custGeom>
              <a:avLst/>
              <a:gdLst>
                <a:gd name="T0" fmla="*/ 11 w 76"/>
                <a:gd name="T1" fmla="*/ 37 h 43"/>
                <a:gd name="T2" fmla="*/ 0 w 76"/>
                <a:gd name="T3" fmla="*/ 21 h 43"/>
                <a:gd name="T4" fmla="*/ 11 w 76"/>
                <a:gd name="T5" fmla="*/ 6 h 43"/>
                <a:gd name="T6" fmla="*/ 38 w 76"/>
                <a:gd name="T7" fmla="*/ 0 h 43"/>
                <a:gd name="T8" fmla="*/ 65 w 76"/>
                <a:gd name="T9" fmla="*/ 6 h 43"/>
                <a:gd name="T10" fmla="*/ 76 w 76"/>
                <a:gd name="T11" fmla="*/ 22 h 43"/>
                <a:gd name="T12" fmla="*/ 64 w 76"/>
                <a:gd name="T13" fmla="*/ 37 h 43"/>
                <a:gd name="T14" fmla="*/ 38 w 76"/>
                <a:gd name="T15" fmla="*/ 43 h 43"/>
                <a:gd name="T16" fmla="*/ 11 w 76"/>
                <a:gd name="T17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3">
                  <a:moveTo>
                    <a:pt x="11" y="37"/>
                  </a:moveTo>
                  <a:cubicBezTo>
                    <a:pt x="4" y="33"/>
                    <a:pt x="0" y="27"/>
                    <a:pt x="0" y="21"/>
                  </a:cubicBezTo>
                  <a:cubicBezTo>
                    <a:pt x="0" y="15"/>
                    <a:pt x="4" y="10"/>
                    <a:pt x="11" y="6"/>
                  </a:cubicBezTo>
                  <a:cubicBezTo>
                    <a:pt x="18" y="2"/>
                    <a:pt x="28" y="0"/>
                    <a:pt x="38" y="0"/>
                  </a:cubicBezTo>
                  <a:cubicBezTo>
                    <a:pt x="48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7"/>
                    <a:pt x="72" y="33"/>
                    <a:pt x="64" y="37"/>
                  </a:cubicBezTo>
                  <a:cubicBezTo>
                    <a:pt x="57" y="41"/>
                    <a:pt x="48" y="43"/>
                    <a:pt x="38" y="43"/>
                  </a:cubicBezTo>
                  <a:cubicBezTo>
                    <a:pt x="28" y="43"/>
                    <a:pt x="18" y="41"/>
                    <a:pt x="11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3" name="íṥľíḓe">
              <a:extLst>
                <a:ext uri="{FF2B5EF4-FFF2-40B4-BE49-F238E27FC236}">
                  <a16:creationId xmlns:a16="http://schemas.microsoft.com/office/drawing/2014/main" xmlns="" id="{40E1EE65-1B44-4119-8E1D-A54716B9D238}"/>
                </a:ext>
              </a:extLst>
            </p:cNvPr>
            <p:cNvSpPr/>
            <p:nvPr userDrawn="1"/>
          </p:nvSpPr>
          <p:spPr bwMode="auto">
            <a:xfrm>
              <a:off x="3937001" y="4772026"/>
              <a:ext cx="25400" cy="17463"/>
            </a:xfrm>
            <a:custGeom>
              <a:avLst/>
              <a:gdLst>
                <a:gd name="T0" fmla="*/ 6 w 8"/>
                <a:gd name="T1" fmla="*/ 1 h 5"/>
                <a:gd name="T2" fmla="*/ 1 w 8"/>
                <a:gd name="T3" fmla="*/ 0 h 5"/>
                <a:gd name="T4" fmla="*/ 1 w 8"/>
                <a:gd name="T5" fmla="*/ 3 h 5"/>
                <a:gd name="T6" fmla="*/ 7 w 8"/>
                <a:gd name="T7" fmla="*/ 4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4" y="0"/>
                    <a:pt x="2" y="0"/>
                    <a:pt x="1" y="0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3" y="4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4" name="íŝḷîḓê">
              <a:extLst>
                <a:ext uri="{FF2B5EF4-FFF2-40B4-BE49-F238E27FC236}">
                  <a16:creationId xmlns:a16="http://schemas.microsoft.com/office/drawing/2014/main" xmlns="" id="{9C5493D4-0314-40DA-A6EE-C49158F6E1A8}"/>
                </a:ext>
              </a:extLst>
            </p:cNvPr>
            <p:cNvSpPr/>
            <p:nvPr userDrawn="1"/>
          </p:nvSpPr>
          <p:spPr bwMode="auto">
            <a:xfrm>
              <a:off x="4895851" y="4606926"/>
              <a:ext cx="320675" cy="188913"/>
            </a:xfrm>
            <a:custGeom>
              <a:avLst/>
              <a:gdLst>
                <a:gd name="T0" fmla="*/ 0 w 202"/>
                <a:gd name="T1" fmla="*/ 27 h 119"/>
                <a:gd name="T2" fmla="*/ 156 w 202"/>
                <a:gd name="T3" fmla="*/ 119 h 119"/>
                <a:gd name="T4" fmla="*/ 202 w 202"/>
                <a:gd name="T5" fmla="*/ 92 h 119"/>
                <a:gd name="T6" fmla="*/ 44 w 202"/>
                <a:gd name="T7" fmla="*/ 0 h 119"/>
                <a:gd name="T8" fmla="*/ 0 w 202"/>
                <a:gd name="T9" fmla="*/ 2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119">
                  <a:moveTo>
                    <a:pt x="0" y="27"/>
                  </a:moveTo>
                  <a:lnTo>
                    <a:pt x="156" y="119"/>
                  </a:lnTo>
                  <a:lnTo>
                    <a:pt x="202" y="92"/>
                  </a:lnTo>
                  <a:lnTo>
                    <a:pt x="44" y="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5" name="ïṧḻîde">
              <a:extLst>
                <a:ext uri="{FF2B5EF4-FFF2-40B4-BE49-F238E27FC236}">
                  <a16:creationId xmlns:a16="http://schemas.microsoft.com/office/drawing/2014/main" xmlns="" id="{5C2A32E8-D0DD-4FA7-A580-DEE530911D00}"/>
                </a:ext>
              </a:extLst>
            </p:cNvPr>
            <p:cNvSpPr/>
            <p:nvPr userDrawn="1"/>
          </p:nvSpPr>
          <p:spPr bwMode="auto">
            <a:xfrm>
              <a:off x="3824288" y="4667251"/>
              <a:ext cx="234950" cy="138113"/>
            </a:xfrm>
            <a:custGeom>
              <a:avLst/>
              <a:gdLst>
                <a:gd name="T0" fmla="*/ 5 w 71"/>
                <a:gd name="T1" fmla="*/ 7 h 42"/>
                <a:gd name="T2" fmla="*/ 11 w 71"/>
                <a:gd name="T3" fmla="*/ 11 h 42"/>
                <a:gd name="T4" fmla="*/ 0 w 71"/>
                <a:gd name="T5" fmla="*/ 26 h 42"/>
                <a:gd name="T6" fmla="*/ 11 w 71"/>
                <a:gd name="T7" fmla="*/ 42 h 42"/>
                <a:gd name="T8" fmla="*/ 0 w 71"/>
                <a:gd name="T9" fmla="*/ 26 h 42"/>
                <a:gd name="T10" fmla="*/ 11 w 71"/>
                <a:gd name="T11" fmla="*/ 11 h 42"/>
                <a:gd name="T12" fmla="*/ 38 w 71"/>
                <a:gd name="T13" fmla="*/ 5 h 42"/>
                <a:gd name="T14" fmla="*/ 65 w 71"/>
                <a:gd name="T15" fmla="*/ 11 h 42"/>
                <a:gd name="T16" fmla="*/ 71 w 71"/>
                <a:gd name="T17" fmla="*/ 7 h 42"/>
                <a:gd name="T18" fmla="*/ 38 w 71"/>
                <a:gd name="T19" fmla="*/ 0 h 42"/>
                <a:gd name="T20" fmla="*/ 5 w 71"/>
                <a:gd name="T21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42">
                  <a:moveTo>
                    <a:pt x="5" y="7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4" y="15"/>
                    <a:pt x="0" y="20"/>
                    <a:pt x="0" y="26"/>
                  </a:cubicBezTo>
                  <a:cubicBezTo>
                    <a:pt x="0" y="32"/>
                    <a:pt x="4" y="38"/>
                    <a:pt x="11" y="42"/>
                  </a:cubicBezTo>
                  <a:cubicBezTo>
                    <a:pt x="4" y="38"/>
                    <a:pt x="0" y="32"/>
                    <a:pt x="0" y="26"/>
                  </a:cubicBezTo>
                  <a:cubicBezTo>
                    <a:pt x="0" y="20"/>
                    <a:pt x="4" y="15"/>
                    <a:pt x="11" y="11"/>
                  </a:cubicBezTo>
                  <a:cubicBezTo>
                    <a:pt x="18" y="7"/>
                    <a:pt x="28" y="5"/>
                    <a:pt x="38" y="5"/>
                  </a:cubicBezTo>
                  <a:cubicBezTo>
                    <a:pt x="48" y="5"/>
                    <a:pt x="58" y="7"/>
                    <a:pt x="65" y="1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2" y="2"/>
                    <a:pt x="50" y="0"/>
                    <a:pt x="38" y="0"/>
                  </a:cubicBezTo>
                  <a:cubicBezTo>
                    <a:pt x="26" y="0"/>
                    <a:pt x="14" y="2"/>
                    <a:pt x="5" y="7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6" name="i$ļiḋe">
              <a:extLst>
                <a:ext uri="{FF2B5EF4-FFF2-40B4-BE49-F238E27FC236}">
                  <a16:creationId xmlns:a16="http://schemas.microsoft.com/office/drawing/2014/main" xmlns="" id="{106ACBF9-C956-4F44-A0F2-1B88120148E3}"/>
                </a:ext>
              </a:extLst>
            </p:cNvPr>
            <p:cNvSpPr/>
            <p:nvPr userDrawn="1"/>
          </p:nvSpPr>
          <p:spPr bwMode="auto">
            <a:xfrm>
              <a:off x="4938713" y="4725988"/>
              <a:ext cx="198438" cy="115888"/>
            </a:xfrm>
            <a:custGeom>
              <a:avLst/>
              <a:gdLst>
                <a:gd name="T0" fmla="*/ 0 w 125"/>
                <a:gd name="T1" fmla="*/ 25 h 73"/>
                <a:gd name="T2" fmla="*/ 79 w 125"/>
                <a:gd name="T3" fmla="*/ 73 h 73"/>
                <a:gd name="T4" fmla="*/ 125 w 125"/>
                <a:gd name="T5" fmla="*/ 46 h 73"/>
                <a:gd name="T6" fmla="*/ 44 w 125"/>
                <a:gd name="T7" fmla="*/ 0 h 73"/>
                <a:gd name="T8" fmla="*/ 0 w 125"/>
                <a:gd name="T9" fmla="*/ 2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73">
                  <a:moveTo>
                    <a:pt x="0" y="25"/>
                  </a:moveTo>
                  <a:lnTo>
                    <a:pt x="79" y="73"/>
                  </a:lnTo>
                  <a:lnTo>
                    <a:pt x="125" y="46"/>
                  </a:lnTo>
                  <a:lnTo>
                    <a:pt x="44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7" name="îslîḍè">
              <a:extLst>
                <a:ext uri="{FF2B5EF4-FFF2-40B4-BE49-F238E27FC236}">
                  <a16:creationId xmlns:a16="http://schemas.microsoft.com/office/drawing/2014/main" xmlns="" id="{02D0B2F1-BD12-41B1-94B4-0EE4DD15C920}"/>
                </a:ext>
              </a:extLst>
            </p:cNvPr>
            <p:cNvSpPr/>
            <p:nvPr userDrawn="1"/>
          </p:nvSpPr>
          <p:spPr bwMode="auto">
            <a:xfrm>
              <a:off x="4810126" y="4835526"/>
              <a:ext cx="168275" cy="95250"/>
            </a:xfrm>
            <a:custGeom>
              <a:avLst/>
              <a:gdLst>
                <a:gd name="T0" fmla="*/ 0 w 106"/>
                <a:gd name="T1" fmla="*/ 25 h 60"/>
                <a:gd name="T2" fmla="*/ 61 w 106"/>
                <a:gd name="T3" fmla="*/ 60 h 60"/>
                <a:gd name="T4" fmla="*/ 106 w 106"/>
                <a:gd name="T5" fmla="*/ 35 h 60"/>
                <a:gd name="T6" fmla="*/ 46 w 106"/>
                <a:gd name="T7" fmla="*/ 0 h 60"/>
                <a:gd name="T8" fmla="*/ 0 w 106"/>
                <a:gd name="T9" fmla="*/ 2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60">
                  <a:moveTo>
                    <a:pt x="0" y="25"/>
                  </a:moveTo>
                  <a:lnTo>
                    <a:pt x="61" y="60"/>
                  </a:lnTo>
                  <a:lnTo>
                    <a:pt x="106" y="35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8" name="iśḷiďê">
              <a:extLst>
                <a:ext uri="{FF2B5EF4-FFF2-40B4-BE49-F238E27FC236}">
                  <a16:creationId xmlns:a16="http://schemas.microsoft.com/office/drawing/2014/main" xmlns="" id="{D05A9A76-B447-435C-9AF1-504E0E010F56}"/>
                </a:ext>
              </a:extLst>
            </p:cNvPr>
            <p:cNvSpPr/>
            <p:nvPr userDrawn="1"/>
          </p:nvSpPr>
          <p:spPr bwMode="auto">
            <a:xfrm>
              <a:off x="4081463" y="4538663"/>
              <a:ext cx="785813" cy="450850"/>
            </a:xfrm>
            <a:custGeom>
              <a:avLst/>
              <a:gdLst>
                <a:gd name="T0" fmla="*/ 0 w 495"/>
                <a:gd name="T1" fmla="*/ 274 h 284"/>
                <a:gd name="T2" fmla="*/ 17 w 495"/>
                <a:gd name="T3" fmla="*/ 284 h 284"/>
                <a:gd name="T4" fmla="*/ 495 w 495"/>
                <a:gd name="T5" fmla="*/ 8 h 284"/>
                <a:gd name="T6" fmla="*/ 478 w 495"/>
                <a:gd name="T7" fmla="*/ 0 h 284"/>
                <a:gd name="T8" fmla="*/ 0 w 495"/>
                <a:gd name="T9" fmla="*/ 27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4"/>
                  </a:moveTo>
                  <a:lnTo>
                    <a:pt x="17" y="284"/>
                  </a:lnTo>
                  <a:lnTo>
                    <a:pt x="495" y="8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9" name="i$ḻïḍè">
              <a:extLst>
                <a:ext uri="{FF2B5EF4-FFF2-40B4-BE49-F238E27FC236}">
                  <a16:creationId xmlns:a16="http://schemas.microsoft.com/office/drawing/2014/main" xmlns="" id="{7FD547A4-99B3-4EA5-978E-D4B7A097A770}"/>
                </a:ext>
              </a:extLst>
            </p:cNvPr>
            <p:cNvSpPr/>
            <p:nvPr userDrawn="1"/>
          </p:nvSpPr>
          <p:spPr bwMode="auto">
            <a:xfrm>
              <a:off x="4154488" y="4578351"/>
              <a:ext cx="781050" cy="450850"/>
            </a:xfrm>
            <a:custGeom>
              <a:avLst/>
              <a:gdLst>
                <a:gd name="T0" fmla="*/ 0 w 492"/>
                <a:gd name="T1" fmla="*/ 276 h 284"/>
                <a:gd name="T2" fmla="*/ 14 w 492"/>
                <a:gd name="T3" fmla="*/ 284 h 284"/>
                <a:gd name="T4" fmla="*/ 492 w 492"/>
                <a:gd name="T5" fmla="*/ 10 h 284"/>
                <a:gd name="T6" fmla="*/ 478 w 492"/>
                <a:gd name="T7" fmla="*/ 0 h 284"/>
                <a:gd name="T8" fmla="*/ 0 w 492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4">
                  <a:moveTo>
                    <a:pt x="0" y="276"/>
                  </a:moveTo>
                  <a:lnTo>
                    <a:pt x="14" y="284"/>
                  </a:lnTo>
                  <a:lnTo>
                    <a:pt x="492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0" name="ï$lïḍê">
              <a:extLst>
                <a:ext uri="{FF2B5EF4-FFF2-40B4-BE49-F238E27FC236}">
                  <a16:creationId xmlns:a16="http://schemas.microsoft.com/office/drawing/2014/main" xmlns="" id="{5E4E4412-ED8B-4347-8A50-8CB72F7DB26B}"/>
                </a:ext>
              </a:extLst>
            </p:cNvPr>
            <p:cNvSpPr/>
            <p:nvPr userDrawn="1"/>
          </p:nvSpPr>
          <p:spPr bwMode="auto">
            <a:xfrm>
              <a:off x="4295776" y="4848226"/>
              <a:ext cx="379413" cy="217488"/>
            </a:xfrm>
            <a:custGeom>
              <a:avLst/>
              <a:gdLst>
                <a:gd name="T0" fmla="*/ 0 w 239"/>
                <a:gd name="T1" fmla="*/ 129 h 137"/>
                <a:gd name="T2" fmla="*/ 15 w 239"/>
                <a:gd name="T3" fmla="*/ 137 h 137"/>
                <a:gd name="T4" fmla="*/ 239 w 239"/>
                <a:gd name="T5" fmla="*/ 8 h 137"/>
                <a:gd name="T6" fmla="*/ 225 w 239"/>
                <a:gd name="T7" fmla="*/ 0 h 137"/>
                <a:gd name="T8" fmla="*/ 0 w 239"/>
                <a:gd name="T9" fmla="*/ 12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9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5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1" name="iṡļïḋe">
              <a:extLst>
                <a:ext uri="{FF2B5EF4-FFF2-40B4-BE49-F238E27FC236}">
                  <a16:creationId xmlns:a16="http://schemas.microsoft.com/office/drawing/2014/main" xmlns="" id="{398CD17E-BD6F-4D00-A4D7-C70BEB02DCB6}"/>
                </a:ext>
              </a:extLst>
            </p:cNvPr>
            <p:cNvSpPr/>
            <p:nvPr userDrawn="1"/>
          </p:nvSpPr>
          <p:spPr bwMode="auto">
            <a:xfrm>
              <a:off x="4356101" y="4881563"/>
              <a:ext cx="379413" cy="220663"/>
            </a:xfrm>
            <a:custGeom>
              <a:avLst/>
              <a:gdLst>
                <a:gd name="T0" fmla="*/ 0 w 239"/>
                <a:gd name="T1" fmla="*/ 129 h 139"/>
                <a:gd name="T2" fmla="*/ 14 w 239"/>
                <a:gd name="T3" fmla="*/ 139 h 139"/>
                <a:gd name="T4" fmla="*/ 239 w 239"/>
                <a:gd name="T5" fmla="*/ 8 h 139"/>
                <a:gd name="T6" fmla="*/ 224 w 239"/>
                <a:gd name="T7" fmla="*/ 0 h 139"/>
                <a:gd name="T8" fmla="*/ 0 w 239"/>
                <a:gd name="T9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9">
                  <a:moveTo>
                    <a:pt x="0" y="129"/>
                  </a:moveTo>
                  <a:lnTo>
                    <a:pt x="14" y="139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2" name="ï$líḓé">
              <a:extLst>
                <a:ext uri="{FF2B5EF4-FFF2-40B4-BE49-F238E27FC236}">
                  <a16:creationId xmlns:a16="http://schemas.microsoft.com/office/drawing/2014/main" xmlns="" id="{29C469D4-7E59-468C-A747-BC814696ABD2}"/>
                </a:ext>
              </a:extLst>
            </p:cNvPr>
            <p:cNvSpPr/>
            <p:nvPr userDrawn="1"/>
          </p:nvSpPr>
          <p:spPr bwMode="auto">
            <a:xfrm>
              <a:off x="4414838" y="4918076"/>
              <a:ext cx="379413" cy="217488"/>
            </a:xfrm>
            <a:custGeom>
              <a:avLst/>
              <a:gdLst>
                <a:gd name="T0" fmla="*/ 0 w 239"/>
                <a:gd name="T1" fmla="*/ 128 h 137"/>
                <a:gd name="T2" fmla="*/ 15 w 239"/>
                <a:gd name="T3" fmla="*/ 137 h 137"/>
                <a:gd name="T4" fmla="*/ 239 w 239"/>
                <a:gd name="T5" fmla="*/ 8 h 137"/>
                <a:gd name="T6" fmla="*/ 224 w 239"/>
                <a:gd name="T7" fmla="*/ 0 h 137"/>
                <a:gd name="T8" fmla="*/ 0 w 239"/>
                <a:gd name="T9" fmla="*/ 12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8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3" name="ïşľíḑè">
              <a:extLst>
                <a:ext uri="{FF2B5EF4-FFF2-40B4-BE49-F238E27FC236}">
                  <a16:creationId xmlns:a16="http://schemas.microsoft.com/office/drawing/2014/main" xmlns="" id="{F52E1218-7BB9-40F6-87E5-66376A547120}"/>
                </a:ext>
              </a:extLst>
            </p:cNvPr>
            <p:cNvSpPr/>
            <p:nvPr userDrawn="1"/>
          </p:nvSpPr>
          <p:spPr bwMode="auto">
            <a:xfrm>
              <a:off x="4464051" y="4943476"/>
              <a:ext cx="382588" cy="220663"/>
            </a:xfrm>
            <a:custGeom>
              <a:avLst/>
              <a:gdLst>
                <a:gd name="T0" fmla="*/ 0 w 241"/>
                <a:gd name="T1" fmla="*/ 131 h 139"/>
                <a:gd name="T2" fmla="*/ 17 w 241"/>
                <a:gd name="T3" fmla="*/ 139 h 139"/>
                <a:gd name="T4" fmla="*/ 241 w 241"/>
                <a:gd name="T5" fmla="*/ 11 h 139"/>
                <a:gd name="T6" fmla="*/ 225 w 241"/>
                <a:gd name="T7" fmla="*/ 0 h 139"/>
                <a:gd name="T8" fmla="*/ 0 w 241"/>
                <a:gd name="T9" fmla="*/ 13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0" y="131"/>
                  </a:moveTo>
                  <a:lnTo>
                    <a:pt x="17" y="139"/>
                  </a:lnTo>
                  <a:lnTo>
                    <a:pt x="241" y="11"/>
                  </a:lnTo>
                  <a:lnTo>
                    <a:pt x="225" y="0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4" name="iŝḻiḑê">
              <a:extLst>
                <a:ext uri="{FF2B5EF4-FFF2-40B4-BE49-F238E27FC236}">
                  <a16:creationId xmlns:a16="http://schemas.microsoft.com/office/drawing/2014/main" xmlns="" id="{C114CA3D-7238-4552-B7C5-024731D3DA16}"/>
                </a:ext>
              </a:extLst>
            </p:cNvPr>
            <p:cNvSpPr/>
            <p:nvPr userDrawn="1"/>
          </p:nvSpPr>
          <p:spPr bwMode="auto">
            <a:xfrm>
              <a:off x="3249613" y="4054476"/>
              <a:ext cx="2132013" cy="1231900"/>
            </a:xfrm>
            <a:custGeom>
              <a:avLst/>
              <a:gdLst>
                <a:gd name="T0" fmla="*/ 378 w 646"/>
                <a:gd name="T1" fmla="*/ 374 h 374"/>
                <a:gd name="T2" fmla="*/ 268 w 646"/>
                <a:gd name="T3" fmla="*/ 0 h 374"/>
                <a:gd name="T4" fmla="*/ 323 w 646"/>
                <a:gd name="T5" fmla="*/ 149 h 374"/>
                <a:gd name="T6" fmla="*/ 257 w 646"/>
                <a:gd name="T7" fmla="*/ 149 h 374"/>
                <a:gd name="T8" fmla="*/ 256 w 646"/>
                <a:gd name="T9" fmla="*/ 187 h 374"/>
                <a:gd name="T10" fmla="*/ 322 w 646"/>
                <a:gd name="T11" fmla="*/ 187 h 374"/>
                <a:gd name="T12" fmla="*/ 323 w 646"/>
                <a:gd name="T13" fmla="*/ 149 h 374"/>
                <a:gd name="T14" fmla="*/ 212 w 646"/>
                <a:gd name="T15" fmla="*/ 186 h 374"/>
                <a:gd name="T16" fmla="*/ 165 w 646"/>
                <a:gd name="T17" fmla="*/ 212 h 374"/>
                <a:gd name="T18" fmla="*/ 212 w 646"/>
                <a:gd name="T19" fmla="*/ 240 h 374"/>
                <a:gd name="T20" fmla="*/ 258 w 646"/>
                <a:gd name="T21" fmla="*/ 213 h 374"/>
                <a:gd name="T22" fmla="*/ 400 w 646"/>
                <a:gd name="T23" fmla="*/ 104 h 374"/>
                <a:gd name="T24" fmla="*/ 334 w 646"/>
                <a:gd name="T25" fmla="*/ 104 h 374"/>
                <a:gd name="T26" fmla="*/ 334 w 646"/>
                <a:gd name="T27" fmla="*/ 142 h 374"/>
                <a:gd name="T28" fmla="*/ 400 w 646"/>
                <a:gd name="T29" fmla="*/ 142 h 374"/>
                <a:gd name="T30" fmla="*/ 400 w 646"/>
                <a:gd name="T31" fmla="*/ 104 h 374"/>
                <a:gd name="T32" fmla="*/ 281 w 646"/>
                <a:gd name="T33" fmla="*/ 30 h 374"/>
                <a:gd name="T34" fmla="*/ 35 w 646"/>
                <a:gd name="T35" fmla="*/ 153 h 374"/>
                <a:gd name="T36" fmla="*/ 105 w 646"/>
                <a:gd name="T37" fmla="*/ 194 h 374"/>
                <a:gd name="T38" fmla="*/ 328 w 646"/>
                <a:gd name="T39" fmla="*/ 57 h 374"/>
                <a:gd name="T40" fmla="*/ 105 w 646"/>
                <a:gd name="T41" fmla="*/ 194 h 374"/>
                <a:gd name="T42" fmla="*/ 303 w 646"/>
                <a:gd name="T43" fmla="*/ 42 h 374"/>
                <a:gd name="T44" fmla="*/ 65 w 646"/>
                <a:gd name="T45" fmla="*/ 171 h 374"/>
                <a:gd name="T46" fmla="*/ 89 w 646"/>
                <a:gd name="T47" fmla="*/ 185 h 374"/>
                <a:gd name="T48" fmla="*/ 311 w 646"/>
                <a:gd name="T49" fmla="*/ 47 h 374"/>
                <a:gd name="T50" fmla="*/ 89 w 646"/>
                <a:gd name="T51" fmla="*/ 185 h 374"/>
                <a:gd name="T52" fmla="*/ 352 w 646"/>
                <a:gd name="T53" fmla="*/ 71 h 374"/>
                <a:gd name="T54" fmla="*/ 114 w 646"/>
                <a:gd name="T55" fmla="*/ 199 h 374"/>
                <a:gd name="T56" fmla="*/ 281 w 646"/>
                <a:gd name="T57" fmla="*/ 296 h 374"/>
                <a:gd name="T58" fmla="*/ 504 w 646"/>
                <a:gd name="T59" fmla="*/ 159 h 374"/>
                <a:gd name="T60" fmla="*/ 281 w 646"/>
                <a:gd name="T61" fmla="*/ 296 h 374"/>
                <a:gd name="T62" fmla="*/ 490 w 646"/>
                <a:gd name="T63" fmla="*/ 151 h 374"/>
                <a:gd name="T64" fmla="*/ 252 w 646"/>
                <a:gd name="T65" fmla="*/ 279 h 374"/>
                <a:gd name="T66" fmla="*/ 237 w 646"/>
                <a:gd name="T67" fmla="*/ 270 h 374"/>
                <a:gd name="T68" fmla="*/ 459 w 646"/>
                <a:gd name="T69" fmla="*/ 133 h 374"/>
                <a:gd name="T70" fmla="*/ 237 w 646"/>
                <a:gd name="T71" fmla="*/ 270 h 374"/>
                <a:gd name="T72" fmla="*/ 596 w 646"/>
                <a:gd name="T73" fmla="*/ 212 h 374"/>
                <a:gd name="T74" fmla="*/ 499 w 646"/>
                <a:gd name="T75" fmla="*/ 181 h 374"/>
                <a:gd name="T76" fmla="*/ 526 w 646"/>
                <a:gd name="T77" fmla="*/ 252 h 374"/>
                <a:gd name="T78" fmla="*/ 491 w 646"/>
                <a:gd name="T79" fmla="*/ 207 h 374"/>
                <a:gd name="T80" fmla="*/ 526 w 646"/>
                <a:gd name="T81" fmla="*/ 252 h 374"/>
                <a:gd name="T82" fmla="*/ 572 w 646"/>
                <a:gd name="T83" fmla="*/ 226 h 374"/>
                <a:gd name="T84" fmla="*/ 512 w 646"/>
                <a:gd name="T85" fmla="*/ 216 h 374"/>
                <a:gd name="T86" fmla="*/ 342 w 646"/>
                <a:gd name="T87" fmla="*/ 318 h 374"/>
                <a:gd name="T88" fmla="*/ 443 w 646"/>
                <a:gd name="T89" fmla="*/ 251 h 374"/>
                <a:gd name="T90" fmla="*/ 342 w 646"/>
                <a:gd name="T91" fmla="*/ 318 h 374"/>
                <a:gd name="T92" fmla="*/ 432 w 646"/>
                <a:gd name="T93" fmla="*/ 245 h 374"/>
                <a:gd name="T94" fmla="*/ 317 w 646"/>
                <a:gd name="T95" fmla="*/ 303 h 374"/>
                <a:gd name="T96" fmla="*/ 360 w 646"/>
                <a:gd name="T97" fmla="*/ 328 h 374"/>
                <a:gd name="T98" fmla="*/ 461 w 646"/>
                <a:gd name="T99" fmla="*/ 262 h 374"/>
                <a:gd name="T100" fmla="*/ 360 w 646"/>
                <a:gd name="T101" fmla="*/ 328 h 374"/>
                <a:gd name="T102" fmla="*/ 484 w 646"/>
                <a:gd name="T103" fmla="*/ 275 h 374"/>
                <a:gd name="T104" fmla="*/ 368 w 646"/>
                <a:gd name="T105" fmla="*/ 333 h 374"/>
                <a:gd name="T106" fmla="*/ 502 w 646"/>
                <a:gd name="T107" fmla="*/ 266 h 374"/>
                <a:gd name="T108" fmla="*/ 495 w 646"/>
                <a:gd name="T109" fmla="*/ 237 h 374"/>
                <a:gd name="T110" fmla="*/ 502 w 646"/>
                <a:gd name="T111" fmla="*/ 26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6" h="374">
                  <a:moveTo>
                    <a:pt x="646" y="219"/>
                  </a:moveTo>
                  <a:cubicBezTo>
                    <a:pt x="378" y="374"/>
                    <a:pt x="378" y="374"/>
                    <a:pt x="378" y="37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646" y="219"/>
                    <a:pt x="646" y="219"/>
                    <a:pt x="646" y="219"/>
                  </a:cubicBezTo>
                  <a:moveTo>
                    <a:pt x="323" y="149"/>
                  </a:moveTo>
                  <a:cubicBezTo>
                    <a:pt x="314" y="143"/>
                    <a:pt x="302" y="141"/>
                    <a:pt x="290" y="141"/>
                  </a:cubicBezTo>
                  <a:cubicBezTo>
                    <a:pt x="277" y="141"/>
                    <a:pt x="265" y="143"/>
                    <a:pt x="257" y="149"/>
                  </a:cubicBezTo>
                  <a:cubicBezTo>
                    <a:pt x="248" y="154"/>
                    <a:pt x="243" y="160"/>
                    <a:pt x="243" y="167"/>
                  </a:cubicBezTo>
                  <a:cubicBezTo>
                    <a:pt x="242" y="174"/>
                    <a:pt x="247" y="182"/>
                    <a:pt x="256" y="187"/>
                  </a:cubicBezTo>
                  <a:cubicBezTo>
                    <a:pt x="265" y="192"/>
                    <a:pt x="277" y="195"/>
                    <a:pt x="289" y="195"/>
                  </a:cubicBezTo>
                  <a:cubicBezTo>
                    <a:pt x="302" y="195"/>
                    <a:pt x="314" y="192"/>
                    <a:pt x="322" y="187"/>
                  </a:cubicBezTo>
                  <a:cubicBezTo>
                    <a:pt x="331" y="182"/>
                    <a:pt x="336" y="175"/>
                    <a:pt x="336" y="168"/>
                  </a:cubicBezTo>
                  <a:cubicBezTo>
                    <a:pt x="336" y="160"/>
                    <a:pt x="331" y="154"/>
                    <a:pt x="323" y="149"/>
                  </a:cubicBezTo>
                  <a:moveTo>
                    <a:pt x="245" y="193"/>
                  </a:moveTo>
                  <a:cubicBezTo>
                    <a:pt x="236" y="188"/>
                    <a:pt x="224" y="186"/>
                    <a:pt x="212" y="186"/>
                  </a:cubicBezTo>
                  <a:cubicBezTo>
                    <a:pt x="200" y="186"/>
                    <a:pt x="188" y="188"/>
                    <a:pt x="179" y="193"/>
                  </a:cubicBezTo>
                  <a:cubicBezTo>
                    <a:pt x="170" y="198"/>
                    <a:pt x="166" y="205"/>
                    <a:pt x="165" y="212"/>
                  </a:cubicBezTo>
                  <a:cubicBezTo>
                    <a:pt x="165" y="219"/>
                    <a:pt x="170" y="226"/>
                    <a:pt x="179" y="232"/>
                  </a:cubicBezTo>
                  <a:cubicBezTo>
                    <a:pt x="187" y="237"/>
                    <a:pt x="199" y="240"/>
                    <a:pt x="212" y="240"/>
                  </a:cubicBezTo>
                  <a:cubicBezTo>
                    <a:pt x="224" y="240"/>
                    <a:pt x="236" y="237"/>
                    <a:pt x="245" y="232"/>
                  </a:cubicBezTo>
                  <a:cubicBezTo>
                    <a:pt x="254" y="227"/>
                    <a:pt x="258" y="220"/>
                    <a:pt x="258" y="213"/>
                  </a:cubicBezTo>
                  <a:cubicBezTo>
                    <a:pt x="259" y="205"/>
                    <a:pt x="254" y="199"/>
                    <a:pt x="245" y="193"/>
                  </a:cubicBezTo>
                  <a:moveTo>
                    <a:pt x="400" y="104"/>
                  </a:moveTo>
                  <a:cubicBezTo>
                    <a:pt x="391" y="99"/>
                    <a:pt x="380" y="96"/>
                    <a:pt x="367" y="96"/>
                  </a:cubicBezTo>
                  <a:cubicBezTo>
                    <a:pt x="355" y="96"/>
                    <a:pt x="343" y="99"/>
                    <a:pt x="334" y="104"/>
                  </a:cubicBezTo>
                  <a:cubicBezTo>
                    <a:pt x="326" y="109"/>
                    <a:pt x="321" y="115"/>
                    <a:pt x="320" y="122"/>
                  </a:cubicBezTo>
                  <a:cubicBezTo>
                    <a:pt x="320" y="130"/>
                    <a:pt x="325" y="137"/>
                    <a:pt x="334" y="142"/>
                  </a:cubicBezTo>
                  <a:cubicBezTo>
                    <a:pt x="343" y="147"/>
                    <a:pt x="355" y="150"/>
                    <a:pt x="367" y="150"/>
                  </a:cubicBezTo>
                  <a:cubicBezTo>
                    <a:pt x="379" y="150"/>
                    <a:pt x="391" y="147"/>
                    <a:pt x="400" y="142"/>
                  </a:cubicBezTo>
                  <a:cubicBezTo>
                    <a:pt x="409" y="137"/>
                    <a:pt x="414" y="130"/>
                    <a:pt x="414" y="123"/>
                  </a:cubicBezTo>
                  <a:cubicBezTo>
                    <a:pt x="414" y="116"/>
                    <a:pt x="409" y="109"/>
                    <a:pt x="400" y="104"/>
                  </a:cubicBezTo>
                  <a:moveTo>
                    <a:pt x="52" y="163"/>
                  </a:moveTo>
                  <a:cubicBezTo>
                    <a:pt x="281" y="30"/>
                    <a:pt x="281" y="30"/>
                    <a:pt x="281" y="30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52" y="163"/>
                    <a:pt x="52" y="163"/>
                    <a:pt x="52" y="163"/>
                  </a:cubicBezTo>
                  <a:moveTo>
                    <a:pt x="105" y="194"/>
                  </a:moveTo>
                  <a:cubicBezTo>
                    <a:pt x="335" y="61"/>
                    <a:pt x="335" y="61"/>
                    <a:pt x="335" y="61"/>
                  </a:cubicBezTo>
                  <a:cubicBezTo>
                    <a:pt x="328" y="57"/>
                    <a:pt x="328" y="57"/>
                    <a:pt x="328" y="57"/>
                  </a:cubicBezTo>
                  <a:cubicBezTo>
                    <a:pt x="98" y="190"/>
                    <a:pt x="98" y="190"/>
                    <a:pt x="98" y="190"/>
                  </a:cubicBezTo>
                  <a:cubicBezTo>
                    <a:pt x="105" y="194"/>
                    <a:pt x="105" y="194"/>
                    <a:pt x="105" y="194"/>
                  </a:cubicBezTo>
                  <a:moveTo>
                    <a:pt x="73" y="175"/>
                  </a:moveTo>
                  <a:cubicBezTo>
                    <a:pt x="303" y="42"/>
                    <a:pt x="303" y="42"/>
                    <a:pt x="303" y="42"/>
                  </a:cubicBezTo>
                  <a:cubicBezTo>
                    <a:pt x="295" y="38"/>
                    <a:pt x="295" y="38"/>
                    <a:pt x="295" y="38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73" y="175"/>
                    <a:pt x="73" y="175"/>
                    <a:pt x="73" y="175"/>
                  </a:cubicBezTo>
                  <a:moveTo>
                    <a:pt x="89" y="185"/>
                  </a:moveTo>
                  <a:cubicBezTo>
                    <a:pt x="319" y="52"/>
                    <a:pt x="319" y="52"/>
                    <a:pt x="319" y="52"/>
                  </a:cubicBezTo>
                  <a:cubicBezTo>
                    <a:pt x="311" y="47"/>
                    <a:pt x="311" y="47"/>
                    <a:pt x="311" y="47"/>
                  </a:cubicBezTo>
                  <a:cubicBezTo>
                    <a:pt x="82" y="180"/>
                    <a:pt x="82" y="180"/>
                    <a:pt x="82" y="180"/>
                  </a:cubicBezTo>
                  <a:cubicBezTo>
                    <a:pt x="89" y="185"/>
                    <a:pt x="89" y="185"/>
                    <a:pt x="89" y="185"/>
                  </a:cubicBezTo>
                  <a:moveTo>
                    <a:pt x="122" y="204"/>
                  </a:moveTo>
                  <a:cubicBezTo>
                    <a:pt x="352" y="71"/>
                    <a:pt x="352" y="71"/>
                    <a:pt x="352" y="71"/>
                  </a:cubicBezTo>
                  <a:cubicBezTo>
                    <a:pt x="344" y="66"/>
                    <a:pt x="344" y="66"/>
                    <a:pt x="344" y="66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122" y="204"/>
                    <a:pt x="122" y="204"/>
                    <a:pt x="122" y="204"/>
                  </a:cubicBezTo>
                  <a:moveTo>
                    <a:pt x="281" y="296"/>
                  </a:moveTo>
                  <a:cubicBezTo>
                    <a:pt x="511" y="164"/>
                    <a:pt x="511" y="164"/>
                    <a:pt x="511" y="164"/>
                  </a:cubicBezTo>
                  <a:cubicBezTo>
                    <a:pt x="504" y="159"/>
                    <a:pt x="504" y="159"/>
                    <a:pt x="504" y="159"/>
                  </a:cubicBezTo>
                  <a:cubicBezTo>
                    <a:pt x="274" y="292"/>
                    <a:pt x="274" y="292"/>
                    <a:pt x="274" y="292"/>
                  </a:cubicBezTo>
                  <a:cubicBezTo>
                    <a:pt x="281" y="296"/>
                    <a:pt x="281" y="296"/>
                    <a:pt x="281" y="296"/>
                  </a:cubicBezTo>
                  <a:moveTo>
                    <a:pt x="260" y="284"/>
                  </a:moveTo>
                  <a:cubicBezTo>
                    <a:pt x="490" y="151"/>
                    <a:pt x="490" y="151"/>
                    <a:pt x="490" y="151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252" y="279"/>
                    <a:pt x="252" y="279"/>
                    <a:pt x="252" y="279"/>
                  </a:cubicBezTo>
                  <a:cubicBezTo>
                    <a:pt x="260" y="284"/>
                    <a:pt x="260" y="284"/>
                    <a:pt x="260" y="284"/>
                  </a:cubicBezTo>
                  <a:moveTo>
                    <a:pt x="237" y="270"/>
                  </a:moveTo>
                  <a:cubicBezTo>
                    <a:pt x="467" y="138"/>
                    <a:pt x="467" y="138"/>
                    <a:pt x="467" y="138"/>
                  </a:cubicBezTo>
                  <a:cubicBezTo>
                    <a:pt x="459" y="133"/>
                    <a:pt x="459" y="133"/>
                    <a:pt x="459" y="133"/>
                  </a:cubicBezTo>
                  <a:cubicBezTo>
                    <a:pt x="229" y="266"/>
                    <a:pt x="229" y="266"/>
                    <a:pt x="229" y="266"/>
                  </a:cubicBezTo>
                  <a:cubicBezTo>
                    <a:pt x="237" y="270"/>
                    <a:pt x="237" y="270"/>
                    <a:pt x="237" y="270"/>
                  </a:cubicBezTo>
                  <a:moveTo>
                    <a:pt x="574" y="225"/>
                  </a:moveTo>
                  <a:cubicBezTo>
                    <a:pt x="596" y="212"/>
                    <a:pt x="596" y="212"/>
                    <a:pt x="596" y="212"/>
                  </a:cubicBezTo>
                  <a:cubicBezTo>
                    <a:pt x="520" y="168"/>
                    <a:pt x="520" y="168"/>
                    <a:pt x="520" y="168"/>
                  </a:cubicBezTo>
                  <a:cubicBezTo>
                    <a:pt x="499" y="181"/>
                    <a:pt x="499" y="181"/>
                    <a:pt x="499" y="181"/>
                  </a:cubicBezTo>
                  <a:cubicBezTo>
                    <a:pt x="574" y="225"/>
                    <a:pt x="574" y="225"/>
                    <a:pt x="574" y="225"/>
                  </a:cubicBezTo>
                  <a:moveTo>
                    <a:pt x="526" y="252"/>
                  </a:moveTo>
                  <a:cubicBezTo>
                    <a:pt x="548" y="240"/>
                    <a:pt x="548" y="240"/>
                    <a:pt x="548" y="240"/>
                  </a:cubicBezTo>
                  <a:cubicBezTo>
                    <a:pt x="491" y="207"/>
                    <a:pt x="491" y="207"/>
                    <a:pt x="491" y="207"/>
                  </a:cubicBezTo>
                  <a:cubicBezTo>
                    <a:pt x="469" y="219"/>
                    <a:pt x="469" y="219"/>
                    <a:pt x="469" y="219"/>
                  </a:cubicBezTo>
                  <a:cubicBezTo>
                    <a:pt x="526" y="252"/>
                    <a:pt x="526" y="252"/>
                    <a:pt x="526" y="252"/>
                  </a:cubicBezTo>
                  <a:moveTo>
                    <a:pt x="550" y="239"/>
                  </a:moveTo>
                  <a:cubicBezTo>
                    <a:pt x="572" y="226"/>
                    <a:pt x="572" y="226"/>
                    <a:pt x="572" y="226"/>
                  </a:cubicBezTo>
                  <a:cubicBezTo>
                    <a:pt x="533" y="204"/>
                    <a:pt x="533" y="204"/>
                    <a:pt x="533" y="204"/>
                  </a:cubicBezTo>
                  <a:cubicBezTo>
                    <a:pt x="512" y="216"/>
                    <a:pt x="512" y="216"/>
                    <a:pt x="512" y="216"/>
                  </a:cubicBezTo>
                  <a:cubicBezTo>
                    <a:pt x="550" y="239"/>
                    <a:pt x="550" y="239"/>
                    <a:pt x="550" y="239"/>
                  </a:cubicBezTo>
                  <a:moveTo>
                    <a:pt x="342" y="318"/>
                  </a:moveTo>
                  <a:cubicBezTo>
                    <a:pt x="450" y="255"/>
                    <a:pt x="450" y="255"/>
                    <a:pt x="450" y="255"/>
                  </a:cubicBezTo>
                  <a:cubicBezTo>
                    <a:pt x="443" y="251"/>
                    <a:pt x="443" y="251"/>
                    <a:pt x="443" y="251"/>
                  </a:cubicBezTo>
                  <a:cubicBezTo>
                    <a:pt x="335" y="313"/>
                    <a:pt x="335" y="313"/>
                    <a:pt x="335" y="313"/>
                  </a:cubicBezTo>
                  <a:cubicBezTo>
                    <a:pt x="342" y="318"/>
                    <a:pt x="342" y="318"/>
                    <a:pt x="342" y="318"/>
                  </a:cubicBezTo>
                  <a:moveTo>
                    <a:pt x="324" y="307"/>
                  </a:moveTo>
                  <a:cubicBezTo>
                    <a:pt x="432" y="245"/>
                    <a:pt x="432" y="245"/>
                    <a:pt x="432" y="245"/>
                  </a:cubicBezTo>
                  <a:cubicBezTo>
                    <a:pt x="425" y="241"/>
                    <a:pt x="425" y="241"/>
                    <a:pt x="425" y="241"/>
                  </a:cubicBezTo>
                  <a:cubicBezTo>
                    <a:pt x="317" y="303"/>
                    <a:pt x="317" y="303"/>
                    <a:pt x="317" y="303"/>
                  </a:cubicBezTo>
                  <a:cubicBezTo>
                    <a:pt x="324" y="307"/>
                    <a:pt x="324" y="307"/>
                    <a:pt x="324" y="307"/>
                  </a:cubicBezTo>
                  <a:moveTo>
                    <a:pt x="360" y="328"/>
                  </a:moveTo>
                  <a:cubicBezTo>
                    <a:pt x="468" y="266"/>
                    <a:pt x="468" y="266"/>
                    <a:pt x="468" y="266"/>
                  </a:cubicBezTo>
                  <a:cubicBezTo>
                    <a:pt x="461" y="262"/>
                    <a:pt x="461" y="262"/>
                    <a:pt x="461" y="262"/>
                  </a:cubicBezTo>
                  <a:cubicBezTo>
                    <a:pt x="353" y="324"/>
                    <a:pt x="353" y="324"/>
                    <a:pt x="353" y="324"/>
                  </a:cubicBezTo>
                  <a:cubicBezTo>
                    <a:pt x="360" y="328"/>
                    <a:pt x="360" y="328"/>
                    <a:pt x="360" y="328"/>
                  </a:cubicBezTo>
                  <a:moveTo>
                    <a:pt x="376" y="337"/>
                  </a:moveTo>
                  <a:cubicBezTo>
                    <a:pt x="484" y="275"/>
                    <a:pt x="484" y="275"/>
                    <a:pt x="484" y="275"/>
                  </a:cubicBezTo>
                  <a:cubicBezTo>
                    <a:pt x="476" y="270"/>
                    <a:pt x="476" y="270"/>
                    <a:pt x="476" y="270"/>
                  </a:cubicBezTo>
                  <a:cubicBezTo>
                    <a:pt x="368" y="333"/>
                    <a:pt x="368" y="333"/>
                    <a:pt x="368" y="333"/>
                  </a:cubicBezTo>
                  <a:cubicBezTo>
                    <a:pt x="376" y="337"/>
                    <a:pt x="376" y="337"/>
                    <a:pt x="376" y="337"/>
                  </a:cubicBezTo>
                  <a:moveTo>
                    <a:pt x="502" y="266"/>
                  </a:moveTo>
                  <a:cubicBezTo>
                    <a:pt x="524" y="254"/>
                    <a:pt x="524" y="254"/>
                    <a:pt x="524" y="254"/>
                  </a:cubicBezTo>
                  <a:cubicBezTo>
                    <a:pt x="495" y="237"/>
                    <a:pt x="495" y="237"/>
                    <a:pt x="495" y="237"/>
                  </a:cubicBezTo>
                  <a:cubicBezTo>
                    <a:pt x="473" y="249"/>
                    <a:pt x="473" y="249"/>
                    <a:pt x="473" y="249"/>
                  </a:cubicBezTo>
                  <a:cubicBezTo>
                    <a:pt x="502" y="266"/>
                    <a:pt x="502" y="266"/>
                    <a:pt x="502" y="266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5" name="iśḷíḋe">
              <a:extLst>
                <a:ext uri="{FF2B5EF4-FFF2-40B4-BE49-F238E27FC236}">
                  <a16:creationId xmlns:a16="http://schemas.microsoft.com/office/drawing/2014/main" xmlns="" id="{81DE0DA3-0E6C-4146-AD25-1C9C8F9DCE84}"/>
                </a:ext>
              </a:extLst>
            </p:cNvPr>
            <p:cNvSpPr/>
            <p:nvPr userDrawn="1"/>
          </p:nvSpPr>
          <p:spPr bwMode="auto">
            <a:xfrm>
              <a:off x="4305301" y="4397376"/>
              <a:ext cx="69850" cy="123825"/>
            </a:xfrm>
            <a:custGeom>
              <a:avLst/>
              <a:gdLst>
                <a:gd name="T0" fmla="*/ 14 w 21"/>
                <a:gd name="T1" fmla="*/ 0 h 38"/>
                <a:gd name="T2" fmla="*/ 0 w 21"/>
                <a:gd name="T3" fmla="*/ 18 h 38"/>
                <a:gd name="T4" fmla="*/ 14 w 21"/>
                <a:gd name="T5" fmla="*/ 38 h 38"/>
                <a:gd name="T6" fmla="*/ 20 w 21"/>
                <a:gd name="T7" fmla="*/ 34 h 38"/>
                <a:gd name="T8" fmla="*/ 9 w 21"/>
                <a:gd name="T9" fmla="*/ 18 h 38"/>
                <a:gd name="T10" fmla="*/ 21 w 21"/>
                <a:gd name="T11" fmla="*/ 3 h 38"/>
                <a:gd name="T12" fmla="*/ 14 w 21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8">
                  <a:moveTo>
                    <a:pt x="14" y="0"/>
                  </a:moveTo>
                  <a:cubicBezTo>
                    <a:pt x="6" y="5"/>
                    <a:pt x="1" y="11"/>
                    <a:pt x="0" y="18"/>
                  </a:cubicBezTo>
                  <a:cubicBezTo>
                    <a:pt x="0" y="26"/>
                    <a:pt x="5" y="33"/>
                    <a:pt x="14" y="38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3" y="30"/>
                    <a:pt x="9" y="24"/>
                    <a:pt x="9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6" name="îŝḷíḍe">
              <a:extLst>
                <a:ext uri="{FF2B5EF4-FFF2-40B4-BE49-F238E27FC236}">
                  <a16:creationId xmlns:a16="http://schemas.microsoft.com/office/drawing/2014/main" xmlns="" id="{EC2A529E-14B0-4933-907F-298E6BA67E47}"/>
                </a:ext>
              </a:extLst>
            </p:cNvPr>
            <p:cNvSpPr/>
            <p:nvPr userDrawn="1"/>
          </p:nvSpPr>
          <p:spPr bwMode="auto">
            <a:xfrm>
              <a:off x="4335463" y="4386263"/>
              <a:ext cx="250825" cy="146050"/>
            </a:xfrm>
            <a:custGeom>
              <a:avLst/>
              <a:gdLst>
                <a:gd name="T0" fmla="*/ 76 w 76"/>
                <a:gd name="T1" fmla="*/ 22 h 44"/>
                <a:gd name="T2" fmla="*/ 65 w 76"/>
                <a:gd name="T3" fmla="*/ 6 h 44"/>
                <a:gd name="T4" fmla="*/ 38 w 76"/>
                <a:gd name="T5" fmla="*/ 0 h 44"/>
                <a:gd name="T6" fmla="*/ 12 w 76"/>
                <a:gd name="T7" fmla="*/ 6 h 44"/>
                <a:gd name="T8" fmla="*/ 0 w 76"/>
                <a:gd name="T9" fmla="*/ 21 h 44"/>
                <a:gd name="T10" fmla="*/ 11 w 76"/>
                <a:gd name="T11" fmla="*/ 37 h 44"/>
                <a:gd name="T12" fmla="*/ 38 w 76"/>
                <a:gd name="T13" fmla="*/ 44 h 44"/>
                <a:gd name="T14" fmla="*/ 65 w 76"/>
                <a:gd name="T15" fmla="*/ 37 h 44"/>
                <a:gd name="T16" fmla="*/ 76 w 76"/>
                <a:gd name="T17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76" y="22"/>
                  </a:moveTo>
                  <a:cubicBezTo>
                    <a:pt x="76" y="16"/>
                    <a:pt x="72" y="11"/>
                    <a:pt x="65" y="6"/>
                  </a:cubicBezTo>
                  <a:cubicBezTo>
                    <a:pt x="58" y="2"/>
                    <a:pt x="48" y="0"/>
                    <a:pt x="38" y="0"/>
                  </a:cubicBezTo>
                  <a:cubicBezTo>
                    <a:pt x="28" y="0"/>
                    <a:pt x="19" y="2"/>
                    <a:pt x="12" y="6"/>
                  </a:cubicBezTo>
                  <a:cubicBezTo>
                    <a:pt x="5" y="10"/>
                    <a:pt x="1" y="16"/>
                    <a:pt x="0" y="21"/>
                  </a:cubicBezTo>
                  <a:cubicBezTo>
                    <a:pt x="0" y="27"/>
                    <a:pt x="4" y="33"/>
                    <a:pt x="11" y="37"/>
                  </a:cubicBezTo>
                  <a:cubicBezTo>
                    <a:pt x="18" y="41"/>
                    <a:pt x="28" y="44"/>
                    <a:pt x="38" y="44"/>
                  </a:cubicBezTo>
                  <a:cubicBezTo>
                    <a:pt x="48" y="44"/>
                    <a:pt x="58" y="41"/>
                    <a:pt x="65" y="37"/>
                  </a:cubicBezTo>
                  <a:cubicBezTo>
                    <a:pt x="72" y="33"/>
                    <a:pt x="76" y="28"/>
                    <a:pt x="76" y="22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7" name="ïs1îḋé">
              <a:extLst>
                <a:ext uri="{FF2B5EF4-FFF2-40B4-BE49-F238E27FC236}">
                  <a16:creationId xmlns:a16="http://schemas.microsoft.com/office/drawing/2014/main" xmlns="" id="{FCC23407-1ED4-4625-8E76-B3F834FEC9C9}"/>
                </a:ext>
              </a:extLst>
            </p:cNvPr>
            <p:cNvSpPr/>
            <p:nvPr userDrawn="1"/>
          </p:nvSpPr>
          <p:spPr bwMode="auto">
            <a:xfrm>
              <a:off x="3463926" y="4178301"/>
              <a:ext cx="785813" cy="452438"/>
            </a:xfrm>
            <a:custGeom>
              <a:avLst/>
              <a:gdLst>
                <a:gd name="T0" fmla="*/ 0 w 495"/>
                <a:gd name="T1" fmla="*/ 277 h 285"/>
                <a:gd name="T2" fmla="*/ 17 w 495"/>
                <a:gd name="T3" fmla="*/ 285 h 285"/>
                <a:gd name="T4" fmla="*/ 495 w 495"/>
                <a:gd name="T5" fmla="*/ 9 h 285"/>
                <a:gd name="T6" fmla="*/ 478 w 495"/>
                <a:gd name="T7" fmla="*/ 0 h 285"/>
                <a:gd name="T8" fmla="*/ 0 w 495"/>
                <a:gd name="T9" fmla="*/ 27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5">
                  <a:moveTo>
                    <a:pt x="0" y="277"/>
                  </a:moveTo>
                  <a:lnTo>
                    <a:pt x="17" y="285"/>
                  </a:lnTo>
                  <a:lnTo>
                    <a:pt x="495" y="9"/>
                  </a:lnTo>
                  <a:lnTo>
                    <a:pt x="478" y="0"/>
                  </a:lnTo>
                  <a:lnTo>
                    <a:pt x="0" y="27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8" name="íṣľídè">
              <a:extLst>
                <a:ext uri="{FF2B5EF4-FFF2-40B4-BE49-F238E27FC236}">
                  <a16:creationId xmlns:a16="http://schemas.microsoft.com/office/drawing/2014/main" xmlns="" id="{63A32006-0D08-44E3-8FD4-CDDC6905F07C}"/>
                </a:ext>
              </a:extLst>
            </p:cNvPr>
            <p:cNvSpPr/>
            <p:nvPr userDrawn="1"/>
          </p:nvSpPr>
          <p:spPr bwMode="auto">
            <a:xfrm>
              <a:off x="3794126" y="4689476"/>
              <a:ext cx="311150" cy="155575"/>
            </a:xfrm>
            <a:custGeom>
              <a:avLst/>
              <a:gdLst>
                <a:gd name="T0" fmla="*/ 14 w 94"/>
                <a:gd name="T1" fmla="*/ 0 h 47"/>
                <a:gd name="T2" fmla="*/ 0 w 94"/>
                <a:gd name="T3" fmla="*/ 19 h 47"/>
                <a:gd name="T4" fmla="*/ 14 w 94"/>
                <a:gd name="T5" fmla="*/ 39 h 47"/>
                <a:gd name="T6" fmla="*/ 47 w 94"/>
                <a:gd name="T7" fmla="*/ 47 h 47"/>
                <a:gd name="T8" fmla="*/ 80 w 94"/>
                <a:gd name="T9" fmla="*/ 39 h 47"/>
                <a:gd name="T10" fmla="*/ 93 w 94"/>
                <a:gd name="T11" fmla="*/ 20 h 47"/>
                <a:gd name="T12" fmla="*/ 80 w 94"/>
                <a:gd name="T13" fmla="*/ 0 h 47"/>
                <a:gd name="T14" fmla="*/ 74 w 94"/>
                <a:gd name="T15" fmla="*/ 4 h 47"/>
                <a:gd name="T16" fmla="*/ 85 w 94"/>
                <a:gd name="T17" fmla="*/ 20 h 47"/>
                <a:gd name="T18" fmla="*/ 73 w 94"/>
                <a:gd name="T19" fmla="*/ 35 h 47"/>
                <a:gd name="T20" fmla="*/ 47 w 94"/>
                <a:gd name="T21" fmla="*/ 41 h 47"/>
                <a:gd name="T22" fmla="*/ 20 w 94"/>
                <a:gd name="T23" fmla="*/ 35 h 47"/>
                <a:gd name="T24" fmla="*/ 9 w 94"/>
                <a:gd name="T25" fmla="*/ 19 h 47"/>
                <a:gd name="T26" fmla="*/ 20 w 94"/>
                <a:gd name="T27" fmla="*/ 4 h 47"/>
                <a:gd name="T28" fmla="*/ 14 w 94"/>
                <a:gd name="T2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47">
                  <a:moveTo>
                    <a:pt x="14" y="0"/>
                  </a:moveTo>
                  <a:cubicBezTo>
                    <a:pt x="5" y="5"/>
                    <a:pt x="1" y="12"/>
                    <a:pt x="0" y="19"/>
                  </a:cubicBezTo>
                  <a:cubicBezTo>
                    <a:pt x="0" y="26"/>
                    <a:pt x="5" y="33"/>
                    <a:pt x="14" y="39"/>
                  </a:cubicBezTo>
                  <a:cubicBezTo>
                    <a:pt x="22" y="44"/>
                    <a:pt x="34" y="47"/>
                    <a:pt x="47" y="47"/>
                  </a:cubicBezTo>
                  <a:cubicBezTo>
                    <a:pt x="59" y="47"/>
                    <a:pt x="71" y="44"/>
                    <a:pt x="80" y="39"/>
                  </a:cubicBezTo>
                  <a:cubicBezTo>
                    <a:pt x="89" y="34"/>
                    <a:pt x="93" y="27"/>
                    <a:pt x="93" y="20"/>
                  </a:cubicBezTo>
                  <a:cubicBezTo>
                    <a:pt x="94" y="12"/>
                    <a:pt x="89" y="6"/>
                    <a:pt x="80" y="0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81" y="8"/>
                    <a:pt x="85" y="14"/>
                    <a:pt x="85" y="20"/>
                  </a:cubicBezTo>
                  <a:cubicBezTo>
                    <a:pt x="85" y="25"/>
                    <a:pt x="81" y="31"/>
                    <a:pt x="73" y="35"/>
                  </a:cubicBezTo>
                  <a:cubicBezTo>
                    <a:pt x="66" y="39"/>
                    <a:pt x="57" y="41"/>
                    <a:pt x="47" y="41"/>
                  </a:cubicBezTo>
                  <a:cubicBezTo>
                    <a:pt x="37" y="41"/>
                    <a:pt x="27" y="39"/>
                    <a:pt x="20" y="35"/>
                  </a:cubicBezTo>
                  <a:cubicBezTo>
                    <a:pt x="13" y="31"/>
                    <a:pt x="9" y="25"/>
                    <a:pt x="9" y="19"/>
                  </a:cubicBezTo>
                  <a:cubicBezTo>
                    <a:pt x="9" y="13"/>
                    <a:pt x="13" y="8"/>
                    <a:pt x="20" y="4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9" name="iṥļïḑé">
              <a:extLst>
                <a:ext uri="{FF2B5EF4-FFF2-40B4-BE49-F238E27FC236}">
                  <a16:creationId xmlns:a16="http://schemas.microsoft.com/office/drawing/2014/main" xmlns="" id="{7F73889B-AA51-481B-9E5D-C9D4711D69E8}"/>
                </a:ext>
              </a:extLst>
            </p:cNvPr>
            <p:cNvSpPr/>
            <p:nvPr userDrawn="1"/>
          </p:nvSpPr>
          <p:spPr bwMode="auto">
            <a:xfrm>
              <a:off x="4797426" y="4735513"/>
              <a:ext cx="260350" cy="149225"/>
            </a:xfrm>
            <a:custGeom>
              <a:avLst/>
              <a:gdLst>
                <a:gd name="T0" fmla="*/ 0 w 164"/>
                <a:gd name="T1" fmla="*/ 25 h 94"/>
                <a:gd name="T2" fmla="*/ 119 w 164"/>
                <a:gd name="T3" fmla="*/ 94 h 94"/>
                <a:gd name="T4" fmla="*/ 164 w 164"/>
                <a:gd name="T5" fmla="*/ 69 h 94"/>
                <a:gd name="T6" fmla="*/ 46 w 164"/>
                <a:gd name="T7" fmla="*/ 0 h 94"/>
                <a:gd name="T8" fmla="*/ 0 w 164"/>
                <a:gd name="T9" fmla="*/ 2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94">
                  <a:moveTo>
                    <a:pt x="0" y="25"/>
                  </a:moveTo>
                  <a:lnTo>
                    <a:pt x="119" y="94"/>
                  </a:lnTo>
                  <a:lnTo>
                    <a:pt x="164" y="69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0" name="işḷîḓê">
              <a:extLst>
                <a:ext uri="{FF2B5EF4-FFF2-40B4-BE49-F238E27FC236}">
                  <a16:creationId xmlns:a16="http://schemas.microsoft.com/office/drawing/2014/main" xmlns="" id="{5F3BC170-5A72-429C-B806-25DABDE06CC3}"/>
                </a:ext>
              </a:extLst>
            </p:cNvPr>
            <p:cNvSpPr/>
            <p:nvPr userDrawn="1"/>
          </p:nvSpPr>
          <p:spPr bwMode="auto">
            <a:xfrm>
              <a:off x="4005263" y="4492626"/>
              <a:ext cx="785813" cy="450850"/>
            </a:xfrm>
            <a:custGeom>
              <a:avLst/>
              <a:gdLst>
                <a:gd name="T0" fmla="*/ 0 w 495"/>
                <a:gd name="T1" fmla="*/ 276 h 284"/>
                <a:gd name="T2" fmla="*/ 17 w 495"/>
                <a:gd name="T3" fmla="*/ 284 h 284"/>
                <a:gd name="T4" fmla="*/ 495 w 495"/>
                <a:gd name="T5" fmla="*/ 10 h 284"/>
                <a:gd name="T6" fmla="*/ 478 w 495"/>
                <a:gd name="T7" fmla="*/ 0 h 284"/>
                <a:gd name="T8" fmla="*/ 0 w 495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6"/>
                  </a:moveTo>
                  <a:lnTo>
                    <a:pt x="17" y="284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1" name="íṣ1íḓe">
              <a:extLst>
                <a:ext uri="{FF2B5EF4-FFF2-40B4-BE49-F238E27FC236}">
                  <a16:creationId xmlns:a16="http://schemas.microsoft.com/office/drawing/2014/main" xmlns="" id="{3D8AFF30-E7EC-482D-8697-D629F18C7671}"/>
                </a:ext>
              </a:extLst>
            </p:cNvPr>
            <p:cNvSpPr/>
            <p:nvPr userDrawn="1"/>
          </p:nvSpPr>
          <p:spPr bwMode="auto">
            <a:xfrm>
              <a:off x="4203701" y="3414713"/>
              <a:ext cx="1122363" cy="800100"/>
            </a:xfrm>
            <a:custGeom>
              <a:avLst/>
              <a:gdLst>
                <a:gd name="T0" fmla="*/ 82 w 340"/>
                <a:gd name="T1" fmla="*/ 0 h 243"/>
                <a:gd name="T2" fmla="*/ 0 w 340"/>
                <a:gd name="T3" fmla="*/ 45 h 243"/>
                <a:gd name="T4" fmla="*/ 32 w 340"/>
                <a:gd name="T5" fmla="*/ 79 h 243"/>
                <a:gd name="T6" fmla="*/ 18 w 340"/>
                <a:gd name="T7" fmla="*/ 102 h 243"/>
                <a:gd name="T8" fmla="*/ 340 w 340"/>
                <a:gd name="T9" fmla="*/ 243 h 243"/>
                <a:gd name="T10" fmla="*/ 89 w 340"/>
                <a:gd name="T11" fmla="*/ 98 h 243"/>
                <a:gd name="T12" fmla="*/ 83 w 340"/>
                <a:gd name="T13" fmla="*/ 87 h 243"/>
                <a:gd name="T14" fmla="*/ 82 w 340"/>
                <a:gd name="T1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0" h="243">
                  <a:moveTo>
                    <a:pt x="82" y="0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20" y="54"/>
                    <a:pt x="32" y="66"/>
                    <a:pt x="32" y="79"/>
                  </a:cubicBezTo>
                  <a:cubicBezTo>
                    <a:pt x="32" y="87"/>
                    <a:pt x="27" y="95"/>
                    <a:pt x="18" y="102"/>
                  </a:cubicBezTo>
                  <a:cubicBezTo>
                    <a:pt x="340" y="243"/>
                    <a:pt x="340" y="243"/>
                    <a:pt x="340" y="243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5" y="95"/>
                    <a:pt x="83" y="91"/>
                    <a:pt x="83" y="87"/>
                  </a:cubicBezTo>
                  <a:cubicBezTo>
                    <a:pt x="82" y="0"/>
                    <a:pt x="82" y="0"/>
                    <a:pt x="82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2" name="îṡľíḑè">
              <a:extLst>
                <a:ext uri="{FF2B5EF4-FFF2-40B4-BE49-F238E27FC236}">
                  <a16:creationId xmlns:a16="http://schemas.microsoft.com/office/drawing/2014/main" xmlns="" id="{7D2493B6-DBC9-47DF-9408-36FDA9D8138D}"/>
                </a:ext>
              </a:extLst>
            </p:cNvPr>
            <p:cNvSpPr/>
            <p:nvPr userDrawn="1"/>
          </p:nvSpPr>
          <p:spPr bwMode="auto">
            <a:xfrm>
              <a:off x="6292851" y="2686051"/>
              <a:ext cx="709613" cy="288925"/>
            </a:xfrm>
            <a:custGeom>
              <a:avLst/>
              <a:gdLst>
                <a:gd name="T0" fmla="*/ 107 w 215"/>
                <a:gd name="T1" fmla="*/ 0 h 88"/>
                <a:gd name="T2" fmla="*/ 0 w 215"/>
                <a:gd name="T3" fmla="*/ 44 h 88"/>
                <a:gd name="T4" fmla="*/ 0 w 215"/>
                <a:gd name="T5" fmla="*/ 49 h 88"/>
                <a:gd name="T6" fmla="*/ 60 w 215"/>
                <a:gd name="T7" fmla="*/ 83 h 88"/>
                <a:gd name="T8" fmla="*/ 107 w 215"/>
                <a:gd name="T9" fmla="*/ 88 h 88"/>
                <a:gd name="T10" fmla="*/ 215 w 215"/>
                <a:gd name="T11" fmla="*/ 44 h 88"/>
                <a:gd name="T12" fmla="*/ 107 w 215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88">
                  <a:moveTo>
                    <a:pt x="107" y="0"/>
                  </a:moveTo>
                  <a:cubicBezTo>
                    <a:pt x="48" y="0"/>
                    <a:pt x="0" y="19"/>
                    <a:pt x="0" y="44"/>
                  </a:cubicBezTo>
                  <a:cubicBezTo>
                    <a:pt x="0" y="45"/>
                    <a:pt x="0" y="47"/>
                    <a:pt x="0" y="49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74" y="86"/>
                    <a:pt x="90" y="88"/>
                    <a:pt x="107" y="88"/>
                  </a:cubicBezTo>
                  <a:cubicBezTo>
                    <a:pt x="166" y="88"/>
                    <a:pt x="215" y="68"/>
                    <a:pt x="215" y="44"/>
                  </a:cubicBezTo>
                  <a:cubicBezTo>
                    <a:pt x="215" y="19"/>
                    <a:pt x="166" y="0"/>
                    <a:pt x="107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3" name="íŝľiḓê">
              <a:extLst>
                <a:ext uri="{FF2B5EF4-FFF2-40B4-BE49-F238E27FC236}">
                  <a16:creationId xmlns:a16="http://schemas.microsoft.com/office/drawing/2014/main" xmlns="" id="{9623F3ED-1D46-4921-A021-3DD967C1D827}"/>
                </a:ext>
              </a:extLst>
            </p:cNvPr>
            <p:cNvSpPr/>
            <p:nvPr userDrawn="1"/>
          </p:nvSpPr>
          <p:spPr bwMode="auto">
            <a:xfrm>
              <a:off x="3506788" y="3509963"/>
              <a:ext cx="755650" cy="328613"/>
            </a:xfrm>
            <a:custGeom>
              <a:avLst/>
              <a:gdLst>
                <a:gd name="T0" fmla="*/ 122 w 229"/>
                <a:gd name="T1" fmla="*/ 0 h 100"/>
                <a:gd name="T2" fmla="*/ 0 w 229"/>
                <a:gd name="T3" fmla="*/ 50 h 100"/>
                <a:gd name="T4" fmla="*/ 122 w 229"/>
                <a:gd name="T5" fmla="*/ 100 h 100"/>
                <a:gd name="T6" fmla="*/ 229 w 229"/>
                <a:gd name="T7" fmla="*/ 73 h 100"/>
                <a:gd name="T8" fmla="*/ 161 w 229"/>
                <a:gd name="T9" fmla="*/ 44 h 100"/>
                <a:gd name="T10" fmla="*/ 211 w 229"/>
                <a:gd name="T11" fmla="*/ 16 h 100"/>
                <a:gd name="T12" fmla="*/ 122 w 229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0">
                  <a:moveTo>
                    <a:pt x="122" y="0"/>
                  </a:moveTo>
                  <a:cubicBezTo>
                    <a:pt x="54" y="0"/>
                    <a:pt x="0" y="22"/>
                    <a:pt x="0" y="50"/>
                  </a:cubicBezTo>
                  <a:cubicBezTo>
                    <a:pt x="0" y="77"/>
                    <a:pt x="54" y="100"/>
                    <a:pt x="122" y="100"/>
                  </a:cubicBezTo>
                  <a:cubicBezTo>
                    <a:pt x="168" y="100"/>
                    <a:pt x="208" y="89"/>
                    <a:pt x="229" y="73"/>
                  </a:cubicBezTo>
                  <a:cubicBezTo>
                    <a:pt x="161" y="44"/>
                    <a:pt x="161" y="44"/>
                    <a:pt x="161" y="44"/>
                  </a:cubicBezTo>
                  <a:cubicBezTo>
                    <a:pt x="211" y="16"/>
                    <a:pt x="211" y="16"/>
                    <a:pt x="211" y="16"/>
                  </a:cubicBezTo>
                  <a:cubicBezTo>
                    <a:pt x="189" y="6"/>
                    <a:pt x="157" y="0"/>
                    <a:pt x="122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4" name="íṧlíḋé">
              <a:extLst>
                <a:ext uri="{FF2B5EF4-FFF2-40B4-BE49-F238E27FC236}">
                  <a16:creationId xmlns:a16="http://schemas.microsoft.com/office/drawing/2014/main" xmlns="" id="{BB60FC64-3DFF-4280-8F77-D43BCBB7D392}"/>
                </a:ext>
              </a:extLst>
            </p:cNvPr>
            <p:cNvSpPr/>
            <p:nvPr userDrawn="1"/>
          </p:nvSpPr>
          <p:spPr bwMode="auto">
            <a:xfrm>
              <a:off x="4038601" y="3562351"/>
              <a:ext cx="269875" cy="187325"/>
            </a:xfrm>
            <a:custGeom>
              <a:avLst/>
              <a:gdLst>
                <a:gd name="T0" fmla="*/ 50 w 82"/>
                <a:gd name="T1" fmla="*/ 0 h 57"/>
                <a:gd name="T2" fmla="*/ 0 w 82"/>
                <a:gd name="T3" fmla="*/ 28 h 57"/>
                <a:gd name="T4" fmla="*/ 68 w 82"/>
                <a:gd name="T5" fmla="*/ 57 h 57"/>
                <a:gd name="T6" fmla="*/ 82 w 82"/>
                <a:gd name="T7" fmla="*/ 34 h 57"/>
                <a:gd name="T8" fmla="*/ 50 w 82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7">
                  <a:moveTo>
                    <a:pt x="5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77" y="50"/>
                    <a:pt x="82" y="42"/>
                    <a:pt x="82" y="34"/>
                  </a:cubicBezTo>
                  <a:cubicBezTo>
                    <a:pt x="82" y="21"/>
                    <a:pt x="70" y="9"/>
                    <a:pt x="50" y="0"/>
                  </a:cubicBezTo>
                </a:path>
              </a:pathLst>
            </a:custGeom>
            <a:solidFill>
              <a:srgbClr val="8A9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5" name="íš1iḍè">
              <a:extLst>
                <a:ext uri="{FF2B5EF4-FFF2-40B4-BE49-F238E27FC236}">
                  <a16:creationId xmlns:a16="http://schemas.microsoft.com/office/drawing/2014/main" xmlns="" id="{1B4491D7-3B90-48BB-9431-BBFD0356A655}"/>
                </a:ext>
              </a:extLst>
            </p:cNvPr>
            <p:cNvSpPr/>
            <p:nvPr userDrawn="1"/>
          </p:nvSpPr>
          <p:spPr bwMode="auto">
            <a:xfrm>
              <a:off x="3797301" y="3136901"/>
              <a:ext cx="495300" cy="673100"/>
            </a:xfrm>
            <a:custGeom>
              <a:avLst/>
              <a:gdLst>
                <a:gd name="T0" fmla="*/ 99 w 150"/>
                <a:gd name="T1" fmla="*/ 0 h 204"/>
                <a:gd name="T2" fmla="*/ 0 w 150"/>
                <a:gd name="T3" fmla="*/ 33 h 204"/>
                <a:gd name="T4" fmla="*/ 0 w 150"/>
                <a:gd name="T5" fmla="*/ 158 h 204"/>
                <a:gd name="T6" fmla="*/ 75 w 150"/>
                <a:gd name="T7" fmla="*/ 204 h 204"/>
                <a:gd name="T8" fmla="*/ 150 w 150"/>
                <a:gd name="T9" fmla="*/ 158 h 204"/>
                <a:gd name="T10" fmla="*/ 150 w 150"/>
                <a:gd name="T11" fmla="*/ 33 h 204"/>
                <a:gd name="T12" fmla="*/ 99 w 150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4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3" y="204"/>
                    <a:pt x="75" y="204"/>
                  </a:cubicBezTo>
                  <a:cubicBezTo>
                    <a:pt x="116" y="204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6" name="i$lídé">
              <a:extLst>
                <a:ext uri="{FF2B5EF4-FFF2-40B4-BE49-F238E27FC236}">
                  <a16:creationId xmlns:a16="http://schemas.microsoft.com/office/drawing/2014/main" xmlns="" id="{A9B392BA-2528-4BCC-AC66-43D4FD2D4AB6}"/>
                </a:ext>
              </a:extLst>
            </p:cNvPr>
            <p:cNvSpPr/>
            <p:nvPr userDrawn="1"/>
          </p:nvSpPr>
          <p:spPr bwMode="auto">
            <a:xfrm>
              <a:off x="3797301" y="3097213"/>
              <a:ext cx="495300" cy="300038"/>
            </a:xfrm>
            <a:prstGeom prst="ellipse">
              <a:avLst/>
            </a:prstGeom>
            <a:solidFill>
              <a:srgbClr val="D3B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7" name="îsḻíḓé">
              <a:extLst>
                <a:ext uri="{FF2B5EF4-FFF2-40B4-BE49-F238E27FC236}">
                  <a16:creationId xmlns:a16="http://schemas.microsoft.com/office/drawing/2014/main" xmlns="" id="{811018FC-5E39-4724-9606-BB45B26430E5}"/>
                </a:ext>
              </a:extLst>
            </p:cNvPr>
            <p:cNvSpPr/>
            <p:nvPr userDrawn="1"/>
          </p:nvSpPr>
          <p:spPr bwMode="auto">
            <a:xfrm>
              <a:off x="3827463" y="3167063"/>
              <a:ext cx="431800" cy="230188"/>
            </a:xfrm>
            <a:custGeom>
              <a:avLst/>
              <a:gdLst>
                <a:gd name="T0" fmla="*/ 2 w 131"/>
                <a:gd name="T1" fmla="*/ 48 h 70"/>
                <a:gd name="T2" fmla="*/ 66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6 w 131"/>
                <a:gd name="T9" fmla="*/ 0 h 70"/>
                <a:gd name="T10" fmla="*/ 0 w 131"/>
                <a:gd name="T11" fmla="*/ 40 h 70"/>
                <a:gd name="T12" fmla="*/ 2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2" y="48"/>
                  </a:moveTo>
                  <a:cubicBezTo>
                    <a:pt x="15" y="61"/>
                    <a:pt x="39" y="70"/>
                    <a:pt x="66" y="70"/>
                  </a:cubicBezTo>
                  <a:cubicBezTo>
                    <a:pt x="93" y="70"/>
                    <a:pt x="116" y="61"/>
                    <a:pt x="129" y="48"/>
                  </a:cubicBezTo>
                  <a:cubicBezTo>
                    <a:pt x="130" y="46"/>
                    <a:pt x="131" y="43"/>
                    <a:pt x="131" y="40"/>
                  </a:cubicBezTo>
                  <a:cubicBezTo>
                    <a:pt x="131" y="18"/>
                    <a:pt x="102" y="0"/>
                    <a:pt x="66" y="0"/>
                  </a:cubicBezTo>
                  <a:cubicBezTo>
                    <a:pt x="30" y="0"/>
                    <a:pt x="0" y="18"/>
                    <a:pt x="0" y="40"/>
                  </a:cubicBezTo>
                  <a:cubicBezTo>
                    <a:pt x="0" y="43"/>
                    <a:pt x="1" y="46"/>
                    <a:pt x="2" y="48"/>
                  </a:cubicBezTo>
                  <a:close/>
                </a:path>
              </a:pathLst>
            </a:custGeom>
            <a:solidFill>
              <a:srgbClr val="752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8" name="ïŝḻiḍê">
              <a:extLst>
                <a:ext uri="{FF2B5EF4-FFF2-40B4-BE49-F238E27FC236}">
                  <a16:creationId xmlns:a16="http://schemas.microsoft.com/office/drawing/2014/main" xmlns="" id="{CA2CAE5C-C931-4F31-95B1-71FA370965C9}"/>
                </a:ext>
              </a:extLst>
            </p:cNvPr>
            <p:cNvSpPr/>
            <p:nvPr userDrawn="1"/>
          </p:nvSpPr>
          <p:spPr bwMode="auto">
            <a:xfrm>
              <a:off x="3797301" y="3097213"/>
              <a:ext cx="495300" cy="300038"/>
            </a:xfrm>
            <a:custGeom>
              <a:avLst/>
              <a:gdLst>
                <a:gd name="T0" fmla="*/ 75 w 150"/>
                <a:gd name="T1" fmla="*/ 5 h 91"/>
                <a:gd name="T2" fmla="*/ 144 w 150"/>
                <a:gd name="T3" fmla="*/ 45 h 91"/>
                <a:gd name="T4" fmla="*/ 75 w 150"/>
                <a:gd name="T5" fmla="*/ 86 h 91"/>
                <a:gd name="T6" fmla="*/ 5 w 150"/>
                <a:gd name="T7" fmla="*/ 45 h 91"/>
                <a:gd name="T8" fmla="*/ 75 w 150"/>
                <a:gd name="T9" fmla="*/ 5 h 91"/>
                <a:gd name="T10" fmla="*/ 75 w 150"/>
                <a:gd name="T11" fmla="*/ 0 h 91"/>
                <a:gd name="T12" fmla="*/ 0 w 150"/>
                <a:gd name="T13" fmla="*/ 45 h 91"/>
                <a:gd name="T14" fmla="*/ 75 w 150"/>
                <a:gd name="T15" fmla="*/ 91 h 91"/>
                <a:gd name="T16" fmla="*/ 150 w 150"/>
                <a:gd name="T17" fmla="*/ 45 h 91"/>
                <a:gd name="T18" fmla="*/ 75 w 15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1">
                  <a:moveTo>
                    <a:pt x="75" y="5"/>
                  </a:moveTo>
                  <a:cubicBezTo>
                    <a:pt x="112" y="5"/>
                    <a:pt x="144" y="23"/>
                    <a:pt x="144" y="45"/>
                  </a:cubicBezTo>
                  <a:cubicBezTo>
                    <a:pt x="144" y="67"/>
                    <a:pt x="112" y="86"/>
                    <a:pt x="75" y="86"/>
                  </a:cubicBezTo>
                  <a:cubicBezTo>
                    <a:pt x="37" y="86"/>
                    <a:pt x="5" y="67"/>
                    <a:pt x="5" y="45"/>
                  </a:cubicBezTo>
                  <a:cubicBezTo>
                    <a:pt x="5" y="23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3" y="0"/>
                    <a:pt x="0" y="20"/>
                    <a:pt x="0" y="45"/>
                  </a:cubicBezTo>
                  <a:cubicBezTo>
                    <a:pt x="0" y="71"/>
                    <a:pt x="33" y="91"/>
                    <a:pt x="75" y="91"/>
                  </a:cubicBezTo>
                  <a:cubicBezTo>
                    <a:pt x="116" y="91"/>
                    <a:pt x="150" y="71"/>
                    <a:pt x="150" y="45"/>
                  </a:cubicBezTo>
                  <a:cubicBezTo>
                    <a:pt x="150" y="20"/>
                    <a:pt x="116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9" name="išlïde">
              <a:extLst>
                <a:ext uri="{FF2B5EF4-FFF2-40B4-BE49-F238E27FC236}">
                  <a16:creationId xmlns:a16="http://schemas.microsoft.com/office/drawing/2014/main" xmlns="" id="{465FA3CF-C40B-4F99-BD24-3E92A029220D}"/>
                </a:ext>
              </a:extLst>
            </p:cNvPr>
            <p:cNvSpPr/>
            <p:nvPr userDrawn="1"/>
          </p:nvSpPr>
          <p:spPr bwMode="auto">
            <a:xfrm>
              <a:off x="3929063" y="2552701"/>
              <a:ext cx="323850" cy="657225"/>
            </a:xfrm>
            <a:custGeom>
              <a:avLst/>
              <a:gdLst>
                <a:gd name="T0" fmla="*/ 98 w 98"/>
                <a:gd name="T1" fmla="*/ 0 h 199"/>
                <a:gd name="T2" fmla="*/ 92 w 98"/>
                <a:gd name="T3" fmla="*/ 43 h 199"/>
                <a:gd name="T4" fmla="*/ 92 w 98"/>
                <a:gd name="T5" fmla="*/ 93 h 199"/>
                <a:gd name="T6" fmla="*/ 87 w 98"/>
                <a:gd name="T7" fmla="*/ 149 h 199"/>
                <a:gd name="T8" fmla="*/ 54 w 98"/>
                <a:gd name="T9" fmla="*/ 193 h 199"/>
                <a:gd name="T10" fmla="*/ 27 w 98"/>
                <a:gd name="T11" fmla="*/ 194 h 199"/>
                <a:gd name="T12" fmla="*/ 19 w 98"/>
                <a:gd name="T13" fmla="*/ 185 h 199"/>
                <a:gd name="T14" fmla="*/ 31 w 98"/>
                <a:gd name="T15" fmla="*/ 86 h 199"/>
                <a:gd name="T16" fmla="*/ 98 w 98"/>
                <a:gd name="T17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199">
                  <a:moveTo>
                    <a:pt x="98" y="0"/>
                  </a:moveTo>
                  <a:cubicBezTo>
                    <a:pt x="92" y="13"/>
                    <a:pt x="92" y="29"/>
                    <a:pt x="92" y="43"/>
                  </a:cubicBezTo>
                  <a:cubicBezTo>
                    <a:pt x="92" y="60"/>
                    <a:pt x="92" y="76"/>
                    <a:pt x="92" y="93"/>
                  </a:cubicBezTo>
                  <a:cubicBezTo>
                    <a:pt x="92" y="112"/>
                    <a:pt x="92" y="131"/>
                    <a:pt x="87" y="149"/>
                  </a:cubicBezTo>
                  <a:cubicBezTo>
                    <a:pt x="82" y="167"/>
                    <a:pt x="71" y="185"/>
                    <a:pt x="54" y="193"/>
                  </a:cubicBezTo>
                  <a:cubicBezTo>
                    <a:pt x="46" y="197"/>
                    <a:pt x="35" y="199"/>
                    <a:pt x="27" y="194"/>
                  </a:cubicBezTo>
                  <a:cubicBezTo>
                    <a:pt x="24" y="192"/>
                    <a:pt x="21" y="188"/>
                    <a:pt x="19" y="185"/>
                  </a:cubicBezTo>
                  <a:cubicBezTo>
                    <a:pt x="0" y="155"/>
                    <a:pt x="17" y="115"/>
                    <a:pt x="31" y="86"/>
                  </a:cubicBezTo>
                  <a:cubicBezTo>
                    <a:pt x="47" y="53"/>
                    <a:pt x="70" y="23"/>
                    <a:pt x="98" y="0"/>
                  </a:cubicBezTo>
                  <a:close/>
                </a:path>
              </a:pathLst>
            </a:custGeom>
            <a:solidFill>
              <a:srgbClr val="1A68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0" name="îşlíďê">
              <a:extLst>
                <a:ext uri="{FF2B5EF4-FFF2-40B4-BE49-F238E27FC236}">
                  <a16:creationId xmlns:a16="http://schemas.microsoft.com/office/drawing/2014/main" xmlns="" id="{4D057915-B6B5-4AD7-B809-5C810F9CD216}"/>
                </a:ext>
              </a:extLst>
            </p:cNvPr>
            <p:cNvSpPr/>
            <p:nvPr userDrawn="1"/>
          </p:nvSpPr>
          <p:spPr bwMode="auto">
            <a:xfrm>
              <a:off x="3729038" y="2322513"/>
              <a:ext cx="646113" cy="1049338"/>
            </a:xfrm>
            <a:custGeom>
              <a:avLst/>
              <a:gdLst>
                <a:gd name="T0" fmla="*/ 17 w 196"/>
                <a:gd name="T1" fmla="*/ 206 h 318"/>
                <a:gd name="T2" fmla="*/ 0 w 196"/>
                <a:gd name="T3" fmla="*/ 21 h 318"/>
                <a:gd name="T4" fmla="*/ 55 w 196"/>
                <a:gd name="T5" fmla="*/ 203 h 318"/>
                <a:gd name="T6" fmla="*/ 82 w 196"/>
                <a:gd name="T7" fmla="*/ 72 h 318"/>
                <a:gd name="T8" fmla="*/ 95 w 196"/>
                <a:gd name="T9" fmla="*/ 0 h 318"/>
                <a:gd name="T10" fmla="*/ 110 w 196"/>
                <a:gd name="T11" fmla="*/ 72 h 318"/>
                <a:gd name="T12" fmla="*/ 117 w 196"/>
                <a:gd name="T13" fmla="*/ 122 h 318"/>
                <a:gd name="T14" fmla="*/ 121 w 196"/>
                <a:gd name="T15" fmla="*/ 195 h 318"/>
                <a:gd name="T16" fmla="*/ 196 w 196"/>
                <a:gd name="T17" fmla="*/ 49 h 318"/>
                <a:gd name="T18" fmla="*/ 165 w 196"/>
                <a:gd name="T19" fmla="*/ 247 h 318"/>
                <a:gd name="T20" fmla="*/ 69 w 196"/>
                <a:gd name="T21" fmla="*/ 308 h 318"/>
                <a:gd name="T22" fmla="*/ 17 w 196"/>
                <a:gd name="T23" fmla="*/ 206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318">
                  <a:moveTo>
                    <a:pt x="17" y="206"/>
                  </a:moveTo>
                  <a:cubicBezTo>
                    <a:pt x="12" y="144"/>
                    <a:pt x="15" y="81"/>
                    <a:pt x="0" y="21"/>
                  </a:cubicBezTo>
                  <a:cubicBezTo>
                    <a:pt x="42" y="71"/>
                    <a:pt x="62" y="139"/>
                    <a:pt x="55" y="203"/>
                  </a:cubicBezTo>
                  <a:cubicBezTo>
                    <a:pt x="69" y="161"/>
                    <a:pt x="82" y="117"/>
                    <a:pt x="82" y="72"/>
                  </a:cubicBezTo>
                  <a:cubicBezTo>
                    <a:pt x="82" y="51"/>
                    <a:pt x="95" y="0"/>
                    <a:pt x="95" y="0"/>
                  </a:cubicBezTo>
                  <a:cubicBezTo>
                    <a:pt x="95" y="0"/>
                    <a:pt x="103" y="48"/>
                    <a:pt x="110" y="72"/>
                  </a:cubicBezTo>
                  <a:cubicBezTo>
                    <a:pt x="115" y="88"/>
                    <a:pt x="116" y="105"/>
                    <a:pt x="117" y="122"/>
                  </a:cubicBezTo>
                  <a:cubicBezTo>
                    <a:pt x="118" y="146"/>
                    <a:pt x="120" y="171"/>
                    <a:pt x="121" y="195"/>
                  </a:cubicBezTo>
                  <a:cubicBezTo>
                    <a:pt x="142" y="134"/>
                    <a:pt x="196" y="49"/>
                    <a:pt x="196" y="49"/>
                  </a:cubicBezTo>
                  <a:cubicBezTo>
                    <a:pt x="196" y="49"/>
                    <a:pt x="176" y="210"/>
                    <a:pt x="165" y="247"/>
                  </a:cubicBezTo>
                  <a:cubicBezTo>
                    <a:pt x="153" y="289"/>
                    <a:pt x="114" y="318"/>
                    <a:pt x="69" y="308"/>
                  </a:cubicBezTo>
                  <a:cubicBezTo>
                    <a:pt x="28" y="299"/>
                    <a:pt x="20" y="240"/>
                    <a:pt x="17" y="206"/>
                  </a:cubicBezTo>
                  <a:close/>
                </a:path>
              </a:pathLst>
            </a:custGeom>
            <a:solidFill>
              <a:srgbClr val="409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1" name="ïṣḻiḋè">
              <a:extLst>
                <a:ext uri="{FF2B5EF4-FFF2-40B4-BE49-F238E27FC236}">
                  <a16:creationId xmlns:a16="http://schemas.microsoft.com/office/drawing/2014/main" xmlns="" id="{05CE4722-457D-4F18-840C-9B759B73429B}"/>
                </a:ext>
              </a:extLst>
            </p:cNvPr>
            <p:cNvSpPr/>
            <p:nvPr userDrawn="1"/>
          </p:nvSpPr>
          <p:spPr bwMode="auto">
            <a:xfrm>
              <a:off x="3860801" y="2668588"/>
              <a:ext cx="266700" cy="692150"/>
            </a:xfrm>
            <a:custGeom>
              <a:avLst/>
              <a:gdLst>
                <a:gd name="T0" fmla="*/ 9 w 81"/>
                <a:gd name="T1" fmla="*/ 162 h 210"/>
                <a:gd name="T2" fmla="*/ 14 w 81"/>
                <a:gd name="T3" fmla="*/ 88 h 210"/>
                <a:gd name="T4" fmla="*/ 16 w 81"/>
                <a:gd name="T5" fmla="*/ 0 h 210"/>
                <a:gd name="T6" fmla="*/ 73 w 81"/>
                <a:gd name="T7" fmla="*/ 139 h 210"/>
                <a:gd name="T8" fmla="*/ 77 w 81"/>
                <a:gd name="T9" fmla="*/ 177 h 210"/>
                <a:gd name="T10" fmla="*/ 38 w 81"/>
                <a:gd name="T11" fmla="*/ 206 h 210"/>
                <a:gd name="T12" fmla="*/ 9 w 81"/>
                <a:gd name="T13" fmla="*/ 1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210">
                  <a:moveTo>
                    <a:pt x="9" y="162"/>
                  </a:moveTo>
                  <a:cubicBezTo>
                    <a:pt x="0" y="139"/>
                    <a:pt x="8" y="113"/>
                    <a:pt x="14" y="88"/>
                  </a:cubicBezTo>
                  <a:cubicBezTo>
                    <a:pt x="20" y="59"/>
                    <a:pt x="22" y="29"/>
                    <a:pt x="16" y="0"/>
                  </a:cubicBezTo>
                  <a:cubicBezTo>
                    <a:pt x="38" y="45"/>
                    <a:pt x="56" y="92"/>
                    <a:pt x="73" y="139"/>
                  </a:cubicBezTo>
                  <a:cubicBezTo>
                    <a:pt x="77" y="152"/>
                    <a:pt x="81" y="165"/>
                    <a:pt x="77" y="177"/>
                  </a:cubicBezTo>
                  <a:cubicBezTo>
                    <a:pt x="73" y="189"/>
                    <a:pt x="52" y="210"/>
                    <a:pt x="38" y="206"/>
                  </a:cubicBezTo>
                  <a:cubicBezTo>
                    <a:pt x="27" y="203"/>
                    <a:pt x="13" y="172"/>
                    <a:pt x="9" y="162"/>
                  </a:cubicBezTo>
                  <a:close/>
                </a:path>
              </a:pathLst>
            </a:custGeom>
            <a:solidFill>
              <a:srgbClr val="4EAF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2" name="iSļïḍé">
              <a:extLst>
                <a:ext uri="{FF2B5EF4-FFF2-40B4-BE49-F238E27FC236}">
                  <a16:creationId xmlns:a16="http://schemas.microsoft.com/office/drawing/2014/main" xmlns="" id="{88A53772-2CCB-4690-B001-5777E7F60AC5}"/>
                </a:ext>
              </a:extLst>
            </p:cNvPr>
            <p:cNvSpPr/>
            <p:nvPr userDrawn="1"/>
          </p:nvSpPr>
          <p:spPr bwMode="auto">
            <a:xfrm>
              <a:off x="6510338" y="2257426"/>
              <a:ext cx="495300" cy="668338"/>
            </a:xfrm>
            <a:custGeom>
              <a:avLst/>
              <a:gdLst>
                <a:gd name="T0" fmla="*/ 99 w 150"/>
                <a:gd name="T1" fmla="*/ 0 h 203"/>
                <a:gd name="T2" fmla="*/ 0 w 150"/>
                <a:gd name="T3" fmla="*/ 33 h 203"/>
                <a:gd name="T4" fmla="*/ 0 w 150"/>
                <a:gd name="T5" fmla="*/ 158 h 203"/>
                <a:gd name="T6" fmla="*/ 75 w 150"/>
                <a:gd name="T7" fmla="*/ 203 h 203"/>
                <a:gd name="T8" fmla="*/ 150 w 150"/>
                <a:gd name="T9" fmla="*/ 158 h 203"/>
                <a:gd name="T10" fmla="*/ 150 w 150"/>
                <a:gd name="T11" fmla="*/ 33 h 203"/>
                <a:gd name="T12" fmla="*/ 99 w 150"/>
                <a:gd name="T13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3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4" y="203"/>
                    <a:pt x="75" y="203"/>
                  </a:cubicBezTo>
                  <a:cubicBezTo>
                    <a:pt x="117" y="203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3" name="ïS1îḑé">
              <a:extLst>
                <a:ext uri="{FF2B5EF4-FFF2-40B4-BE49-F238E27FC236}">
                  <a16:creationId xmlns:a16="http://schemas.microsoft.com/office/drawing/2014/main" xmlns="" id="{69E1CDA3-7F90-47DA-A5AC-52F5C6DFB393}"/>
                </a:ext>
              </a:extLst>
            </p:cNvPr>
            <p:cNvSpPr/>
            <p:nvPr userDrawn="1"/>
          </p:nvSpPr>
          <p:spPr bwMode="auto">
            <a:xfrm>
              <a:off x="6510338" y="2214563"/>
              <a:ext cx="495300" cy="303213"/>
            </a:xfrm>
            <a:prstGeom prst="ellipse">
              <a:avLst/>
            </a:pr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4" name="ï$ľíďé">
              <a:extLst>
                <a:ext uri="{FF2B5EF4-FFF2-40B4-BE49-F238E27FC236}">
                  <a16:creationId xmlns:a16="http://schemas.microsoft.com/office/drawing/2014/main" xmlns="" id="{99F3CA07-0DF0-4A2F-87B0-4DB65D33483D}"/>
                </a:ext>
              </a:extLst>
            </p:cNvPr>
            <p:cNvSpPr/>
            <p:nvPr userDrawn="1"/>
          </p:nvSpPr>
          <p:spPr bwMode="auto">
            <a:xfrm>
              <a:off x="6543676" y="2286001"/>
              <a:ext cx="431800" cy="231775"/>
            </a:xfrm>
            <a:custGeom>
              <a:avLst/>
              <a:gdLst>
                <a:gd name="T0" fmla="*/ 1 w 131"/>
                <a:gd name="T1" fmla="*/ 48 h 70"/>
                <a:gd name="T2" fmla="*/ 65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5 w 131"/>
                <a:gd name="T9" fmla="*/ 0 h 70"/>
                <a:gd name="T10" fmla="*/ 0 w 131"/>
                <a:gd name="T11" fmla="*/ 40 h 70"/>
                <a:gd name="T12" fmla="*/ 1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1" y="48"/>
                  </a:moveTo>
                  <a:cubicBezTo>
                    <a:pt x="15" y="61"/>
                    <a:pt x="38" y="70"/>
                    <a:pt x="65" y="70"/>
                  </a:cubicBezTo>
                  <a:cubicBezTo>
                    <a:pt x="92" y="70"/>
                    <a:pt x="116" y="61"/>
                    <a:pt x="129" y="48"/>
                  </a:cubicBezTo>
                  <a:cubicBezTo>
                    <a:pt x="130" y="45"/>
                    <a:pt x="131" y="42"/>
                    <a:pt x="131" y="40"/>
                  </a:cubicBezTo>
                  <a:cubicBezTo>
                    <a:pt x="131" y="18"/>
                    <a:pt x="101" y="0"/>
                    <a:pt x="65" y="0"/>
                  </a:cubicBezTo>
                  <a:cubicBezTo>
                    <a:pt x="29" y="0"/>
                    <a:pt x="0" y="18"/>
                    <a:pt x="0" y="40"/>
                  </a:cubicBezTo>
                  <a:cubicBezTo>
                    <a:pt x="0" y="42"/>
                    <a:pt x="0" y="45"/>
                    <a:pt x="1" y="48"/>
                  </a:cubicBezTo>
                  <a:close/>
                </a:path>
              </a:pathLst>
            </a:custGeom>
            <a:solidFill>
              <a:srgbClr val="A04A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5" name="i$1íḓe">
              <a:extLst>
                <a:ext uri="{FF2B5EF4-FFF2-40B4-BE49-F238E27FC236}">
                  <a16:creationId xmlns:a16="http://schemas.microsoft.com/office/drawing/2014/main" xmlns="" id="{107782C0-7809-4D66-A104-935DF071D63D}"/>
                </a:ext>
              </a:extLst>
            </p:cNvPr>
            <p:cNvSpPr/>
            <p:nvPr userDrawn="1"/>
          </p:nvSpPr>
          <p:spPr bwMode="auto">
            <a:xfrm>
              <a:off x="6510338" y="2214563"/>
              <a:ext cx="495300" cy="303213"/>
            </a:xfrm>
            <a:custGeom>
              <a:avLst/>
              <a:gdLst>
                <a:gd name="T0" fmla="*/ 75 w 150"/>
                <a:gd name="T1" fmla="*/ 5 h 92"/>
                <a:gd name="T2" fmla="*/ 145 w 150"/>
                <a:gd name="T3" fmla="*/ 46 h 92"/>
                <a:gd name="T4" fmla="*/ 75 w 150"/>
                <a:gd name="T5" fmla="*/ 86 h 92"/>
                <a:gd name="T6" fmla="*/ 5 w 150"/>
                <a:gd name="T7" fmla="*/ 46 h 92"/>
                <a:gd name="T8" fmla="*/ 75 w 150"/>
                <a:gd name="T9" fmla="*/ 5 h 92"/>
                <a:gd name="T10" fmla="*/ 75 w 150"/>
                <a:gd name="T11" fmla="*/ 0 h 92"/>
                <a:gd name="T12" fmla="*/ 0 w 150"/>
                <a:gd name="T13" fmla="*/ 46 h 92"/>
                <a:gd name="T14" fmla="*/ 75 w 150"/>
                <a:gd name="T15" fmla="*/ 92 h 92"/>
                <a:gd name="T16" fmla="*/ 150 w 150"/>
                <a:gd name="T17" fmla="*/ 46 h 92"/>
                <a:gd name="T18" fmla="*/ 75 w 150"/>
                <a:gd name="T1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2">
                  <a:moveTo>
                    <a:pt x="75" y="5"/>
                  </a:moveTo>
                  <a:cubicBezTo>
                    <a:pt x="113" y="5"/>
                    <a:pt x="145" y="24"/>
                    <a:pt x="145" y="46"/>
                  </a:cubicBezTo>
                  <a:cubicBezTo>
                    <a:pt x="145" y="68"/>
                    <a:pt x="113" y="86"/>
                    <a:pt x="75" y="86"/>
                  </a:cubicBezTo>
                  <a:cubicBezTo>
                    <a:pt x="37" y="86"/>
                    <a:pt x="5" y="68"/>
                    <a:pt x="5" y="46"/>
                  </a:cubicBezTo>
                  <a:cubicBezTo>
                    <a:pt x="5" y="24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4" y="0"/>
                    <a:pt x="0" y="21"/>
                    <a:pt x="0" y="46"/>
                  </a:cubicBezTo>
                  <a:cubicBezTo>
                    <a:pt x="0" y="71"/>
                    <a:pt x="34" y="92"/>
                    <a:pt x="75" y="92"/>
                  </a:cubicBezTo>
                  <a:cubicBezTo>
                    <a:pt x="117" y="92"/>
                    <a:pt x="150" y="71"/>
                    <a:pt x="150" y="46"/>
                  </a:cubicBezTo>
                  <a:cubicBezTo>
                    <a:pt x="150" y="21"/>
                    <a:pt x="117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6" name="íśliḑe">
              <a:extLst>
                <a:ext uri="{FF2B5EF4-FFF2-40B4-BE49-F238E27FC236}">
                  <a16:creationId xmlns:a16="http://schemas.microsoft.com/office/drawing/2014/main" xmlns="" id="{45197CA9-EEB1-4076-A3F4-54E07CBB00D0}"/>
                </a:ext>
              </a:extLst>
            </p:cNvPr>
            <p:cNvSpPr/>
            <p:nvPr userDrawn="1"/>
          </p:nvSpPr>
          <p:spPr bwMode="auto">
            <a:xfrm>
              <a:off x="6919913" y="2527301"/>
              <a:ext cx="144463" cy="296863"/>
            </a:xfrm>
            <a:custGeom>
              <a:avLst/>
              <a:gdLst>
                <a:gd name="T0" fmla="*/ 12 w 44"/>
                <a:gd name="T1" fmla="*/ 0 h 90"/>
                <a:gd name="T2" fmla="*/ 11 w 44"/>
                <a:gd name="T3" fmla="*/ 0 h 90"/>
                <a:gd name="T4" fmla="*/ 11 w 44"/>
                <a:gd name="T5" fmla="*/ 1 h 90"/>
                <a:gd name="T6" fmla="*/ 10 w 44"/>
                <a:gd name="T7" fmla="*/ 1 h 90"/>
                <a:gd name="T8" fmla="*/ 10 w 44"/>
                <a:gd name="T9" fmla="*/ 1 h 90"/>
                <a:gd name="T10" fmla="*/ 9 w 44"/>
                <a:gd name="T11" fmla="*/ 2 h 90"/>
                <a:gd name="T12" fmla="*/ 8 w 44"/>
                <a:gd name="T13" fmla="*/ 2 h 90"/>
                <a:gd name="T14" fmla="*/ 8 w 44"/>
                <a:gd name="T15" fmla="*/ 3 h 90"/>
                <a:gd name="T16" fmla="*/ 7 w 44"/>
                <a:gd name="T17" fmla="*/ 3 h 90"/>
                <a:gd name="T18" fmla="*/ 6 w 44"/>
                <a:gd name="T19" fmla="*/ 3 h 90"/>
                <a:gd name="T20" fmla="*/ 6 w 44"/>
                <a:gd name="T21" fmla="*/ 4 h 90"/>
                <a:gd name="T22" fmla="*/ 5 w 44"/>
                <a:gd name="T23" fmla="*/ 4 h 90"/>
                <a:gd name="T24" fmla="*/ 5 w 44"/>
                <a:gd name="T25" fmla="*/ 4 h 90"/>
                <a:gd name="T26" fmla="*/ 4 w 44"/>
                <a:gd name="T27" fmla="*/ 5 h 90"/>
                <a:gd name="T28" fmla="*/ 3 w 44"/>
                <a:gd name="T29" fmla="*/ 5 h 90"/>
                <a:gd name="T30" fmla="*/ 3 w 44"/>
                <a:gd name="T31" fmla="*/ 5 h 90"/>
                <a:gd name="T32" fmla="*/ 2 w 44"/>
                <a:gd name="T33" fmla="*/ 6 h 90"/>
                <a:gd name="T34" fmla="*/ 1 w 44"/>
                <a:gd name="T35" fmla="*/ 6 h 90"/>
                <a:gd name="T36" fmla="*/ 1 w 44"/>
                <a:gd name="T37" fmla="*/ 6 h 90"/>
                <a:gd name="T38" fmla="*/ 0 w 44"/>
                <a:gd name="T39" fmla="*/ 7 h 90"/>
                <a:gd name="T40" fmla="*/ 13 w 44"/>
                <a:gd name="T41" fmla="*/ 72 h 90"/>
                <a:gd name="T42" fmla="*/ 12 w 44"/>
                <a:gd name="T43" fmla="*/ 72 h 90"/>
                <a:gd name="T44" fmla="*/ 11 w 44"/>
                <a:gd name="T45" fmla="*/ 72 h 90"/>
                <a:gd name="T46" fmla="*/ 11 w 44"/>
                <a:gd name="T47" fmla="*/ 73 h 90"/>
                <a:gd name="T48" fmla="*/ 10 w 44"/>
                <a:gd name="T49" fmla="*/ 73 h 90"/>
                <a:gd name="T50" fmla="*/ 9 w 44"/>
                <a:gd name="T51" fmla="*/ 73 h 90"/>
                <a:gd name="T52" fmla="*/ 9 w 44"/>
                <a:gd name="T53" fmla="*/ 74 h 90"/>
                <a:gd name="T54" fmla="*/ 8 w 44"/>
                <a:gd name="T55" fmla="*/ 74 h 90"/>
                <a:gd name="T56" fmla="*/ 8 w 44"/>
                <a:gd name="T57" fmla="*/ 74 h 90"/>
                <a:gd name="T58" fmla="*/ 7 w 44"/>
                <a:gd name="T59" fmla="*/ 75 h 90"/>
                <a:gd name="T60" fmla="*/ 6 w 44"/>
                <a:gd name="T61" fmla="*/ 75 h 90"/>
                <a:gd name="T62" fmla="*/ 6 w 44"/>
                <a:gd name="T63" fmla="*/ 75 h 90"/>
                <a:gd name="T64" fmla="*/ 5 w 44"/>
                <a:gd name="T65" fmla="*/ 76 h 90"/>
                <a:gd name="T66" fmla="*/ 4 w 44"/>
                <a:gd name="T67" fmla="*/ 76 h 90"/>
                <a:gd name="T68" fmla="*/ 4 w 44"/>
                <a:gd name="T69" fmla="*/ 76 h 90"/>
                <a:gd name="T70" fmla="*/ 3 w 44"/>
                <a:gd name="T71" fmla="*/ 77 h 90"/>
                <a:gd name="T72" fmla="*/ 3 w 44"/>
                <a:gd name="T73" fmla="*/ 77 h 90"/>
                <a:gd name="T74" fmla="*/ 2 w 44"/>
                <a:gd name="T75" fmla="*/ 77 h 90"/>
                <a:gd name="T76" fmla="*/ 1 w 44"/>
                <a:gd name="T77" fmla="*/ 78 h 90"/>
                <a:gd name="T78" fmla="*/ 1 w 44"/>
                <a:gd name="T79" fmla="*/ 78 h 90"/>
                <a:gd name="T80" fmla="*/ 0 w 44"/>
                <a:gd name="T81" fmla="*/ 79 h 90"/>
                <a:gd name="T82" fmla="*/ 15 w 44"/>
                <a:gd name="T83" fmla="*/ 85 h 90"/>
                <a:gd name="T84" fmla="*/ 16 w 44"/>
                <a:gd name="T85" fmla="*/ 85 h 90"/>
                <a:gd name="T86" fmla="*/ 17 w 44"/>
                <a:gd name="T87" fmla="*/ 85 h 90"/>
                <a:gd name="T88" fmla="*/ 17 w 44"/>
                <a:gd name="T89" fmla="*/ 84 h 90"/>
                <a:gd name="T90" fmla="*/ 18 w 44"/>
                <a:gd name="T91" fmla="*/ 84 h 90"/>
                <a:gd name="T92" fmla="*/ 19 w 44"/>
                <a:gd name="T93" fmla="*/ 84 h 90"/>
                <a:gd name="T94" fmla="*/ 19 w 44"/>
                <a:gd name="T95" fmla="*/ 83 h 90"/>
                <a:gd name="T96" fmla="*/ 20 w 44"/>
                <a:gd name="T97" fmla="*/ 83 h 90"/>
                <a:gd name="T98" fmla="*/ 20 w 44"/>
                <a:gd name="T99" fmla="*/ 83 h 90"/>
                <a:gd name="T100" fmla="*/ 21 w 44"/>
                <a:gd name="T101" fmla="*/ 82 h 90"/>
                <a:gd name="T102" fmla="*/ 22 w 44"/>
                <a:gd name="T103" fmla="*/ 82 h 90"/>
                <a:gd name="T104" fmla="*/ 22 w 44"/>
                <a:gd name="T105" fmla="*/ 81 h 90"/>
                <a:gd name="T106" fmla="*/ 23 w 44"/>
                <a:gd name="T107" fmla="*/ 81 h 90"/>
                <a:gd name="T108" fmla="*/ 24 w 44"/>
                <a:gd name="T109" fmla="*/ 81 h 90"/>
                <a:gd name="T110" fmla="*/ 24 w 44"/>
                <a:gd name="T111" fmla="*/ 80 h 90"/>
                <a:gd name="T112" fmla="*/ 25 w 44"/>
                <a:gd name="T113" fmla="*/ 80 h 90"/>
                <a:gd name="T114" fmla="*/ 25 w 44"/>
                <a:gd name="T115" fmla="*/ 80 h 90"/>
                <a:gd name="T116" fmla="*/ 26 w 44"/>
                <a:gd name="T117" fmla="*/ 79 h 90"/>
                <a:gd name="T118" fmla="*/ 27 w 44"/>
                <a:gd name="T119" fmla="*/ 79 h 90"/>
                <a:gd name="T120" fmla="*/ 27 w 44"/>
                <a:gd name="T121" fmla="*/ 79 h 90"/>
                <a:gd name="T122" fmla="*/ 28 w 44"/>
                <a:gd name="T123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" h="90">
                  <a:moveTo>
                    <a:pt x="15" y="1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2" y="28"/>
                    <a:pt x="20" y="43"/>
                    <a:pt x="20" y="58"/>
                  </a:cubicBezTo>
                  <a:cubicBezTo>
                    <a:pt x="20" y="63"/>
                    <a:pt x="18" y="68"/>
                    <a:pt x="15" y="71"/>
                  </a:cubicBezTo>
                  <a:cubicBezTo>
                    <a:pt x="14" y="71"/>
                    <a:pt x="14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5" y="90"/>
                    <a:pt x="10" y="88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8" y="72"/>
                    <a:pt x="44" y="62"/>
                    <a:pt x="44" y="51"/>
                  </a:cubicBezTo>
                  <a:cubicBezTo>
                    <a:pt x="44" y="31"/>
                    <a:pt x="33" y="12"/>
                    <a:pt x="15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7" name="ïšļîdè">
              <a:extLst>
                <a:ext uri="{FF2B5EF4-FFF2-40B4-BE49-F238E27FC236}">
                  <a16:creationId xmlns:a16="http://schemas.microsoft.com/office/drawing/2014/main" xmlns="" id="{EACB9890-CE4E-4E17-8FE1-4548518AB77A}"/>
                </a:ext>
              </a:extLst>
            </p:cNvPr>
            <p:cNvSpPr/>
            <p:nvPr userDrawn="1"/>
          </p:nvSpPr>
          <p:spPr bwMode="auto">
            <a:xfrm>
              <a:off x="6919913" y="2549526"/>
              <a:ext cx="101600" cy="274638"/>
            </a:xfrm>
            <a:custGeom>
              <a:avLst/>
              <a:gdLst>
                <a:gd name="T0" fmla="*/ 2 w 31"/>
                <a:gd name="T1" fmla="*/ 2 h 83"/>
                <a:gd name="T2" fmla="*/ 0 w 31"/>
                <a:gd name="T3" fmla="*/ 0 h 83"/>
                <a:gd name="T4" fmla="*/ 0 w 31"/>
                <a:gd name="T5" fmla="*/ 13 h 83"/>
                <a:gd name="T6" fmla="*/ 20 w 31"/>
                <a:gd name="T7" fmla="*/ 51 h 83"/>
                <a:gd name="T8" fmla="*/ 10 w 31"/>
                <a:gd name="T9" fmla="*/ 69 h 83"/>
                <a:gd name="T10" fmla="*/ 0 w 31"/>
                <a:gd name="T11" fmla="*/ 72 h 83"/>
                <a:gd name="T12" fmla="*/ 0 w 31"/>
                <a:gd name="T13" fmla="*/ 83 h 83"/>
                <a:gd name="T14" fmla="*/ 15 w 31"/>
                <a:gd name="T15" fmla="*/ 78 h 83"/>
                <a:gd name="T16" fmla="*/ 31 w 31"/>
                <a:gd name="T17" fmla="*/ 51 h 83"/>
                <a:gd name="T18" fmla="*/ 2 w 31"/>
                <a:gd name="T19" fmla="*/ 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83">
                  <a:moveTo>
                    <a:pt x="2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2" y="21"/>
                    <a:pt x="20" y="36"/>
                    <a:pt x="20" y="51"/>
                  </a:cubicBezTo>
                  <a:cubicBezTo>
                    <a:pt x="20" y="59"/>
                    <a:pt x="16" y="65"/>
                    <a:pt x="10" y="69"/>
                  </a:cubicBezTo>
                  <a:cubicBezTo>
                    <a:pt x="7" y="71"/>
                    <a:pt x="3" y="72"/>
                    <a:pt x="0" y="7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5" y="83"/>
                    <a:pt x="10" y="81"/>
                    <a:pt x="15" y="78"/>
                  </a:cubicBezTo>
                  <a:cubicBezTo>
                    <a:pt x="25" y="73"/>
                    <a:pt x="31" y="63"/>
                    <a:pt x="31" y="51"/>
                  </a:cubicBezTo>
                  <a:cubicBezTo>
                    <a:pt x="31" y="31"/>
                    <a:pt x="20" y="12"/>
                    <a:pt x="2" y="2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8" name="iṡľîdê">
              <a:extLst>
                <a:ext uri="{FF2B5EF4-FFF2-40B4-BE49-F238E27FC236}">
                  <a16:creationId xmlns:a16="http://schemas.microsoft.com/office/drawing/2014/main" xmlns="" id="{5FDF3D74-18F8-4F03-8FE8-5C06EAE76376}"/>
                </a:ext>
              </a:extLst>
            </p:cNvPr>
            <p:cNvSpPr/>
            <p:nvPr userDrawn="1"/>
          </p:nvSpPr>
          <p:spPr bwMode="auto">
            <a:xfrm>
              <a:off x="4473576" y="1370013"/>
              <a:ext cx="2847975" cy="3079750"/>
            </a:xfrm>
            <a:custGeom>
              <a:avLst/>
              <a:gdLst>
                <a:gd name="T0" fmla="*/ 20 w 863"/>
                <a:gd name="T1" fmla="*/ 255 h 934"/>
                <a:gd name="T2" fmla="*/ 454 w 863"/>
                <a:gd name="T3" fmla="*/ 6 h 934"/>
                <a:gd name="T4" fmla="*/ 481 w 863"/>
                <a:gd name="T5" fmla="*/ 2 h 934"/>
                <a:gd name="T6" fmla="*/ 505 w 863"/>
                <a:gd name="T7" fmla="*/ 19 h 934"/>
                <a:gd name="T8" fmla="*/ 506 w 863"/>
                <a:gd name="T9" fmla="*/ 423 h 934"/>
                <a:gd name="T10" fmla="*/ 467 w 863"/>
                <a:gd name="T11" fmla="*/ 445 h 934"/>
                <a:gd name="T12" fmla="*/ 862 w 863"/>
                <a:gd name="T13" fmla="*/ 637 h 934"/>
                <a:gd name="T14" fmla="*/ 863 w 863"/>
                <a:gd name="T15" fmla="*/ 653 h 934"/>
                <a:gd name="T16" fmla="*/ 853 w 863"/>
                <a:gd name="T17" fmla="*/ 669 h 934"/>
                <a:gd name="T18" fmla="*/ 408 w 863"/>
                <a:gd name="T19" fmla="*/ 926 h 934"/>
                <a:gd name="T20" fmla="*/ 368 w 863"/>
                <a:gd name="T21" fmla="*/ 926 h 934"/>
                <a:gd name="T22" fmla="*/ 7 w 863"/>
                <a:gd name="T23" fmla="*/ 718 h 934"/>
                <a:gd name="T24" fmla="*/ 1 w 863"/>
                <a:gd name="T25" fmla="*/ 707 h 934"/>
                <a:gd name="T26" fmla="*/ 0 w 863"/>
                <a:gd name="T27" fmla="*/ 290 h 934"/>
                <a:gd name="T28" fmla="*/ 20 w 863"/>
                <a:gd name="T29" fmla="*/ 255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3" h="934">
                  <a:moveTo>
                    <a:pt x="20" y="255"/>
                  </a:moveTo>
                  <a:cubicBezTo>
                    <a:pt x="454" y="6"/>
                    <a:pt x="454" y="6"/>
                    <a:pt x="454" y="6"/>
                  </a:cubicBezTo>
                  <a:cubicBezTo>
                    <a:pt x="462" y="2"/>
                    <a:pt x="472" y="0"/>
                    <a:pt x="481" y="2"/>
                  </a:cubicBezTo>
                  <a:cubicBezTo>
                    <a:pt x="493" y="5"/>
                    <a:pt x="505" y="8"/>
                    <a:pt x="505" y="19"/>
                  </a:cubicBezTo>
                  <a:cubicBezTo>
                    <a:pt x="506" y="423"/>
                    <a:pt x="506" y="423"/>
                    <a:pt x="506" y="423"/>
                  </a:cubicBezTo>
                  <a:cubicBezTo>
                    <a:pt x="467" y="445"/>
                    <a:pt x="467" y="445"/>
                    <a:pt x="467" y="445"/>
                  </a:cubicBezTo>
                  <a:cubicBezTo>
                    <a:pt x="480" y="451"/>
                    <a:pt x="861" y="637"/>
                    <a:pt x="862" y="637"/>
                  </a:cubicBezTo>
                  <a:cubicBezTo>
                    <a:pt x="863" y="653"/>
                    <a:pt x="863" y="653"/>
                    <a:pt x="863" y="653"/>
                  </a:cubicBezTo>
                  <a:cubicBezTo>
                    <a:pt x="863" y="660"/>
                    <a:pt x="859" y="666"/>
                    <a:pt x="853" y="669"/>
                  </a:cubicBezTo>
                  <a:cubicBezTo>
                    <a:pt x="788" y="707"/>
                    <a:pt x="408" y="926"/>
                    <a:pt x="408" y="926"/>
                  </a:cubicBezTo>
                  <a:cubicBezTo>
                    <a:pt x="396" y="934"/>
                    <a:pt x="380" y="934"/>
                    <a:pt x="368" y="926"/>
                  </a:cubicBezTo>
                  <a:cubicBezTo>
                    <a:pt x="7" y="718"/>
                    <a:pt x="7" y="718"/>
                    <a:pt x="7" y="718"/>
                  </a:cubicBezTo>
                  <a:cubicBezTo>
                    <a:pt x="3" y="715"/>
                    <a:pt x="1" y="711"/>
                    <a:pt x="1" y="707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0" y="276"/>
                    <a:pt x="8" y="262"/>
                    <a:pt x="20" y="255"/>
                  </a:cubicBezTo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9" name="ïSľîḑé">
              <a:extLst>
                <a:ext uri="{FF2B5EF4-FFF2-40B4-BE49-F238E27FC236}">
                  <a16:creationId xmlns:a16="http://schemas.microsoft.com/office/drawing/2014/main" xmlns="" id="{70869B57-4804-48C6-8308-462F999455E3}"/>
                </a:ext>
              </a:extLst>
            </p:cNvPr>
            <p:cNvSpPr/>
            <p:nvPr userDrawn="1"/>
          </p:nvSpPr>
          <p:spPr bwMode="auto">
            <a:xfrm>
              <a:off x="4516438" y="1379538"/>
              <a:ext cx="1630363" cy="2317750"/>
            </a:xfrm>
            <a:custGeom>
              <a:avLst/>
              <a:gdLst>
                <a:gd name="T0" fmla="*/ 0 w 494"/>
                <a:gd name="T1" fmla="*/ 703 h 703"/>
                <a:gd name="T2" fmla="*/ 493 w 494"/>
                <a:gd name="T3" fmla="*/ 421 h 703"/>
                <a:gd name="T4" fmla="*/ 494 w 494"/>
                <a:gd name="T5" fmla="*/ 19 h 703"/>
                <a:gd name="T6" fmla="*/ 471 w 494"/>
                <a:gd name="T7" fmla="*/ 6 h 703"/>
                <a:gd name="T8" fmla="*/ 17 w 494"/>
                <a:gd name="T9" fmla="*/ 266 h 703"/>
                <a:gd name="T10" fmla="*/ 1 w 494"/>
                <a:gd name="T11" fmla="*/ 294 h 703"/>
                <a:gd name="T12" fmla="*/ 0 w 494"/>
                <a:gd name="T13" fmla="*/ 703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4" h="703">
                  <a:moveTo>
                    <a:pt x="0" y="703"/>
                  </a:moveTo>
                  <a:cubicBezTo>
                    <a:pt x="493" y="421"/>
                    <a:pt x="493" y="421"/>
                    <a:pt x="493" y="421"/>
                  </a:cubicBezTo>
                  <a:cubicBezTo>
                    <a:pt x="494" y="19"/>
                    <a:pt x="494" y="19"/>
                    <a:pt x="494" y="19"/>
                  </a:cubicBezTo>
                  <a:cubicBezTo>
                    <a:pt x="494" y="7"/>
                    <a:pt x="481" y="0"/>
                    <a:pt x="471" y="6"/>
                  </a:cubicBezTo>
                  <a:cubicBezTo>
                    <a:pt x="17" y="266"/>
                    <a:pt x="17" y="266"/>
                    <a:pt x="17" y="266"/>
                  </a:cubicBezTo>
                  <a:cubicBezTo>
                    <a:pt x="7" y="272"/>
                    <a:pt x="1" y="282"/>
                    <a:pt x="1" y="294"/>
                  </a:cubicBezTo>
                  <a:cubicBezTo>
                    <a:pt x="0" y="703"/>
                    <a:pt x="0" y="703"/>
                    <a:pt x="0" y="703"/>
                  </a:cubicBezTo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0" name="íṣļíďê">
              <a:extLst>
                <a:ext uri="{FF2B5EF4-FFF2-40B4-BE49-F238E27FC236}">
                  <a16:creationId xmlns:a16="http://schemas.microsoft.com/office/drawing/2014/main" xmlns="" id="{5255C35F-5E16-47DC-A032-6AEF7E9AE357}"/>
                </a:ext>
              </a:extLst>
            </p:cNvPr>
            <p:cNvSpPr/>
            <p:nvPr userDrawn="1"/>
          </p:nvSpPr>
          <p:spPr bwMode="auto">
            <a:xfrm>
              <a:off x="4586288" y="1474788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1" name="išľíḍe">
              <a:extLst>
                <a:ext uri="{FF2B5EF4-FFF2-40B4-BE49-F238E27FC236}">
                  <a16:creationId xmlns:a16="http://schemas.microsoft.com/office/drawing/2014/main" xmlns="" id="{B91D4EDB-E070-4FC9-AABB-EAABC7C41718}"/>
                </a:ext>
              </a:extLst>
            </p:cNvPr>
            <p:cNvSpPr/>
            <p:nvPr userDrawn="1"/>
          </p:nvSpPr>
          <p:spPr bwMode="auto">
            <a:xfrm>
              <a:off x="4586288" y="1474788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2" name="íšļïḓé">
              <a:extLst>
                <a:ext uri="{FF2B5EF4-FFF2-40B4-BE49-F238E27FC236}">
                  <a16:creationId xmlns:a16="http://schemas.microsoft.com/office/drawing/2014/main" xmlns="" id="{B25568E2-E030-444C-BD82-5816B07F01A3}"/>
                </a:ext>
              </a:extLst>
            </p:cNvPr>
            <p:cNvSpPr/>
            <p:nvPr userDrawn="1"/>
          </p:nvSpPr>
          <p:spPr bwMode="auto">
            <a:xfrm>
              <a:off x="4516438" y="2757488"/>
              <a:ext cx="2811463" cy="1635125"/>
            </a:xfrm>
            <a:custGeom>
              <a:avLst/>
              <a:gdLst>
                <a:gd name="T0" fmla="*/ 0 w 852"/>
                <a:gd name="T1" fmla="*/ 285 h 496"/>
                <a:gd name="T2" fmla="*/ 493 w 852"/>
                <a:gd name="T3" fmla="*/ 0 h 496"/>
                <a:gd name="T4" fmla="*/ 842 w 852"/>
                <a:gd name="T5" fmla="*/ 202 h 496"/>
                <a:gd name="T6" fmla="*/ 842 w 852"/>
                <a:gd name="T7" fmla="*/ 228 h 496"/>
                <a:gd name="T8" fmla="*/ 388 w 852"/>
                <a:gd name="T9" fmla="*/ 490 h 496"/>
                <a:gd name="T10" fmla="*/ 356 w 852"/>
                <a:gd name="T11" fmla="*/ 490 h 496"/>
                <a:gd name="T12" fmla="*/ 0 w 852"/>
                <a:gd name="T13" fmla="*/ 28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2" h="496">
                  <a:moveTo>
                    <a:pt x="0" y="285"/>
                  </a:moveTo>
                  <a:cubicBezTo>
                    <a:pt x="493" y="0"/>
                    <a:pt x="493" y="0"/>
                    <a:pt x="493" y="0"/>
                  </a:cubicBezTo>
                  <a:cubicBezTo>
                    <a:pt x="842" y="202"/>
                    <a:pt x="842" y="202"/>
                    <a:pt x="842" y="202"/>
                  </a:cubicBezTo>
                  <a:cubicBezTo>
                    <a:pt x="852" y="208"/>
                    <a:pt x="852" y="222"/>
                    <a:pt x="842" y="228"/>
                  </a:cubicBezTo>
                  <a:cubicBezTo>
                    <a:pt x="388" y="490"/>
                    <a:pt x="388" y="490"/>
                    <a:pt x="388" y="490"/>
                  </a:cubicBezTo>
                  <a:cubicBezTo>
                    <a:pt x="378" y="496"/>
                    <a:pt x="366" y="496"/>
                    <a:pt x="356" y="490"/>
                  </a:cubicBezTo>
                  <a:cubicBezTo>
                    <a:pt x="0" y="285"/>
                    <a:pt x="0" y="285"/>
                    <a:pt x="0" y="285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3" name="islidé">
              <a:extLst>
                <a:ext uri="{FF2B5EF4-FFF2-40B4-BE49-F238E27FC236}">
                  <a16:creationId xmlns:a16="http://schemas.microsoft.com/office/drawing/2014/main" xmlns="" id="{466E7B9C-9E3A-4C63-A06C-0C0DEA46E801}"/>
                </a:ext>
              </a:extLst>
            </p:cNvPr>
            <p:cNvSpPr/>
            <p:nvPr userDrawn="1"/>
          </p:nvSpPr>
          <p:spPr bwMode="auto">
            <a:xfrm>
              <a:off x="4803776" y="3678238"/>
              <a:ext cx="161925" cy="95250"/>
            </a:xfrm>
            <a:custGeom>
              <a:avLst/>
              <a:gdLst>
                <a:gd name="T0" fmla="*/ 49 w 49"/>
                <a:gd name="T1" fmla="*/ 14 h 29"/>
                <a:gd name="T2" fmla="*/ 25 w 49"/>
                <a:gd name="T3" fmla="*/ 29 h 29"/>
                <a:gd name="T4" fmla="*/ 0 w 49"/>
                <a:gd name="T5" fmla="*/ 15 h 29"/>
                <a:gd name="T6" fmla="*/ 25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4" name="iṩliḋé">
              <a:extLst>
                <a:ext uri="{FF2B5EF4-FFF2-40B4-BE49-F238E27FC236}">
                  <a16:creationId xmlns:a16="http://schemas.microsoft.com/office/drawing/2014/main" xmlns="" id="{40047DDB-F951-4FCB-B5EC-5BC6F2E9BB1E}"/>
                </a:ext>
              </a:extLst>
            </p:cNvPr>
            <p:cNvSpPr/>
            <p:nvPr userDrawn="1"/>
          </p:nvSpPr>
          <p:spPr bwMode="auto">
            <a:xfrm>
              <a:off x="4922838" y="36115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5" name="îṣḷîḓê">
              <a:extLst>
                <a:ext uri="{FF2B5EF4-FFF2-40B4-BE49-F238E27FC236}">
                  <a16:creationId xmlns:a16="http://schemas.microsoft.com/office/drawing/2014/main" xmlns="" id="{7EF57C38-A565-4090-B87F-58427BBB4C43}"/>
                </a:ext>
              </a:extLst>
            </p:cNvPr>
            <p:cNvSpPr/>
            <p:nvPr userDrawn="1"/>
          </p:nvSpPr>
          <p:spPr bwMode="auto">
            <a:xfrm>
              <a:off x="5045076" y="35433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10" y="20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6" name="íṩ1îḍe">
              <a:extLst>
                <a:ext uri="{FF2B5EF4-FFF2-40B4-BE49-F238E27FC236}">
                  <a16:creationId xmlns:a16="http://schemas.microsoft.com/office/drawing/2014/main" xmlns="" id="{7918139F-D21F-4C1D-B285-25E5EEDD2D81}"/>
                </a:ext>
              </a:extLst>
            </p:cNvPr>
            <p:cNvSpPr/>
            <p:nvPr userDrawn="1"/>
          </p:nvSpPr>
          <p:spPr bwMode="auto">
            <a:xfrm>
              <a:off x="5164138" y="347345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7" name="ïṧḻiḍe">
              <a:extLst>
                <a:ext uri="{FF2B5EF4-FFF2-40B4-BE49-F238E27FC236}">
                  <a16:creationId xmlns:a16="http://schemas.microsoft.com/office/drawing/2014/main" xmlns="" id="{DF0279A2-EA0F-48F0-BF24-C5B11513CAFE}"/>
                </a:ext>
              </a:extLst>
            </p:cNvPr>
            <p:cNvSpPr/>
            <p:nvPr userDrawn="1"/>
          </p:nvSpPr>
          <p:spPr bwMode="auto">
            <a:xfrm>
              <a:off x="5283201" y="3403601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8" name="íşlïḑè">
              <a:extLst>
                <a:ext uri="{FF2B5EF4-FFF2-40B4-BE49-F238E27FC236}">
                  <a16:creationId xmlns:a16="http://schemas.microsoft.com/office/drawing/2014/main" xmlns="" id="{750210F3-A01A-43FB-82C4-5F227CFCC2FF}"/>
                </a:ext>
              </a:extLst>
            </p:cNvPr>
            <p:cNvSpPr/>
            <p:nvPr userDrawn="1"/>
          </p:nvSpPr>
          <p:spPr bwMode="auto">
            <a:xfrm>
              <a:off x="5400676" y="33353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9" name="íśļiḋè">
              <a:extLst>
                <a:ext uri="{FF2B5EF4-FFF2-40B4-BE49-F238E27FC236}">
                  <a16:creationId xmlns:a16="http://schemas.microsoft.com/office/drawing/2014/main" xmlns="" id="{9AB9F574-F230-4933-B0D3-9356C24029CB}"/>
                </a:ext>
              </a:extLst>
            </p:cNvPr>
            <p:cNvSpPr/>
            <p:nvPr userDrawn="1"/>
          </p:nvSpPr>
          <p:spPr bwMode="auto">
            <a:xfrm>
              <a:off x="5519738" y="32686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0" name="îSļîḓê">
              <a:extLst>
                <a:ext uri="{FF2B5EF4-FFF2-40B4-BE49-F238E27FC236}">
                  <a16:creationId xmlns:a16="http://schemas.microsoft.com/office/drawing/2014/main" xmlns="" id="{8DC44DB1-A134-4C46-9907-5BFA6497C437}"/>
                </a:ext>
              </a:extLst>
            </p:cNvPr>
            <p:cNvSpPr/>
            <p:nvPr userDrawn="1"/>
          </p:nvSpPr>
          <p:spPr bwMode="auto">
            <a:xfrm>
              <a:off x="5641976" y="32004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1" name="íṧ1îḑè">
              <a:extLst>
                <a:ext uri="{FF2B5EF4-FFF2-40B4-BE49-F238E27FC236}">
                  <a16:creationId xmlns:a16="http://schemas.microsoft.com/office/drawing/2014/main" xmlns="" id="{D913291D-C576-48CB-8D84-A101B735897F}"/>
                </a:ext>
              </a:extLst>
            </p:cNvPr>
            <p:cNvSpPr/>
            <p:nvPr userDrawn="1"/>
          </p:nvSpPr>
          <p:spPr bwMode="auto">
            <a:xfrm>
              <a:off x="5761038" y="313055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2" name="îṥḷide">
              <a:extLst>
                <a:ext uri="{FF2B5EF4-FFF2-40B4-BE49-F238E27FC236}">
                  <a16:creationId xmlns:a16="http://schemas.microsoft.com/office/drawing/2014/main" xmlns="" id="{253F3F1E-7C5A-4040-843A-2DB968797756}"/>
                </a:ext>
              </a:extLst>
            </p:cNvPr>
            <p:cNvSpPr/>
            <p:nvPr userDrawn="1"/>
          </p:nvSpPr>
          <p:spPr bwMode="auto">
            <a:xfrm>
              <a:off x="5880101" y="306070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3" name="îş1iḓè">
              <a:extLst>
                <a:ext uri="{FF2B5EF4-FFF2-40B4-BE49-F238E27FC236}">
                  <a16:creationId xmlns:a16="http://schemas.microsoft.com/office/drawing/2014/main" xmlns="" id="{06F852F4-9CF4-4F03-A61E-795E9746BC23}"/>
                </a:ext>
              </a:extLst>
            </p:cNvPr>
            <p:cNvSpPr/>
            <p:nvPr userDrawn="1"/>
          </p:nvSpPr>
          <p:spPr bwMode="auto">
            <a:xfrm>
              <a:off x="5999163" y="29924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4" name="íšḻidè">
              <a:extLst>
                <a:ext uri="{FF2B5EF4-FFF2-40B4-BE49-F238E27FC236}">
                  <a16:creationId xmlns:a16="http://schemas.microsoft.com/office/drawing/2014/main" xmlns="" id="{B5A71415-8E80-4D20-9CA9-2F1941DA1159}"/>
                </a:ext>
              </a:extLst>
            </p:cNvPr>
            <p:cNvSpPr/>
            <p:nvPr userDrawn="1"/>
          </p:nvSpPr>
          <p:spPr bwMode="auto">
            <a:xfrm>
              <a:off x="6121401" y="2925763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5" name="íślîḓè">
              <a:extLst>
                <a:ext uri="{FF2B5EF4-FFF2-40B4-BE49-F238E27FC236}">
                  <a16:creationId xmlns:a16="http://schemas.microsoft.com/office/drawing/2014/main" xmlns="" id="{9126E6C0-6DE4-4E8D-9A3E-0C8E80978892}"/>
                </a:ext>
              </a:extLst>
            </p:cNvPr>
            <p:cNvSpPr/>
            <p:nvPr userDrawn="1"/>
          </p:nvSpPr>
          <p:spPr bwMode="auto">
            <a:xfrm>
              <a:off x="4919663" y="37433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6" name="î$1iḓé">
              <a:extLst>
                <a:ext uri="{FF2B5EF4-FFF2-40B4-BE49-F238E27FC236}">
                  <a16:creationId xmlns:a16="http://schemas.microsoft.com/office/drawing/2014/main" xmlns="" id="{BFE68672-34FD-4979-A0E4-41A82F6DDEEE}"/>
                </a:ext>
              </a:extLst>
            </p:cNvPr>
            <p:cNvSpPr/>
            <p:nvPr userDrawn="1"/>
          </p:nvSpPr>
          <p:spPr bwMode="auto">
            <a:xfrm>
              <a:off x="5038726" y="36750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7" name="išľïḋe">
              <a:extLst>
                <a:ext uri="{FF2B5EF4-FFF2-40B4-BE49-F238E27FC236}">
                  <a16:creationId xmlns:a16="http://schemas.microsoft.com/office/drawing/2014/main" xmlns="" id="{AB858F4E-A41E-4918-9E78-D226C1517F03}"/>
                </a:ext>
              </a:extLst>
            </p:cNvPr>
            <p:cNvSpPr/>
            <p:nvPr userDrawn="1"/>
          </p:nvSpPr>
          <p:spPr bwMode="auto">
            <a:xfrm>
              <a:off x="5157788" y="36083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8" name="îṡlíḍè">
              <a:extLst>
                <a:ext uri="{FF2B5EF4-FFF2-40B4-BE49-F238E27FC236}">
                  <a16:creationId xmlns:a16="http://schemas.microsoft.com/office/drawing/2014/main" xmlns="" id="{77DED95C-CF43-4E16-B443-6BF1BC3809B8}"/>
                </a:ext>
              </a:extLst>
            </p:cNvPr>
            <p:cNvSpPr/>
            <p:nvPr userDrawn="1"/>
          </p:nvSpPr>
          <p:spPr bwMode="auto">
            <a:xfrm>
              <a:off x="5280026" y="3538538"/>
              <a:ext cx="160338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9" name="íŝľíḋê">
              <a:extLst>
                <a:ext uri="{FF2B5EF4-FFF2-40B4-BE49-F238E27FC236}">
                  <a16:creationId xmlns:a16="http://schemas.microsoft.com/office/drawing/2014/main" xmlns="" id="{2CFB5932-F026-4E9C-8E58-38F67AEFBFAA}"/>
                </a:ext>
              </a:extLst>
            </p:cNvPr>
            <p:cNvSpPr/>
            <p:nvPr userDrawn="1"/>
          </p:nvSpPr>
          <p:spPr bwMode="auto">
            <a:xfrm>
              <a:off x="5397501" y="347027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0" name="ïśḷîḋè">
              <a:extLst>
                <a:ext uri="{FF2B5EF4-FFF2-40B4-BE49-F238E27FC236}">
                  <a16:creationId xmlns:a16="http://schemas.microsoft.com/office/drawing/2014/main" xmlns="" id="{2849020C-65EF-40EE-B01E-A324E8C0393B}"/>
                </a:ext>
              </a:extLst>
            </p:cNvPr>
            <p:cNvSpPr/>
            <p:nvPr userDrawn="1"/>
          </p:nvSpPr>
          <p:spPr bwMode="auto">
            <a:xfrm>
              <a:off x="5516563" y="34004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1" name="iSḷíḍê">
              <a:extLst>
                <a:ext uri="{FF2B5EF4-FFF2-40B4-BE49-F238E27FC236}">
                  <a16:creationId xmlns:a16="http://schemas.microsoft.com/office/drawing/2014/main" xmlns="" id="{052D2746-C34D-46B4-959C-5957345B5138}"/>
                </a:ext>
              </a:extLst>
            </p:cNvPr>
            <p:cNvSpPr/>
            <p:nvPr userDrawn="1"/>
          </p:nvSpPr>
          <p:spPr bwMode="auto">
            <a:xfrm>
              <a:off x="5635626" y="33321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2" name="iŝlîďê">
              <a:extLst>
                <a:ext uri="{FF2B5EF4-FFF2-40B4-BE49-F238E27FC236}">
                  <a16:creationId xmlns:a16="http://schemas.microsoft.com/office/drawing/2014/main" xmlns="" id="{87C788F5-FBF3-4651-B39F-2C4F3654B9C3}"/>
                </a:ext>
              </a:extLst>
            </p:cNvPr>
            <p:cNvSpPr/>
            <p:nvPr userDrawn="1"/>
          </p:nvSpPr>
          <p:spPr bwMode="auto">
            <a:xfrm>
              <a:off x="5757863" y="32654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9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3" name="ïṥḷïḑé">
              <a:extLst>
                <a:ext uri="{FF2B5EF4-FFF2-40B4-BE49-F238E27FC236}">
                  <a16:creationId xmlns:a16="http://schemas.microsoft.com/office/drawing/2014/main" xmlns="" id="{F8E0A08D-9D0C-4AC9-8936-DE60BD85E712}"/>
                </a:ext>
              </a:extLst>
            </p:cNvPr>
            <p:cNvSpPr/>
            <p:nvPr userDrawn="1"/>
          </p:nvSpPr>
          <p:spPr bwMode="auto">
            <a:xfrm>
              <a:off x="5876926" y="3195638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4" name="íSḻïḋe">
              <a:extLst>
                <a:ext uri="{FF2B5EF4-FFF2-40B4-BE49-F238E27FC236}">
                  <a16:creationId xmlns:a16="http://schemas.microsoft.com/office/drawing/2014/main" xmlns="" id="{77DBBF90-D120-4EEC-AEA9-EADD4B2A9595}"/>
                </a:ext>
              </a:extLst>
            </p:cNvPr>
            <p:cNvSpPr/>
            <p:nvPr userDrawn="1"/>
          </p:nvSpPr>
          <p:spPr bwMode="auto">
            <a:xfrm>
              <a:off x="5995988" y="3127376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5" name="iśḻídè">
              <a:extLst>
                <a:ext uri="{FF2B5EF4-FFF2-40B4-BE49-F238E27FC236}">
                  <a16:creationId xmlns:a16="http://schemas.microsoft.com/office/drawing/2014/main" xmlns="" id="{2EFBC022-C54C-4A34-9586-DC16C4740EB6}"/>
                </a:ext>
              </a:extLst>
            </p:cNvPr>
            <p:cNvSpPr/>
            <p:nvPr userDrawn="1"/>
          </p:nvSpPr>
          <p:spPr bwMode="auto">
            <a:xfrm>
              <a:off x="6113463" y="3057526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6" name="ïṥḷiḓe">
              <a:extLst>
                <a:ext uri="{FF2B5EF4-FFF2-40B4-BE49-F238E27FC236}">
                  <a16:creationId xmlns:a16="http://schemas.microsoft.com/office/drawing/2014/main" xmlns="" id="{C737FC90-9505-4F09-8445-00A1AB303405}"/>
                </a:ext>
              </a:extLst>
            </p:cNvPr>
            <p:cNvSpPr/>
            <p:nvPr userDrawn="1"/>
          </p:nvSpPr>
          <p:spPr bwMode="auto">
            <a:xfrm>
              <a:off x="6180138" y="2989263"/>
              <a:ext cx="217488" cy="125413"/>
            </a:xfrm>
            <a:custGeom>
              <a:avLst/>
              <a:gdLst>
                <a:gd name="T0" fmla="*/ 66 w 66"/>
                <a:gd name="T1" fmla="*/ 14 h 38"/>
                <a:gd name="T2" fmla="*/ 25 w 66"/>
                <a:gd name="T3" fmla="*/ 38 h 38"/>
                <a:gd name="T4" fmla="*/ 0 w 66"/>
                <a:gd name="T5" fmla="*/ 24 h 38"/>
                <a:gd name="T6" fmla="*/ 41 w 66"/>
                <a:gd name="T7" fmla="*/ 0 h 38"/>
                <a:gd name="T8" fmla="*/ 66 w 66"/>
                <a:gd name="T9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8">
                  <a:moveTo>
                    <a:pt x="66" y="14"/>
                  </a:moveTo>
                  <a:cubicBezTo>
                    <a:pt x="49" y="24"/>
                    <a:pt x="41" y="29"/>
                    <a:pt x="25" y="38"/>
                  </a:cubicBezTo>
                  <a:cubicBezTo>
                    <a:pt x="15" y="32"/>
                    <a:pt x="10" y="30"/>
                    <a:pt x="0" y="24"/>
                  </a:cubicBezTo>
                  <a:cubicBezTo>
                    <a:pt x="16" y="14"/>
                    <a:pt x="25" y="10"/>
                    <a:pt x="41" y="0"/>
                  </a:cubicBezTo>
                  <a:cubicBezTo>
                    <a:pt x="51" y="6"/>
                    <a:pt x="56" y="9"/>
                    <a:pt x="66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7" name="íśḻíḋé">
              <a:extLst>
                <a:ext uri="{FF2B5EF4-FFF2-40B4-BE49-F238E27FC236}">
                  <a16:creationId xmlns:a16="http://schemas.microsoft.com/office/drawing/2014/main" xmlns="" id="{63645399-9020-4997-BD69-DECA4C517BF3}"/>
                </a:ext>
              </a:extLst>
            </p:cNvPr>
            <p:cNvSpPr/>
            <p:nvPr userDrawn="1"/>
          </p:nvSpPr>
          <p:spPr bwMode="auto">
            <a:xfrm>
              <a:off x="5035551" y="3779838"/>
              <a:ext cx="214313" cy="122238"/>
            </a:xfrm>
            <a:custGeom>
              <a:avLst/>
              <a:gdLst>
                <a:gd name="T0" fmla="*/ 65 w 65"/>
                <a:gd name="T1" fmla="*/ 14 h 37"/>
                <a:gd name="T2" fmla="*/ 25 w 65"/>
                <a:gd name="T3" fmla="*/ 37 h 37"/>
                <a:gd name="T4" fmla="*/ 0 w 65"/>
                <a:gd name="T5" fmla="*/ 23 h 37"/>
                <a:gd name="T6" fmla="*/ 41 w 65"/>
                <a:gd name="T7" fmla="*/ 0 h 37"/>
                <a:gd name="T8" fmla="*/ 65 w 65"/>
                <a:gd name="T9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7">
                  <a:moveTo>
                    <a:pt x="65" y="14"/>
                  </a:moveTo>
                  <a:cubicBezTo>
                    <a:pt x="49" y="23"/>
                    <a:pt x="41" y="28"/>
                    <a:pt x="25" y="37"/>
                  </a:cubicBezTo>
                  <a:cubicBezTo>
                    <a:pt x="15" y="31"/>
                    <a:pt x="10" y="29"/>
                    <a:pt x="0" y="23"/>
                  </a:cubicBezTo>
                  <a:cubicBezTo>
                    <a:pt x="16" y="14"/>
                    <a:pt x="24" y="9"/>
                    <a:pt x="41" y="0"/>
                  </a:cubicBezTo>
                  <a:cubicBezTo>
                    <a:pt x="50" y="5"/>
                    <a:pt x="55" y="8"/>
                    <a:pt x="65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8" name="iṧḷîḍê">
              <a:extLst>
                <a:ext uri="{FF2B5EF4-FFF2-40B4-BE49-F238E27FC236}">
                  <a16:creationId xmlns:a16="http://schemas.microsoft.com/office/drawing/2014/main" xmlns="" id="{0504AEA2-1EED-44F4-892F-FE0714068430}"/>
                </a:ext>
              </a:extLst>
            </p:cNvPr>
            <p:cNvSpPr/>
            <p:nvPr userDrawn="1"/>
          </p:nvSpPr>
          <p:spPr bwMode="auto">
            <a:xfrm>
              <a:off x="5154613" y="3740151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9" name="iSḷiḋe">
              <a:extLst>
                <a:ext uri="{FF2B5EF4-FFF2-40B4-BE49-F238E27FC236}">
                  <a16:creationId xmlns:a16="http://schemas.microsoft.com/office/drawing/2014/main" xmlns="" id="{0759C63C-75AE-46C9-9559-00C8F6A0667B}"/>
                </a:ext>
              </a:extLst>
            </p:cNvPr>
            <p:cNvSpPr/>
            <p:nvPr userDrawn="1"/>
          </p:nvSpPr>
          <p:spPr bwMode="auto">
            <a:xfrm>
              <a:off x="5272088" y="36718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0" name="í$ḷîḍe">
              <a:extLst>
                <a:ext uri="{FF2B5EF4-FFF2-40B4-BE49-F238E27FC236}">
                  <a16:creationId xmlns:a16="http://schemas.microsoft.com/office/drawing/2014/main" xmlns="" id="{E76C9A2E-4F3B-441D-B2E5-7DB330F98532}"/>
                </a:ext>
              </a:extLst>
            </p:cNvPr>
            <p:cNvSpPr/>
            <p:nvPr userDrawn="1"/>
          </p:nvSpPr>
          <p:spPr bwMode="auto">
            <a:xfrm>
              <a:off x="5391151" y="36020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1" name="ïṧļîḑè">
              <a:extLst>
                <a:ext uri="{FF2B5EF4-FFF2-40B4-BE49-F238E27FC236}">
                  <a16:creationId xmlns:a16="http://schemas.microsoft.com/office/drawing/2014/main" xmlns="" id="{BD4FB953-25CB-44C1-A46C-67F098E34045}"/>
                </a:ext>
              </a:extLst>
            </p:cNvPr>
            <p:cNvSpPr/>
            <p:nvPr userDrawn="1"/>
          </p:nvSpPr>
          <p:spPr bwMode="auto">
            <a:xfrm>
              <a:off x="5513388" y="35353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2" name="iṧḷîḑè">
              <a:extLst>
                <a:ext uri="{FF2B5EF4-FFF2-40B4-BE49-F238E27FC236}">
                  <a16:creationId xmlns:a16="http://schemas.microsoft.com/office/drawing/2014/main" xmlns="" id="{4854D00D-3AFD-41C2-8D62-B919A14A859A}"/>
                </a:ext>
              </a:extLst>
            </p:cNvPr>
            <p:cNvSpPr/>
            <p:nvPr userDrawn="1"/>
          </p:nvSpPr>
          <p:spPr bwMode="auto">
            <a:xfrm>
              <a:off x="5632451" y="34671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3" name="îSḷíďè">
              <a:extLst>
                <a:ext uri="{FF2B5EF4-FFF2-40B4-BE49-F238E27FC236}">
                  <a16:creationId xmlns:a16="http://schemas.microsoft.com/office/drawing/2014/main" xmlns="" id="{AF08EB56-BADC-462F-9CC0-CA0F4D9958A5}"/>
                </a:ext>
              </a:extLst>
            </p:cNvPr>
            <p:cNvSpPr/>
            <p:nvPr userDrawn="1"/>
          </p:nvSpPr>
          <p:spPr bwMode="auto">
            <a:xfrm>
              <a:off x="5751513" y="339725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4" name="íṩḻiḋe">
              <a:extLst>
                <a:ext uri="{FF2B5EF4-FFF2-40B4-BE49-F238E27FC236}">
                  <a16:creationId xmlns:a16="http://schemas.microsoft.com/office/drawing/2014/main" xmlns="" id="{70D8DBFF-330E-431C-9882-580151808774}"/>
                </a:ext>
              </a:extLst>
            </p:cNvPr>
            <p:cNvSpPr/>
            <p:nvPr userDrawn="1"/>
          </p:nvSpPr>
          <p:spPr bwMode="auto">
            <a:xfrm>
              <a:off x="5870576" y="33289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5" name="ïšlîďé">
              <a:extLst>
                <a:ext uri="{FF2B5EF4-FFF2-40B4-BE49-F238E27FC236}">
                  <a16:creationId xmlns:a16="http://schemas.microsoft.com/office/drawing/2014/main" xmlns="" id="{F0B06081-1B14-41F3-8267-14EE83569D29}"/>
                </a:ext>
              </a:extLst>
            </p:cNvPr>
            <p:cNvSpPr/>
            <p:nvPr userDrawn="1"/>
          </p:nvSpPr>
          <p:spPr bwMode="auto">
            <a:xfrm>
              <a:off x="5992813" y="3259138"/>
              <a:ext cx="160338" cy="95250"/>
            </a:xfrm>
            <a:custGeom>
              <a:avLst/>
              <a:gdLst>
                <a:gd name="T0" fmla="*/ 49 w 49"/>
                <a:gd name="T1" fmla="*/ 14 h 29"/>
                <a:gd name="T2" fmla="*/ 24 w 49"/>
                <a:gd name="T3" fmla="*/ 29 h 29"/>
                <a:gd name="T4" fmla="*/ 0 w 49"/>
                <a:gd name="T5" fmla="*/ 14 h 29"/>
                <a:gd name="T6" fmla="*/ 24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39" y="20"/>
                    <a:pt x="34" y="23"/>
                    <a:pt x="24" y="29"/>
                  </a:cubicBezTo>
                  <a:cubicBezTo>
                    <a:pt x="14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6" name="íŝḻïḍè">
              <a:extLst>
                <a:ext uri="{FF2B5EF4-FFF2-40B4-BE49-F238E27FC236}">
                  <a16:creationId xmlns:a16="http://schemas.microsoft.com/office/drawing/2014/main" xmlns="" id="{6768B963-8ED7-4AF5-A32D-A6F7201EAE69}"/>
                </a:ext>
              </a:extLst>
            </p:cNvPr>
            <p:cNvSpPr/>
            <p:nvPr userDrawn="1"/>
          </p:nvSpPr>
          <p:spPr bwMode="auto">
            <a:xfrm>
              <a:off x="6110288" y="31924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7" name="iṡlíḍé">
              <a:extLst>
                <a:ext uri="{FF2B5EF4-FFF2-40B4-BE49-F238E27FC236}">
                  <a16:creationId xmlns:a16="http://schemas.microsoft.com/office/drawing/2014/main" xmlns="" id="{07449BEF-3525-4184-B14D-2B68C413A5E5}"/>
                </a:ext>
              </a:extLst>
            </p:cNvPr>
            <p:cNvSpPr/>
            <p:nvPr userDrawn="1"/>
          </p:nvSpPr>
          <p:spPr bwMode="auto">
            <a:xfrm>
              <a:off x="6229351" y="31242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8" name="ïṥļíḋe">
              <a:extLst>
                <a:ext uri="{FF2B5EF4-FFF2-40B4-BE49-F238E27FC236}">
                  <a16:creationId xmlns:a16="http://schemas.microsoft.com/office/drawing/2014/main" xmlns="" id="{B7F97C25-0CAA-4C74-8290-7E64B52F3A4D}"/>
                </a:ext>
              </a:extLst>
            </p:cNvPr>
            <p:cNvSpPr/>
            <p:nvPr userDrawn="1"/>
          </p:nvSpPr>
          <p:spPr bwMode="auto">
            <a:xfrm>
              <a:off x="6348413" y="305435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9" name="íşlíḋê">
              <a:extLst>
                <a:ext uri="{FF2B5EF4-FFF2-40B4-BE49-F238E27FC236}">
                  <a16:creationId xmlns:a16="http://schemas.microsoft.com/office/drawing/2014/main" xmlns="" id="{59AF981D-BB7D-47E4-AE8A-EDA3F4B3F229}"/>
                </a:ext>
              </a:extLst>
            </p:cNvPr>
            <p:cNvSpPr/>
            <p:nvPr userDrawn="1"/>
          </p:nvSpPr>
          <p:spPr bwMode="auto">
            <a:xfrm>
              <a:off x="5149851" y="3875088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0" name="iṧļíďê">
              <a:extLst>
                <a:ext uri="{FF2B5EF4-FFF2-40B4-BE49-F238E27FC236}">
                  <a16:creationId xmlns:a16="http://schemas.microsoft.com/office/drawing/2014/main" xmlns="" id="{3701D0D6-69F1-481C-9CAF-50D6DFA8111C}"/>
                </a:ext>
              </a:extLst>
            </p:cNvPr>
            <p:cNvSpPr/>
            <p:nvPr userDrawn="1"/>
          </p:nvSpPr>
          <p:spPr bwMode="auto">
            <a:xfrm>
              <a:off x="5268913" y="38068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1" name="iṩḻídê">
              <a:extLst>
                <a:ext uri="{FF2B5EF4-FFF2-40B4-BE49-F238E27FC236}">
                  <a16:creationId xmlns:a16="http://schemas.microsoft.com/office/drawing/2014/main" xmlns="" id="{EC5A4682-6643-4315-827C-2667C52385DD}"/>
                </a:ext>
              </a:extLst>
            </p:cNvPr>
            <p:cNvSpPr/>
            <p:nvPr userDrawn="1"/>
          </p:nvSpPr>
          <p:spPr bwMode="auto">
            <a:xfrm>
              <a:off x="5387976" y="373697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2" name="íşḷíḋé">
              <a:extLst>
                <a:ext uri="{FF2B5EF4-FFF2-40B4-BE49-F238E27FC236}">
                  <a16:creationId xmlns:a16="http://schemas.microsoft.com/office/drawing/2014/main" xmlns="" id="{B4AE5AC7-8205-4BD0-8DF5-7673426AD618}"/>
                </a:ext>
              </a:extLst>
            </p:cNvPr>
            <p:cNvSpPr/>
            <p:nvPr userDrawn="1"/>
          </p:nvSpPr>
          <p:spPr bwMode="auto">
            <a:xfrm>
              <a:off x="5507038" y="3667126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3" name="íşḻíḋé">
              <a:extLst>
                <a:ext uri="{FF2B5EF4-FFF2-40B4-BE49-F238E27FC236}">
                  <a16:creationId xmlns:a16="http://schemas.microsoft.com/office/drawing/2014/main" xmlns="" id="{A6F33C3F-FEE7-4816-90B3-CD1058C4361C}"/>
                </a:ext>
              </a:extLst>
            </p:cNvPr>
            <p:cNvSpPr/>
            <p:nvPr userDrawn="1"/>
          </p:nvSpPr>
          <p:spPr bwMode="auto">
            <a:xfrm>
              <a:off x="5629276" y="35988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4" y="23"/>
                    <a:pt x="9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4" name="îśļiḋê">
              <a:extLst>
                <a:ext uri="{FF2B5EF4-FFF2-40B4-BE49-F238E27FC236}">
                  <a16:creationId xmlns:a16="http://schemas.microsoft.com/office/drawing/2014/main" xmlns="" id="{E17B8C68-C7E3-4894-AFD7-EC46F86F6830}"/>
                </a:ext>
              </a:extLst>
            </p:cNvPr>
            <p:cNvSpPr/>
            <p:nvPr userDrawn="1"/>
          </p:nvSpPr>
          <p:spPr bwMode="auto">
            <a:xfrm>
              <a:off x="5748338" y="3529013"/>
              <a:ext cx="161925" cy="95250"/>
            </a:xfrm>
            <a:custGeom>
              <a:avLst/>
              <a:gdLst>
                <a:gd name="T0" fmla="*/ 49 w 49"/>
                <a:gd name="T1" fmla="*/ 15 h 29"/>
                <a:gd name="T2" fmla="*/ 25 w 49"/>
                <a:gd name="T3" fmla="*/ 29 h 29"/>
                <a:gd name="T4" fmla="*/ 0 w 49"/>
                <a:gd name="T5" fmla="*/ 15 h 29"/>
                <a:gd name="T6" fmla="*/ 24 w 49"/>
                <a:gd name="T7" fmla="*/ 0 h 29"/>
                <a:gd name="T8" fmla="*/ 49 w 49"/>
                <a:gd name="T9" fmla="*/ 1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5"/>
                  </a:moveTo>
                  <a:cubicBezTo>
                    <a:pt x="39" y="20"/>
                    <a:pt x="34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5" name="ísľïḑé">
              <a:extLst>
                <a:ext uri="{FF2B5EF4-FFF2-40B4-BE49-F238E27FC236}">
                  <a16:creationId xmlns:a16="http://schemas.microsoft.com/office/drawing/2014/main" xmlns="" id="{C29F56FB-6FD4-4508-AE02-C88D72570290}"/>
                </a:ext>
              </a:extLst>
            </p:cNvPr>
            <p:cNvSpPr/>
            <p:nvPr userDrawn="1"/>
          </p:nvSpPr>
          <p:spPr bwMode="auto">
            <a:xfrm>
              <a:off x="5867401" y="3463926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6" name="ïṣľíḋe">
              <a:extLst>
                <a:ext uri="{FF2B5EF4-FFF2-40B4-BE49-F238E27FC236}">
                  <a16:creationId xmlns:a16="http://schemas.microsoft.com/office/drawing/2014/main" xmlns="" id="{FCD58FA2-DA65-4756-986A-D901A7638C45}"/>
                </a:ext>
              </a:extLst>
            </p:cNvPr>
            <p:cNvSpPr/>
            <p:nvPr userDrawn="1"/>
          </p:nvSpPr>
          <p:spPr bwMode="auto">
            <a:xfrm>
              <a:off x="5984876" y="3394076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7" name="îṣľîdè">
              <a:extLst>
                <a:ext uri="{FF2B5EF4-FFF2-40B4-BE49-F238E27FC236}">
                  <a16:creationId xmlns:a16="http://schemas.microsoft.com/office/drawing/2014/main" xmlns="" id="{29E2467B-EB4F-4EAF-A3B0-1EC27BE2030A}"/>
                </a:ext>
              </a:extLst>
            </p:cNvPr>
            <p:cNvSpPr/>
            <p:nvPr userDrawn="1"/>
          </p:nvSpPr>
          <p:spPr bwMode="auto">
            <a:xfrm>
              <a:off x="6103938" y="3324226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8" name="îşḷîdè">
              <a:extLst>
                <a:ext uri="{FF2B5EF4-FFF2-40B4-BE49-F238E27FC236}">
                  <a16:creationId xmlns:a16="http://schemas.microsoft.com/office/drawing/2014/main" xmlns="" id="{4D8CB289-5010-4364-86DA-6AC5A05223B6}"/>
                </a:ext>
              </a:extLst>
            </p:cNvPr>
            <p:cNvSpPr/>
            <p:nvPr userDrawn="1"/>
          </p:nvSpPr>
          <p:spPr bwMode="auto">
            <a:xfrm>
              <a:off x="6226176" y="32559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9" name="iŝļïďé">
              <a:extLst>
                <a:ext uri="{FF2B5EF4-FFF2-40B4-BE49-F238E27FC236}">
                  <a16:creationId xmlns:a16="http://schemas.microsoft.com/office/drawing/2014/main" xmlns="" id="{CC61DE50-5B19-4815-B1E8-ADBD405FD1BF}"/>
                </a:ext>
              </a:extLst>
            </p:cNvPr>
            <p:cNvSpPr/>
            <p:nvPr userDrawn="1"/>
          </p:nvSpPr>
          <p:spPr bwMode="auto">
            <a:xfrm>
              <a:off x="6345238" y="3157538"/>
              <a:ext cx="214313" cy="123825"/>
            </a:xfrm>
            <a:custGeom>
              <a:avLst/>
              <a:gdLst>
                <a:gd name="T0" fmla="*/ 65 w 65"/>
                <a:gd name="T1" fmla="*/ 15 h 38"/>
                <a:gd name="T2" fmla="*/ 25 w 65"/>
                <a:gd name="T3" fmla="*/ 38 h 38"/>
                <a:gd name="T4" fmla="*/ 0 w 65"/>
                <a:gd name="T5" fmla="*/ 24 h 38"/>
                <a:gd name="T6" fmla="*/ 40 w 65"/>
                <a:gd name="T7" fmla="*/ 0 h 38"/>
                <a:gd name="T8" fmla="*/ 65 w 65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8">
                  <a:moveTo>
                    <a:pt x="65" y="15"/>
                  </a:moveTo>
                  <a:cubicBezTo>
                    <a:pt x="49" y="24"/>
                    <a:pt x="41" y="28"/>
                    <a:pt x="25" y="38"/>
                  </a:cubicBezTo>
                  <a:cubicBezTo>
                    <a:pt x="15" y="32"/>
                    <a:pt x="10" y="29"/>
                    <a:pt x="0" y="24"/>
                  </a:cubicBezTo>
                  <a:cubicBezTo>
                    <a:pt x="16" y="14"/>
                    <a:pt x="24" y="10"/>
                    <a:pt x="40" y="0"/>
                  </a:cubicBezTo>
                  <a:cubicBezTo>
                    <a:pt x="50" y="6"/>
                    <a:pt x="55" y="9"/>
                    <a:pt x="65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0" name="isliďê">
              <a:extLst>
                <a:ext uri="{FF2B5EF4-FFF2-40B4-BE49-F238E27FC236}">
                  <a16:creationId xmlns:a16="http://schemas.microsoft.com/office/drawing/2014/main" xmlns="" id="{66CD73FC-6680-4667-8838-A37B23C24114}"/>
                </a:ext>
              </a:extLst>
            </p:cNvPr>
            <p:cNvSpPr/>
            <p:nvPr userDrawn="1"/>
          </p:nvSpPr>
          <p:spPr bwMode="auto">
            <a:xfrm>
              <a:off x="6464301" y="31210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1" name="íṩliḍé">
              <a:extLst>
                <a:ext uri="{FF2B5EF4-FFF2-40B4-BE49-F238E27FC236}">
                  <a16:creationId xmlns:a16="http://schemas.microsoft.com/office/drawing/2014/main" xmlns="" id="{891BBBF5-14B6-408B-8A85-C353FD3FD4D3}"/>
                </a:ext>
              </a:extLst>
            </p:cNvPr>
            <p:cNvSpPr/>
            <p:nvPr userDrawn="1"/>
          </p:nvSpPr>
          <p:spPr bwMode="auto">
            <a:xfrm>
              <a:off x="5280026" y="3948113"/>
              <a:ext cx="163513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2" name="išḷïḓé">
              <a:extLst>
                <a:ext uri="{FF2B5EF4-FFF2-40B4-BE49-F238E27FC236}">
                  <a16:creationId xmlns:a16="http://schemas.microsoft.com/office/drawing/2014/main" xmlns="" id="{4EEDCCC2-FFA2-4A82-8BB7-8F4D97D60BC8}"/>
                </a:ext>
              </a:extLst>
            </p:cNvPr>
            <p:cNvSpPr/>
            <p:nvPr userDrawn="1"/>
          </p:nvSpPr>
          <p:spPr bwMode="auto">
            <a:xfrm>
              <a:off x="5397501" y="3878263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3" name="íšliḍè">
              <a:extLst>
                <a:ext uri="{FF2B5EF4-FFF2-40B4-BE49-F238E27FC236}">
                  <a16:creationId xmlns:a16="http://schemas.microsoft.com/office/drawing/2014/main" xmlns="" id="{69169249-3AAD-4713-B38C-86B4E68B9E35}"/>
                </a:ext>
              </a:extLst>
            </p:cNvPr>
            <p:cNvSpPr/>
            <p:nvPr userDrawn="1"/>
          </p:nvSpPr>
          <p:spPr bwMode="auto">
            <a:xfrm>
              <a:off x="5519738" y="38100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4" name="iṥ1iďê">
              <a:extLst>
                <a:ext uri="{FF2B5EF4-FFF2-40B4-BE49-F238E27FC236}">
                  <a16:creationId xmlns:a16="http://schemas.microsoft.com/office/drawing/2014/main" xmlns="" id="{F6C5F925-F1FC-4446-BAF5-AF3E36DB6C37}"/>
                </a:ext>
              </a:extLst>
            </p:cNvPr>
            <p:cNvSpPr/>
            <p:nvPr userDrawn="1"/>
          </p:nvSpPr>
          <p:spPr bwMode="auto">
            <a:xfrm>
              <a:off x="5638801" y="3397251"/>
              <a:ext cx="758825" cy="438150"/>
            </a:xfrm>
            <a:custGeom>
              <a:avLst/>
              <a:gdLst>
                <a:gd name="T0" fmla="*/ 230 w 230"/>
                <a:gd name="T1" fmla="*/ 15 h 133"/>
                <a:gd name="T2" fmla="*/ 25 w 230"/>
                <a:gd name="T3" fmla="*/ 133 h 133"/>
                <a:gd name="T4" fmla="*/ 0 w 230"/>
                <a:gd name="T5" fmla="*/ 119 h 133"/>
                <a:gd name="T6" fmla="*/ 206 w 230"/>
                <a:gd name="T7" fmla="*/ 0 h 133"/>
                <a:gd name="T8" fmla="*/ 230 w 230"/>
                <a:gd name="T9" fmla="*/ 1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133">
                  <a:moveTo>
                    <a:pt x="230" y="15"/>
                  </a:moveTo>
                  <a:cubicBezTo>
                    <a:pt x="162" y="54"/>
                    <a:pt x="93" y="93"/>
                    <a:pt x="25" y="133"/>
                  </a:cubicBezTo>
                  <a:cubicBezTo>
                    <a:pt x="15" y="127"/>
                    <a:pt x="10" y="124"/>
                    <a:pt x="0" y="119"/>
                  </a:cubicBezTo>
                  <a:cubicBezTo>
                    <a:pt x="68" y="79"/>
                    <a:pt x="137" y="40"/>
                    <a:pt x="206" y="0"/>
                  </a:cubicBezTo>
                  <a:cubicBezTo>
                    <a:pt x="216" y="6"/>
                    <a:pt x="221" y="9"/>
                    <a:pt x="230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5" name="iSḷîḋe">
              <a:extLst>
                <a:ext uri="{FF2B5EF4-FFF2-40B4-BE49-F238E27FC236}">
                  <a16:creationId xmlns:a16="http://schemas.microsoft.com/office/drawing/2014/main" xmlns="" id="{7D4E4A3A-5DC8-48D7-8400-D730F397CDA4}"/>
                </a:ext>
              </a:extLst>
            </p:cNvPr>
            <p:cNvSpPr/>
            <p:nvPr userDrawn="1"/>
          </p:nvSpPr>
          <p:spPr bwMode="auto">
            <a:xfrm>
              <a:off x="6354763" y="33321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6" name="ïṥḷíḍé">
              <a:extLst>
                <a:ext uri="{FF2B5EF4-FFF2-40B4-BE49-F238E27FC236}">
                  <a16:creationId xmlns:a16="http://schemas.microsoft.com/office/drawing/2014/main" xmlns="" id="{F037EA49-B366-4DF4-84CF-13FB1D6856A4}"/>
                </a:ext>
              </a:extLst>
            </p:cNvPr>
            <p:cNvSpPr/>
            <p:nvPr userDrawn="1"/>
          </p:nvSpPr>
          <p:spPr bwMode="auto">
            <a:xfrm>
              <a:off x="6477001" y="326231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2"/>
                    <a:pt x="24" y="28"/>
                  </a:cubicBezTo>
                  <a:cubicBezTo>
                    <a:pt x="14" y="22"/>
                    <a:pt x="9" y="20"/>
                    <a:pt x="0" y="14"/>
                  </a:cubicBezTo>
                  <a:cubicBezTo>
                    <a:pt x="9" y="8"/>
                    <a:pt x="14" y="6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7" name="iṩļiḑe">
              <a:extLst>
                <a:ext uri="{FF2B5EF4-FFF2-40B4-BE49-F238E27FC236}">
                  <a16:creationId xmlns:a16="http://schemas.microsoft.com/office/drawing/2014/main" xmlns="" id="{86128F69-38BD-46F7-81C5-E4D0DD565B24}"/>
                </a:ext>
              </a:extLst>
            </p:cNvPr>
            <p:cNvSpPr/>
            <p:nvPr userDrawn="1"/>
          </p:nvSpPr>
          <p:spPr bwMode="auto">
            <a:xfrm>
              <a:off x="6596063" y="31924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8" name="ísḻïḑe">
              <a:extLst>
                <a:ext uri="{FF2B5EF4-FFF2-40B4-BE49-F238E27FC236}">
                  <a16:creationId xmlns:a16="http://schemas.microsoft.com/office/drawing/2014/main" xmlns="" id="{FCFAD625-940A-4169-9608-A7D01B3A59F2}"/>
                </a:ext>
              </a:extLst>
            </p:cNvPr>
            <p:cNvSpPr/>
            <p:nvPr userDrawn="1"/>
          </p:nvSpPr>
          <p:spPr bwMode="auto">
            <a:xfrm>
              <a:off x="5843588" y="3546476"/>
              <a:ext cx="877888" cy="517525"/>
            </a:xfrm>
            <a:custGeom>
              <a:avLst/>
              <a:gdLst>
                <a:gd name="T0" fmla="*/ 0 w 553"/>
                <a:gd name="T1" fmla="*/ 203 h 326"/>
                <a:gd name="T2" fmla="*/ 353 w 553"/>
                <a:gd name="T3" fmla="*/ 0 h 326"/>
                <a:gd name="T4" fmla="*/ 553 w 553"/>
                <a:gd name="T5" fmla="*/ 124 h 326"/>
                <a:gd name="T6" fmla="*/ 202 w 553"/>
                <a:gd name="T7" fmla="*/ 326 h 326"/>
                <a:gd name="T8" fmla="*/ 0 w 553"/>
                <a:gd name="T9" fmla="*/ 20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3" h="326">
                  <a:moveTo>
                    <a:pt x="0" y="203"/>
                  </a:moveTo>
                  <a:lnTo>
                    <a:pt x="353" y="0"/>
                  </a:lnTo>
                  <a:lnTo>
                    <a:pt x="553" y="124"/>
                  </a:lnTo>
                  <a:lnTo>
                    <a:pt x="202" y="326"/>
                  </a:lnTo>
                  <a:lnTo>
                    <a:pt x="0" y="203"/>
                  </a:ln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9" name="îşļïdè">
              <a:extLst>
                <a:ext uri="{FF2B5EF4-FFF2-40B4-BE49-F238E27FC236}">
                  <a16:creationId xmlns:a16="http://schemas.microsoft.com/office/drawing/2014/main" xmlns="" id="{DC9BF586-4EE4-4723-ACC0-C5D74B121963}"/>
                </a:ext>
              </a:extLst>
            </p:cNvPr>
            <p:cNvSpPr/>
            <p:nvPr userDrawn="1"/>
          </p:nvSpPr>
          <p:spPr bwMode="auto">
            <a:xfrm>
              <a:off x="5849938" y="2230438"/>
              <a:ext cx="95250" cy="58738"/>
            </a:xfrm>
            <a:custGeom>
              <a:avLst/>
              <a:gdLst>
                <a:gd name="T0" fmla="*/ 0 w 60"/>
                <a:gd name="T1" fmla="*/ 35 h 37"/>
                <a:gd name="T2" fmla="*/ 60 w 60"/>
                <a:gd name="T3" fmla="*/ 0 h 37"/>
                <a:gd name="T4" fmla="*/ 60 w 60"/>
                <a:gd name="T5" fmla="*/ 2 h 37"/>
                <a:gd name="T6" fmla="*/ 0 w 60"/>
                <a:gd name="T7" fmla="*/ 37 h 37"/>
                <a:gd name="T8" fmla="*/ 0 w 60"/>
                <a:gd name="T9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37">
                  <a:moveTo>
                    <a:pt x="0" y="35"/>
                  </a:moveTo>
                  <a:lnTo>
                    <a:pt x="60" y="0"/>
                  </a:lnTo>
                  <a:lnTo>
                    <a:pt x="60" y="2"/>
                  </a:lnTo>
                  <a:lnTo>
                    <a:pt x="0" y="37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0" name="ïsļídè">
              <a:extLst>
                <a:ext uri="{FF2B5EF4-FFF2-40B4-BE49-F238E27FC236}">
                  <a16:creationId xmlns:a16="http://schemas.microsoft.com/office/drawing/2014/main" xmlns="" id="{6DD62C18-9A84-4239-916C-9FF12FB15450}"/>
                </a:ext>
              </a:extLst>
            </p:cNvPr>
            <p:cNvSpPr/>
            <p:nvPr userDrawn="1"/>
          </p:nvSpPr>
          <p:spPr bwMode="auto">
            <a:xfrm>
              <a:off x="5773738" y="2306638"/>
              <a:ext cx="36513" cy="25400"/>
            </a:xfrm>
            <a:custGeom>
              <a:avLst/>
              <a:gdLst>
                <a:gd name="T0" fmla="*/ 0 w 23"/>
                <a:gd name="T1" fmla="*/ 16 h 16"/>
                <a:gd name="T2" fmla="*/ 0 w 23"/>
                <a:gd name="T3" fmla="*/ 14 h 16"/>
                <a:gd name="T4" fmla="*/ 23 w 23"/>
                <a:gd name="T5" fmla="*/ 0 h 16"/>
                <a:gd name="T6" fmla="*/ 21 w 23"/>
                <a:gd name="T7" fmla="*/ 4 h 16"/>
                <a:gd name="T8" fmla="*/ 0 w 2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6">
                  <a:moveTo>
                    <a:pt x="0" y="16"/>
                  </a:moveTo>
                  <a:lnTo>
                    <a:pt x="0" y="14"/>
                  </a:lnTo>
                  <a:lnTo>
                    <a:pt x="23" y="0"/>
                  </a:lnTo>
                  <a:lnTo>
                    <a:pt x="21" y="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1" name="ïṩļîdè">
              <a:extLst>
                <a:ext uri="{FF2B5EF4-FFF2-40B4-BE49-F238E27FC236}">
                  <a16:creationId xmlns:a16="http://schemas.microsoft.com/office/drawing/2014/main" xmlns="" id="{34456401-8251-4B72-9226-D754B4CEBF66}"/>
                </a:ext>
              </a:extLst>
            </p:cNvPr>
            <p:cNvSpPr/>
            <p:nvPr userDrawn="1"/>
          </p:nvSpPr>
          <p:spPr bwMode="auto">
            <a:xfrm>
              <a:off x="5892801" y="2335213"/>
              <a:ext cx="52388" cy="36513"/>
            </a:xfrm>
            <a:custGeom>
              <a:avLst/>
              <a:gdLst>
                <a:gd name="T0" fmla="*/ 0 w 33"/>
                <a:gd name="T1" fmla="*/ 21 h 23"/>
                <a:gd name="T2" fmla="*/ 33 w 33"/>
                <a:gd name="T3" fmla="*/ 0 h 23"/>
                <a:gd name="T4" fmla="*/ 33 w 33"/>
                <a:gd name="T5" fmla="*/ 5 h 23"/>
                <a:gd name="T6" fmla="*/ 2 w 33"/>
                <a:gd name="T7" fmla="*/ 23 h 23"/>
                <a:gd name="T8" fmla="*/ 0 w 3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0" y="21"/>
                  </a:moveTo>
                  <a:lnTo>
                    <a:pt x="33" y="0"/>
                  </a:lnTo>
                  <a:lnTo>
                    <a:pt x="33" y="5"/>
                  </a:lnTo>
                  <a:lnTo>
                    <a:pt x="2" y="23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2" name="ïṧľîḋe">
              <a:extLst>
                <a:ext uri="{FF2B5EF4-FFF2-40B4-BE49-F238E27FC236}">
                  <a16:creationId xmlns:a16="http://schemas.microsoft.com/office/drawing/2014/main" xmlns="" id="{5FC2F762-25D4-4D91-B455-FF6A127507BC}"/>
                </a:ext>
              </a:extLst>
            </p:cNvPr>
            <p:cNvSpPr/>
            <p:nvPr userDrawn="1"/>
          </p:nvSpPr>
          <p:spPr bwMode="auto">
            <a:xfrm>
              <a:off x="5705476" y="2249488"/>
              <a:ext cx="239713" cy="357188"/>
            </a:xfrm>
            <a:custGeom>
              <a:avLst/>
              <a:gdLst>
                <a:gd name="T0" fmla="*/ 120 w 151"/>
                <a:gd name="T1" fmla="*/ 77 h 225"/>
                <a:gd name="T2" fmla="*/ 151 w 151"/>
                <a:gd name="T3" fmla="*/ 137 h 225"/>
                <a:gd name="T4" fmla="*/ 112 w 151"/>
                <a:gd name="T5" fmla="*/ 160 h 225"/>
                <a:gd name="T6" fmla="*/ 0 w 151"/>
                <a:gd name="T7" fmla="*/ 225 h 225"/>
                <a:gd name="T8" fmla="*/ 54 w 151"/>
                <a:gd name="T9" fmla="*/ 69 h 225"/>
                <a:gd name="T10" fmla="*/ 64 w 151"/>
                <a:gd name="T11" fmla="*/ 40 h 225"/>
                <a:gd name="T12" fmla="*/ 66 w 151"/>
                <a:gd name="T13" fmla="*/ 36 h 225"/>
                <a:gd name="T14" fmla="*/ 79 w 151"/>
                <a:gd name="T15" fmla="*/ 0 h 225"/>
                <a:gd name="T16" fmla="*/ 91 w 151"/>
                <a:gd name="T17" fmla="*/ 23 h 225"/>
                <a:gd name="T18" fmla="*/ 91 w 151"/>
                <a:gd name="T19" fmla="*/ 25 h 225"/>
                <a:gd name="T20" fmla="*/ 118 w 151"/>
                <a:gd name="T21" fmla="*/ 75 h 225"/>
                <a:gd name="T22" fmla="*/ 120 w 151"/>
                <a:gd name="T23" fmla="*/ 7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1" h="225">
                  <a:moveTo>
                    <a:pt x="120" y="77"/>
                  </a:moveTo>
                  <a:lnTo>
                    <a:pt x="151" y="137"/>
                  </a:lnTo>
                  <a:lnTo>
                    <a:pt x="112" y="160"/>
                  </a:lnTo>
                  <a:lnTo>
                    <a:pt x="0" y="225"/>
                  </a:lnTo>
                  <a:lnTo>
                    <a:pt x="54" y="69"/>
                  </a:lnTo>
                  <a:lnTo>
                    <a:pt x="64" y="40"/>
                  </a:lnTo>
                  <a:lnTo>
                    <a:pt x="66" y="36"/>
                  </a:lnTo>
                  <a:lnTo>
                    <a:pt x="79" y="0"/>
                  </a:lnTo>
                  <a:lnTo>
                    <a:pt x="91" y="23"/>
                  </a:lnTo>
                  <a:lnTo>
                    <a:pt x="91" y="25"/>
                  </a:lnTo>
                  <a:lnTo>
                    <a:pt x="118" y="75"/>
                  </a:lnTo>
                  <a:lnTo>
                    <a:pt x="120" y="7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3" name="îş1iḓê">
              <a:extLst>
                <a:ext uri="{FF2B5EF4-FFF2-40B4-BE49-F238E27FC236}">
                  <a16:creationId xmlns:a16="http://schemas.microsoft.com/office/drawing/2014/main" xmlns="" id="{4EE7C0E0-46B6-4793-946C-FBD5744F3965}"/>
                </a:ext>
              </a:extLst>
            </p:cNvPr>
            <p:cNvSpPr/>
            <p:nvPr userDrawn="1"/>
          </p:nvSpPr>
          <p:spPr bwMode="auto">
            <a:xfrm>
              <a:off x="5638801" y="2292351"/>
              <a:ext cx="152400" cy="314325"/>
            </a:xfrm>
            <a:custGeom>
              <a:avLst/>
              <a:gdLst>
                <a:gd name="T0" fmla="*/ 85 w 96"/>
                <a:gd name="T1" fmla="*/ 25 h 198"/>
                <a:gd name="T2" fmla="*/ 96 w 96"/>
                <a:gd name="T3" fmla="*/ 42 h 198"/>
                <a:gd name="T4" fmla="*/ 42 w 96"/>
                <a:gd name="T5" fmla="*/ 198 h 198"/>
                <a:gd name="T6" fmla="*/ 0 w 96"/>
                <a:gd name="T7" fmla="*/ 181 h 198"/>
                <a:gd name="T8" fmla="*/ 21 w 96"/>
                <a:gd name="T9" fmla="*/ 131 h 198"/>
                <a:gd name="T10" fmla="*/ 21 w 96"/>
                <a:gd name="T11" fmla="*/ 127 h 198"/>
                <a:gd name="T12" fmla="*/ 54 w 96"/>
                <a:gd name="T13" fmla="*/ 44 h 198"/>
                <a:gd name="T14" fmla="*/ 54 w 96"/>
                <a:gd name="T15" fmla="*/ 40 h 198"/>
                <a:gd name="T16" fmla="*/ 71 w 96"/>
                <a:gd name="T17" fmla="*/ 0 h 198"/>
                <a:gd name="T18" fmla="*/ 85 w 96"/>
                <a:gd name="T19" fmla="*/ 23 h 198"/>
                <a:gd name="T20" fmla="*/ 85 w 96"/>
                <a:gd name="T21" fmla="*/ 25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198">
                  <a:moveTo>
                    <a:pt x="85" y="25"/>
                  </a:moveTo>
                  <a:lnTo>
                    <a:pt x="96" y="42"/>
                  </a:lnTo>
                  <a:lnTo>
                    <a:pt x="42" y="198"/>
                  </a:lnTo>
                  <a:lnTo>
                    <a:pt x="0" y="181"/>
                  </a:lnTo>
                  <a:lnTo>
                    <a:pt x="21" y="131"/>
                  </a:lnTo>
                  <a:lnTo>
                    <a:pt x="21" y="127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71" y="0"/>
                  </a:lnTo>
                  <a:lnTo>
                    <a:pt x="85" y="23"/>
                  </a:lnTo>
                  <a:lnTo>
                    <a:pt x="85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4" name="ïSľîḋe">
              <a:extLst>
                <a:ext uri="{FF2B5EF4-FFF2-40B4-BE49-F238E27FC236}">
                  <a16:creationId xmlns:a16="http://schemas.microsoft.com/office/drawing/2014/main" xmlns="" id="{E9A8FB5E-954E-40D5-9DD5-E755FA4E3019}"/>
                </a:ext>
              </a:extLst>
            </p:cNvPr>
            <p:cNvSpPr/>
            <p:nvPr userDrawn="1"/>
          </p:nvSpPr>
          <p:spPr bwMode="auto">
            <a:xfrm>
              <a:off x="5443538" y="2557463"/>
              <a:ext cx="261938" cy="200025"/>
            </a:xfrm>
            <a:custGeom>
              <a:avLst/>
              <a:gdLst>
                <a:gd name="T0" fmla="*/ 82 w 165"/>
                <a:gd name="T1" fmla="*/ 0 h 126"/>
                <a:gd name="T2" fmla="*/ 123 w 165"/>
                <a:gd name="T3" fmla="*/ 14 h 126"/>
                <a:gd name="T4" fmla="*/ 165 w 165"/>
                <a:gd name="T5" fmla="*/ 31 h 126"/>
                <a:gd name="T6" fmla="*/ 104 w 165"/>
                <a:gd name="T7" fmla="*/ 66 h 126"/>
                <a:gd name="T8" fmla="*/ 0 w 165"/>
                <a:gd name="T9" fmla="*/ 126 h 126"/>
                <a:gd name="T10" fmla="*/ 67 w 165"/>
                <a:gd name="T11" fmla="*/ 18 h 126"/>
                <a:gd name="T12" fmla="*/ 79 w 165"/>
                <a:gd name="T13" fmla="*/ 0 h 126"/>
                <a:gd name="T14" fmla="*/ 82 w 165"/>
                <a:gd name="T15" fmla="*/ 0 h 126"/>
                <a:gd name="T16" fmla="*/ 82 w 165"/>
                <a:gd name="T1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26">
                  <a:moveTo>
                    <a:pt x="82" y="0"/>
                  </a:moveTo>
                  <a:lnTo>
                    <a:pt x="123" y="14"/>
                  </a:lnTo>
                  <a:lnTo>
                    <a:pt x="165" y="31"/>
                  </a:lnTo>
                  <a:lnTo>
                    <a:pt x="104" y="66"/>
                  </a:lnTo>
                  <a:lnTo>
                    <a:pt x="0" y="126"/>
                  </a:lnTo>
                  <a:lnTo>
                    <a:pt x="67" y="18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5" name="íṧľiḓè">
              <a:extLst>
                <a:ext uri="{FF2B5EF4-FFF2-40B4-BE49-F238E27FC236}">
                  <a16:creationId xmlns:a16="http://schemas.microsoft.com/office/drawing/2014/main" xmlns="" id="{1D73FDA0-004E-4071-BA8E-F8B1CC4709EE}"/>
                </a:ext>
              </a:extLst>
            </p:cNvPr>
            <p:cNvSpPr/>
            <p:nvPr userDrawn="1"/>
          </p:nvSpPr>
          <p:spPr bwMode="auto">
            <a:xfrm>
              <a:off x="5540376" y="2493963"/>
              <a:ext cx="131763" cy="79375"/>
            </a:xfrm>
            <a:custGeom>
              <a:avLst/>
              <a:gdLst>
                <a:gd name="T0" fmla="*/ 0 w 83"/>
                <a:gd name="T1" fmla="*/ 50 h 50"/>
                <a:gd name="T2" fmla="*/ 0 w 83"/>
                <a:gd name="T3" fmla="*/ 50 h 50"/>
                <a:gd name="T4" fmla="*/ 83 w 83"/>
                <a:gd name="T5" fmla="*/ 0 h 50"/>
                <a:gd name="T6" fmla="*/ 83 w 83"/>
                <a:gd name="T7" fmla="*/ 4 h 50"/>
                <a:gd name="T8" fmla="*/ 21 w 83"/>
                <a:gd name="T9" fmla="*/ 40 h 50"/>
                <a:gd name="T10" fmla="*/ 21 w 83"/>
                <a:gd name="T11" fmla="*/ 40 h 50"/>
                <a:gd name="T12" fmla="*/ 18 w 83"/>
                <a:gd name="T13" fmla="*/ 40 h 50"/>
                <a:gd name="T14" fmla="*/ 0 w 83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50">
                  <a:moveTo>
                    <a:pt x="0" y="50"/>
                  </a:moveTo>
                  <a:lnTo>
                    <a:pt x="0" y="50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8" y="4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6" name="iṥľiḋe">
              <a:extLst>
                <a:ext uri="{FF2B5EF4-FFF2-40B4-BE49-F238E27FC236}">
                  <a16:creationId xmlns:a16="http://schemas.microsoft.com/office/drawing/2014/main" xmlns="" id="{5A3941C3-6E78-49FB-A78F-9B020C8B71D7}"/>
                </a:ext>
              </a:extLst>
            </p:cNvPr>
            <p:cNvSpPr/>
            <p:nvPr userDrawn="1"/>
          </p:nvSpPr>
          <p:spPr bwMode="auto">
            <a:xfrm>
              <a:off x="5418138" y="2517776"/>
              <a:ext cx="131763" cy="239713"/>
            </a:xfrm>
            <a:custGeom>
              <a:avLst/>
              <a:gdLst>
                <a:gd name="T0" fmla="*/ 77 w 83"/>
                <a:gd name="T1" fmla="*/ 35 h 151"/>
                <a:gd name="T2" fmla="*/ 83 w 83"/>
                <a:gd name="T3" fmla="*/ 43 h 151"/>
                <a:gd name="T4" fmla="*/ 16 w 83"/>
                <a:gd name="T5" fmla="*/ 151 h 151"/>
                <a:gd name="T6" fmla="*/ 0 w 83"/>
                <a:gd name="T7" fmla="*/ 120 h 151"/>
                <a:gd name="T8" fmla="*/ 21 w 83"/>
                <a:gd name="T9" fmla="*/ 68 h 151"/>
                <a:gd name="T10" fmla="*/ 23 w 83"/>
                <a:gd name="T11" fmla="*/ 66 h 151"/>
                <a:gd name="T12" fmla="*/ 50 w 83"/>
                <a:gd name="T13" fmla="*/ 0 h 151"/>
                <a:gd name="T14" fmla="*/ 77 w 83"/>
                <a:gd name="T15" fmla="*/ 35 h 151"/>
                <a:gd name="T16" fmla="*/ 77 w 83"/>
                <a:gd name="T17" fmla="*/ 3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51">
                  <a:moveTo>
                    <a:pt x="77" y="35"/>
                  </a:moveTo>
                  <a:lnTo>
                    <a:pt x="83" y="43"/>
                  </a:lnTo>
                  <a:lnTo>
                    <a:pt x="16" y="151"/>
                  </a:lnTo>
                  <a:lnTo>
                    <a:pt x="0" y="120"/>
                  </a:lnTo>
                  <a:lnTo>
                    <a:pt x="21" y="68"/>
                  </a:lnTo>
                  <a:lnTo>
                    <a:pt x="23" y="66"/>
                  </a:lnTo>
                  <a:lnTo>
                    <a:pt x="50" y="0"/>
                  </a:lnTo>
                  <a:lnTo>
                    <a:pt x="77" y="35"/>
                  </a:lnTo>
                  <a:lnTo>
                    <a:pt x="77" y="3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7" name="îṧḻîdê">
              <a:extLst>
                <a:ext uri="{FF2B5EF4-FFF2-40B4-BE49-F238E27FC236}">
                  <a16:creationId xmlns:a16="http://schemas.microsoft.com/office/drawing/2014/main" xmlns="" id="{CBFEAFE4-5DA9-4E1E-B450-01E16F62417F}"/>
                </a:ext>
              </a:extLst>
            </p:cNvPr>
            <p:cNvSpPr/>
            <p:nvPr userDrawn="1"/>
          </p:nvSpPr>
          <p:spPr bwMode="auto">
            <a:xfrm>
              <a:off x="5391151" y="2622551"/>
              <a:ext cx="63500" cy="36513"/>
            </a:xfrm>
            <a:custGeom>
              <a:avLst/>
              <a:gdLst>
                <a:gd name="T0" fmla="*/ 0 w 40"/>
                <a:gd name="T1" fmla="*/ 23 h 23"/>
                <a:gd name="T2" fmla="*/ 0 w 40"/>
                <a:gd name="T3" fmla="*/ 21 h 23"/>
                <a:gd name="T4" fmla="*/ 40 w 40"/>
                <a:gd name="T5" fmla="*/ 0 h 23"/>
                <a:gd name="T6" fmla="*/ 38 w 40"/>
                <a:gd name="T7" fmla="*/ 2 h 23"/>
                <a:gd name="T8" fmla="*/ 0 w 40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0" y="23"/>
                  </a:moveTo>
                  <a:lnTo>
                    <a:pt x="0" y="21"/>
                  </a:lnTo>
                  <a:lnTo>
                    <a:pt x="40" y="0"/>
                  </a:lnTo>
                  <a:lnTo>
                    <a:pt x="38" y="2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8" name="îşḷîḋe">
              <a:extLst>
                <a:ext uri="{FF2B5EF4-FFF2-40B4-BE49-F238E27FC236}">
                  <a16:creationId xmlns:a16="http://schemas.microsoft.com/office/drawing/2014/main" xmlns="" id="{4144528C-2570-4B2C-9600-4C8F1255B4AB}"/>
                </a:ext>
              </a:extLst>
            </p:cNvPr>
            <p:cNvSpPr/>
            <p:nvPr userDrawn="1"/>
          </p:nvSpPr>
          <p:spPr bwMode="auto">
            <a:xfrm>
              <a:off x="5348288" y="2355851"/>
              <a:ext cx="376238" cy="220663"/>
            </a:xfrm>
            <a:custGeom>
              <a:avLst/>
              <a:gdLst>
                <a:gd name="T0" fmla="*/ 2 w 237"/>
                <a:gd name="T1" fmla="*/ 139 h 139"/>
                <a:gd name="T2" fmla="*/ 0 w 237"/>
                <a:gd name="T3" fmla="*/ 137 h 139"/>
                <a:gd name="T4" fmla="*/ 237 w 237"/>
                <a:gd name="T5" fmla="*/ 0 h 139"/>
                <a:gd name="T6" fmla="*/ 237 w 237"/>
                <a:gd name="T7" fmla="*/ 4 h 139"/>
                <a:gd name="T8" fmla="*/ 2 w 237"/>
                <a:gd name="T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39">
                  <a:moveTo>
                    <a:pt x="2" y="139"/>
                  </a:moveTo>
                  <a:lnTo>
                    <a:pt x="0" y="137"/>
                  </a:lnTo>
                  <a:lnTo>
                    <a:pt x="237" y="0"/>
                  </a:lnTo>
                  <a:lnTo>
                    <a:pt x="237" y="4"/>
                  </a:lnTo>
                  <a:lnTo>
                    <a:pt x="2" y="13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9" name="íṧľïḍe">
              <a:extLst>
                <a:ext uri="{FF2B5EF4-FFF2-40B4-BE49-F238E27FC236}">
                  <a16:creationId xmlns:a16="http://schemas.microsoft.com/office/drawing/2014/main" xmlns="" id="{81293A50-F781-4868-AA7F-B952558AA7A6}"/>
                </a:ext>
              </a:extLst>
            </p:cNvPr>
            <p:cNvSpPr/>
            <p:nvPr userDrawn="1"/>
          </p:nvSpPr>
          <p:spPr bwMode="auto">
            <a:xfrm>
              <a:off x="5222876" y="2540001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0" name="ïślíḋè">
              <a:extLst>
                <a:ext uri="{FF2B5EF4-FFF2-40B4-BE49-F238E27FC236}">
                  <a16:creationId xmlns:a16="http://schemas.microsoft.com/office/drawing/2014/main" xmlns="" id="{54006F58-64AC-48CA-BC1E-53B4581EDA57}"/>
                </a:ext>
              </a:extLst>
            </p:cNvPr>
            <p:cNvSpPr/>
            <p:nvPr userDrawn="1"/>
          </p:nvSpPr>
          <p:spPr bwMode="auto">
            <a:xfrm>
              <a:off x="5222876" y="2540001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1" name="ïṣ1iḍé">
              <a:extLst>
                <a:ext uri="{FF2B5EF4-FFF2-40B4-BE49-F238E27FC236}">
                  <a16:creationId xmlns:a16="http://schemas.microsoft.com/office/drawing/2014/main" xmlns="" id="{1B9B4062-DDBD-4A03-B70D-8D52C39F53AF}"/>
                </a:ext>
              </a:extLst>
            </p:cNvPr>
            <p:cNvSpPr/>
            <p:nvPr userDrawn="1"/>
          </p:nvSpPr>
          <p:spPr bwMode="auto">
            <a:xfrm>
              <a:off x="5275263" y="2592388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2" name="îṩḷïḑê">
              <a:extLst>
                <a:ext uri="{FF2B5EF4-FFF2-40B4-BE49-F238E27FC236}">
                  <a16:creationId xmlns:a16="http://schemas.microsoft.com/office/drawing/2014/main" xmlns="" id="{C1ECE521-7856-45B0-A4E3-23A50DCF66D9}"/>
                </a:ext>
              </a:extLst>
            </p:cNvPr>
            <p:cNvSpPr/>
            <p:nvPr userDrawn="1"/>
          </p:nvSpPr>
          <p:spPr bwMode="auto">
            <a:xfrm>
              <a:off x="5275263" y="2592388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3" name="ïṡ1îde">
              <a:extLst>
                <a:ext uri="{FF2B5EF4-FFF2-40B4-BE49-F238E27FC236}">
                  <a16:creationId xmlns:a16="http://schemas.microsoft.com/office/drawing/2014/main" xmlns="" id="{C7B81BAF-2583-4FD6-B716-AB34BA832910}"/>
                </a:ext>
              </a:extLst>
            </p:cNvPr>
            <p:cNvSpPr/>
            <p:nvPr userDrawn="1"/>
          </p:nvSpPr>
          <p:spPr bwMode="auto">
            <a:xfrm>
              <a:off x="5226051" y="2114551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4" name="íṧļíďê">
              <a:extLst>
                <a:ext uri="{FF2B5EF4-FFF2-40B4-BE49-F238E27FC236}">
                  <a16:creationId xmlns:a16="http://schemas.microsoft.com/office/drawing/2014/main" xmlns="" id="{CF2DAE5E-3EE5-49E7-B570-80922EA57AA2}"/>
                </a:ext>
              </a:extLst>
            </p:cNvPr>
            <p:cNvSpPr/>
            <p:nvPr userDrawn="1"/>
          </p:nvSpPr>
          <p:spPr bwMode="auto">
            <a:xfrm>
              <a:off x="5226051" y="2114551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5" name="iś1íḍê">
              <a:extLst>
                <a:ext uri="{FF2B5EF4-FFF2-40B4-BE49-F238E27FC236}">
                  <a16:creationId xmlns:a16="http://schemas.microsoft.com/office/drawing/2014/main" xmlns="" id="{7A491F55-328B-4A07-A8AA-D5AFA080346D}"/>
                </a:ext>
              </a:extLst>
            </p:cNvPr>
            <p:cNvSpPr/>
            <p:nvPr userDrawn="1"/>
          </p:nvSpPr>
          <p:spPr bwMode="auto">
            <a:xfrm>
              <a:off x="4732338" y="2009776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6" name="îSľîḓè">
              <a:extLst>
                <a:ext uri="{FF2B5EF4-FFF2-40B4-BE49-F238E27FC236}">
                  <a16:creationId xmlns:a16="http://schemas.microsoft.com/office/drawing/2014/main" xmlns="" id="{99BA6270-6DEB-4E46-B77A-5CB90E2FCA24}"/>
                </a:ext>
              </a:extLst>
            </p:cNvPr>
            <p:cNvSpPr/>
            <p:nvPr userDrawn="1"/>
          </p:nvSpPr>
          <p:spPr bwMode="auto">
            <a:xfrm>
              <a:off x="4732338" y="2009776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7" name="ïṣľidé">
              <a:extLst>
                <a:ext uri="{FF2B5EF4-FFF2-40B4-BE49-F238E27FC236}">
                  <a16:creationId xmlns:a16="http://schemas.microsoft.com/office/drawing/2014/main" xmlns="" id="{FDC8207C-29B8-46A8-8776-35293A46F78A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8" name="íṩlíďe">
              <a:extLst>
                <a:ext uri="{FF2B5EF4-FFF2-40B4-BE49-F238E27FC236}">
                  <a16:creationId xmlns:a16="http://schemas.microsoft.com/office/drawing/2014/main" xmlns="" id="{98CE278E-AED4-4527-84A5-F28847A91F72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9" name="ï$lidè">
              <a:extLst>
                <a:ext uri="{FF2B5EF4-FFF2-40B4-BE49-F238E27FC236}">
                  <a16:creationId xmlns:a16="http://schemas.microsoft.com/office/drawing/2014/main" xmlns="" id="{3C25C3A6-B985-4FE4-83D1-C00B6333D00E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0" name="îṡḷide">
              <a:extLst>
                <a:ext uri="{FF2B5EF4-FFF2-40B4-BE49-F238E27FC236}">
                  <a16:creationId xmlns:a16="http://schemas.microsoft.com/office/drawing/2014/main" xmlns="" id="{A2BCDADF-A1DD-438D-B734-C9E600750161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1" name="î$1ïḋè">
              <a:extLst>
                <a:ext uri="{FF2B5EF4-FFF2-40B4-BE49-F238E27FC236}">
                  <a16:creationId xmlns:a16="http://schemas.microsoft.com/office/drawing/2014/main" xmlns="" id="{D08F1F7E-B0C9-49DF-8450-6DD9C8A8209E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2" name="íśļîďè">
              <a:extLst>
                <a:ext uri="{FF2B5EF4-FFF2-40B4-BE49-F238E27FC236}">
                  <a16:creationId xmlns:a16="http://schemas.microsoft.com/office/drawing/2014/main" xmlns="" id="{7D03E378-A4B3-46D2-A257-9BE108A760B9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3" name="ïśḷïḋè">
              <a:extLst>
                <a:ext uri="{FF2B5EF4-FFF2-40B4-BE49-F238E27FC236}">
                  <a16:creationId xmlns:a16="http://schemas.microsoft.com/office/drawing/2014/main" xmlns="" id="{2F56DFDD-F485-45F8-BF07-A8970964B0F9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4" name="îṣľïḍe">
              <a:extLst>
                <a:ext uri="{FF2B5EF4-FFF2-40B4-BE49-F238E27FC236}">
                  <a16:creationId xmlns:a16="http://schemas.microsoft.com/office/drawing/2014/main" xmlns="" id="{42F227A5-713E-4CF7-9D65-59D4BFB3B368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5" name="îṣ1iďè">
              <a:extLst>
                <a:ext uri="{FF2B5EF4-FFF2-40B4-BE49-F238E27FC236}">
                  <a16:creationId xmlns:a16="http://schemas.microsoft.com/office/drawing/2014/main" xmlns="" id="{91A7584A-5868-4AA2-8F51-B4A5D25E4FDB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6" name="îṣļíḑê">
              <a:extLst>
                <a:ext uri="{FF2B5EF4-FFF2-40B4-BE49-F238E27FC236}">
                  <a16:creationId xmlns:a16="http://schemas.microsoft.com/office/drawing/2014/main" xmlns="" id="{5D9D6CD8-A0EA-4742-A82A-28145EFC4F11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7" name="îṩlïďé">
              <a:extLst>
                <a:ext uri="{FF2B5EF4-FFF2-40B4-BE49-F238E27FC236}">
                  <a16:creationId xmlns:a16="http://schemas.microsoft.com/office/drawing/2014/main" xmlns="" id="{F9EEAB49-54B5-49E0-A9D4-CC1EA6A8CFD5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8" name="îṡlïḋê">
              <a:extLst>
                <a:ext uri="{FF2B5EF4-FFF2-40B4-BE49-F238E27FC236}">
                  <a16:creationId xmlns:a16="http://schemas.microsoft.com/office/drawing/2014/main" xmlns="" id="{3718D666-78B5-4844-ACE2-80BBF7D0C11F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9" name="îšlíḍè">
              <a:extLst>
                <a:ext uri="{FF2B5EF4-FFF2-40B4-BE49-F238E27FC236}">
                  <a16:creationId xmlns:a16="http://schemas.microsoft.com/office/drawing/2014/main" xmlns="" id="{3926F640-74B9-452A-B63E-F91D3557CBEE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0" name="ïṥḷïdé">
              <a:extLst>
                <a:ext uri="{FF2B5EF4-FFF2-40B4-BE49-F238E27FC236}">
                  <a16:creationId xmlns:a16="http://schemas.microsoft.com/office/drawing/2014/main" xmlns="" id="{40A6F77B-BE9B-4742-9E27-2996351E9817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1" name="íṩľide">
              <a:extLst>
                <a:ext uri="{FF2B5EF4-FFF2-40B4-BE49-F238E27FC236}">
                  <a16:creationId xmlns:a16="http://schemas.microsoft.com/office/drawing/2014/main" xmlns="" id="{474ED1D9-90BB-40B3-8C7A-0368851A25A2}"/>
                </a:ext>
              </a:extLst>
            </p:cNvPr>
            <p:cNvSpPr/>
            <p:nvPr userDrawn="1"/>
          </p:nvSpPr>
          <p:spPr bwMode="auto">
            <a:xfrm>
              <a:off x="4727576" y="1887538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2" name="ïṩļïḋé">
              <a:extLst>
                <a:ext uri="{FF2B5EF4-FFF2-40B4-BE49-F238E27FC236}">
                  <a16:creationId xmlns:a16="http://schemas.microsoft.com/office/drawing/2014/main" xmlns="" id="{BF30099E-C245-4BC0-8FF3-2CDF2EFA13E2}"/>
                </a:ext>
              </a:extLst>
            </p:cNvPr>
            <p:cNvSpPr/>
            <p:nvPr userDrawn="1"/>
          </p:nvSpPr>
          <p:spPr bwMode="auto">
            <a:xfrm>
              <a:off x="4727576" y="1887538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3" name="iṧḷïḍe">
              <a:extLst>
                <a:ext uri="{FF2B5EF4-FFF2-40B4-BE49-F238E27FC236}">
                  <a16:creationId xmlns:a16="http://schemas.microsoft.com/office/drawing/2014/main" xmlns="" id="{6874B359-6336-48E6-AFE4-B288F5F86E16}"/>
                </a:ext>
              </a:extLst>
            </p:cNvPr>
            <p:cNvSpPr/>
            <p:nvPr userDrawn="1"/>
          </p:nvSpPr>
          <p:spPr bwMode="auto">
            <a:xfrm>
              <a:off x="4727576" y="2463801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4" name="ïšľíḍe">
              <a:extLst>
                <a:ext uri="{FF2B5EF4-FFF2-40B4-BE49-F238E27FC236}">
                  <a16:creationId xmlns:a16="http://schemas.microsoft.com/office/drawing/2014/main" xmlns="" id="{C961D62C-5C42-4522-A1F5-5CEB34A1F4BA}"/>
                </a:ext>
              </a:extLst>
            </p:cNvPr>
            <p:cNvSpPr/>
            <p:nvPr userDrawn="1"/>
          </p:nvSpPr>
          <p:spPr bwMode="auto">
            <a:xfrm>
              <a:off x="4727576" y="2463801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5" name="isliḍe">
              <a:extLst>
                <a:ext uri="{FF2B5EF4-FFF2-40B4-BE49-F238E27FC236}">
                  <a16:creationId xmlns:a16="http://schemas.microsoft.com/office/drawing/2014/main" xmlns="" id="{8FE10308-F689-495C-979F-48E7B2F62143}"/>
                </a:ext>
              </a:extLst>
            </p:cNvPr>
            <p:cNvSpPr/>
            <p:nvPr userDrawn="1"/>
          </p:nvSpPr>
          <p:spPr bwMode="auto">
            <a:xfrm>
              <a:off x="4516438" y="1395413"/>
              <a:ext cx="1557338" cy="2301875"/>
            </a:xfrm>
            <a:custGeom>
              <a:avLst/>
              <a:gdLst>
                <a:gd name="T0" fmla="*/ 15 w 472"/>
                <a:gd name="T1" fmla="*/ 689 h 698"/>
                <a:gd name="T2" fmla="*/ 0 w 472"/>
                <a:gd name="T3" fmla="*/ 698 h 698"/>
                <a:gd name="T4" fmla="*/ 15 w 472"/>
                <a:gd name="T5" fmla="*/ 689 h 698"/>
                <a:gd name="T6" fmla="*/ 15 w 472"/>
                <a:gd name="T7" fmla="*/ 689 h 698"/>
                <a:gd name="T8" fmla="*/ 472 w 472"/>
                <a:gd name="T9" fmla="*/ 0 h 698"/>
                <a:gd name="T10" fmla="*/ 471 w 472"/>
                <a:gd name="T11" fmla="*/ 1 h 698"/>
                <a:gd name="T12" fmla="*/ 17 w 472"/>
                <a:gd name="T13" fmla="*/ 261 h 698"/>
                <a:gd name="T14" fmla="*/ 1 w 472"/>
                <a:gd name="T15" fmla="*/ 289 h 698"/>
                <a:gd name="T16" fmla="*/ 0 w 472"/>
                <a:gd name="T17" fmla="*/ 698 h 698"/>
                <a:gd name="T18" fmla="*/ 1 w 472"/>
                <a:gd name="T19" fmla="*/ 289 h 698"/>
                <a:gd name="T20" fmla="*/ 17 w 472"/>
                <a:gd name="T21" fmla="*/ 261 h 698"/>
                <a:gd name="T22" fmla="*/ 471 w 472"/>
                <a:gd name="T23" fmla="*/ 1 h 698"/>
                <a:gd name="T24" fmla="*/ 472 w 472"/>
                <a:gd name="T2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698">
                  <a:moveTo>
                    <a:pt x="15" y="689"/>
                  </a:moveTo>
                  <a:cubicBezTo>
                    <a:pt x="0" y="698"/>
                    <a:pt x="0" y="698"/>
                    <a:pt x="0" y="698"/>
                  </a:cubicBezTo>
                  <a:cubicBezTo>
                    <a:pt x="15" y="689"/>
                    <a:pt x="15" y="689"/>
                    <a:pt x="15" y="689"/>
                  </a:cubicBezTo>
                  <a:cubicBezTo>
                    <a:pt x="15" y="689"/>
                    <a:pt x="15" y="689"/>
                    <a:pt x="15" y="689"/>
                  </a:cubicBezTo>
                  <a:moveTo>
                    <a:pt x="472" y="0"/>
                  </a:moveTo>
                  <a:cubicBezTo>
                    <a:pt x="471" y="0"/>
                    <a:pt x="471" y="1"/>
                    <a:pt x="471" y="1"/>
                  </a:cubicBezTo>
                  <a:cubicBezTo>
                    <a:pt x="17" y="261"/>
                    <a:pt x="17" y="261"/>
                    <a:pt x="17" y="261"/>
                  </a:cubicBezTo>
                  <a:cubicBezTo>
                    <a:pt x="7" y="267"/>
                    <a:pt x="1" y="277"/>
                    <a:pt x="1" y="289"/>
                  </a:cubicBezTo>
                  <a:cubicBezTo>
                    <a:pt x="0" y="698"/>
                    <a:pt x="0" y="698"/>
                    <a:pt x="0" y="698"/>
                  </a:cubicBezTo>
                  <a:cubicBezTo>
                    <a:pt x="1" y="289"/>
                    <a:pt x="1" y="289"/>
                    <a:pt x="1" y="289"/>
                  </a:cubicBezTo>
                  <a:cubicBezTo>
                    <a:pt x="1" y="277"/>
                    <a:pt x="7" y="267"/>
                    <a:pt x="17" y="261"/>
                  </a:cubicBezTo>
                  <a:cubicBezTo>
                    <a:pt x="471" y="1"/>
                    <a:pt x="471" y="1"/>
                    <a:pt x="471" y="1"/>
                  </a:cubicBezTo>
                  <a:cubicBezTo>
                    <a:pt x="471" y="1"/>
                    <a:pt x="471" y="0"/>
                    <a:pt x="472" y="0"/>
                  </a:cubicBezTo>
                </a:path>
              </a:pathLst>
            </a:custGeom>
            <a:solidFill>
              <a:srgbClr val="7967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6" name="ïṣľîḍè">
              <a:extLst>
                <a:ext uri="{FF2B5EF4-FFF2-40B4-BE49-F238E27FC236}">
                  <a16:creationId xmlns:a16="http://schemas.microsoft.com/office/drawing/2014/main" xmlns="" id="{419439FA-50B1-4B75-8374-BEEB85BFEC83}"/>
                </a:ext>
              </a:extLst>
            </p:cNvPr>
            <p:cNvSpPr/>
            <p:nvPr userDrawn="1"/>
          </p:nvSpPr>
          <p:spPr bwMode="auto">
            <a:xfrm>
              <a:off x="4516438" y="1392238"/>
              <a:ext cx="1584325" cy="2305050"/>
            </a:xfrm>
            <a:custGeom>
              <a:avLst/>
              <a:gdLst>
                <a:gd name="T0" fmla="*/ 479 w 480"/>
                <a:gd name="T1" fmla="*/ 0 h 699"/>
                <a:gd name="T2" fmla="*/ 472 w 480"/>
                <a:gd name="T3" fmla="*/ 1 h 699"/>
                <a:gd name="T4" fmla="*/ 471 w 480"/>
                <a:gd name="T5" fmla="*/ 2 h 699"/>
                <a:gd name="T6" fmla="*/ 17 w 480"/>
                <a:gd name="T7" fmla="*/ 262 h 699"/>
                <a:gd name="T8" fmla="*/ 1 w 480"/>
                <a:gd name="T9" fmla="*/ 290 h 699"/>
                <a:gd name="T10" fmla="*/ 0 w 480"/>
                <a:gd name="T11" fmla="*/ 699 h 699"/>
                <a:gd name="T12" fmla="*/ 15 w 480"/>
                <a:gd name="T13" fmla="*/ 690 h 699"/>
                <a:gd name="T14" fmla="*/ 40 w 480"/>
                <a:gd name="T15" fmla="*/ 652 h 699"/>
                <a:gd name="T16" fmla="*/ 21 w 480"/>
                <a:gd name="T17" fmla="*/ 663 h 699"/>
                <a:gd name="T18" fmla="*/ 22 w 480"/>
                <a:gd name="T19" fmla="*/ 284 h 699"/>
                <a:gd name="T20" fmla="*/ 457 w 480"/>
                <a:gd name="T21" fmla="*/ 35 h 699"/>
                <a:gd name="T22" fmla="*/ 480 w 480"/>
                <a:gd name="T23" fmla="*/ 0 h 699"/>
                <a:gd name="T24" fmla="*/ 479 w 480"/>
                <a:gd name="T25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0" h="699">
                  <a:moveTo>
                    <a:pt x="479" y="0"/>
                  </a:moveTo>
                  <a:cubicBezTo>
                    <a:pt x="476" y="0"/>
                    <a:pt x="474" y="0"/>
                    <a:pt x="472" y="1"/>
                  </a:cubicBezTo>
                  <a:cubicBezTo>
                    <a:pt x="471" y="1"/>
                    <a:pt x="471" y="2"/>
                    <a:pt x="471" y="2"/>
                  </a:cubicBezTo>
                  <a:cubicBezTo>
                    <a:pt x="17" y="262"/>
                    <a:pt x="17" y="262"/>
                    <a:pt x="17" y="262"/>
                  </a:cubicBezTo>
                  <a:cubicBezTo>
                    <a:pt x="7" y="268"/>
                    <a:pt x="1" y="278"/>
                    <a:pt x="1" y="290"/>
                  </a:cubicBezTo>
                  <a:cubicBezTo>
                    <a:pt x="0" y="699"/>
                    <a:pt x="0" y="699"/>
                    <a:pt x="0" y="699"/>
                  </a:cubicBezTo>
                  <a:cubicBezTo>
                    <a:pt x="15" y="690"/>
                    <a:pt x="15" y="690"/>
                    <a:pt x="15" y="690"/>
                  </a:cubicBezTo>
                  <a:cubicBezTo>
                    <a:pt x="22" y="680"/>
                    <a:pt x="30" y="667"/>
                    <a:pt x="40" y="652"/>
                  </a:cubicBezTo>
                  <a:cubicBezTo>
                    <a:pt x="21" y="663"/>
                    <a:pt x="21" y="663"/>
                    <a:pt x="21" y="663"/>
                  </a:cubicBezTo>
                  <a:cubicBezTo>
                    <a:pt x="22" y="284"/>
                    <a:pt x="22" y="284"/>
                    <a:pt x="22" y="284"/>
                  </a:cubicBezTo>
                  <a:cubicBezTo>
                    <a:pt x="457" y="35"/>
                    <a:pt x="457" y="35"/>
                    <a:pt x="457" y="35"/>
                  </a:cubicBezTo>
                  <a:cubicBezTo>
                    <a:pt x="467" y="19"/>
                    <a:pt x="475" y="7"/>
                    <a:pt x="480" y="0"/>
                  </a:cubicBezTo>
                  <a:cubicBezTo>
                    <a:pt x="480" y="0"/>
                    <a:pt x="479" y="0"/>
                    <a:pt x="479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7" name="iṩlidê">
              <a:extLst>
                <a:ext uri="{FF2B5EF4-FFF2-40B4-BE49-F238E27FC236}">
                  <a16:creationId xmlns:a16="http://schemas.microsoft.com/office/drawing/2014/main" xmlns="" id="{2A01162E-F06F-45D9-A51D-608E91AD8CF9}"/>
                </a:ext>
              </a:extLst>
            </p:cNvPr>
            <p:cNvSpPr/>
            <p:nvPr userDrawn="1"/>
          </p:nvSpPr>
          <p:spPr bwMode="auto">
            <a:xfrm>
              <a:off x="4586288" y="1508126"/>
              <a:ext cx="1438275" cy="2070100"/>
            </a:xfrm>
            <a:custGeom>
              <a:avLst/>
              <a:gdLst>
                <a:gd name="T0" fmla="*/ 45 w 436"/>
                <a:gd name="T1" fmla="*/ 464 h 628"/>
                <a:gd name="T2" fmla="*/ 71 w 436"/>
                <a:gd name="T3" fmla="*/ 450 h 628"/>
                <a:gd name="T4" fmla="*/ 155 w 436"/>
                <a:gd name="T5" fmla="*/ 368 h 628"/>
                <a:gd name="T6" fmla="*/ 173 w 436"/>
                <a:gd name="T7" fmla="*/ 390 h 628"/>
                <a:gd name="T8" fmla="*/ 161 w 436"/>
                <a:gd name="T9" fmla="*/ 376 h 628"/>
                <a:gd name="T10" fmla="*/ 185 w 436"/>
                <a:gd name="T11" fmla="*/ 316 h 628"/>
                <a:gd name="T12" fmla="*/ 45 w 436"/>
                <a:gd name="T13" fmla="*/ 431 h 628"/>
                <a:gd name="T14" fmla="*/ 45 w 436"/>
                <a:gd name="T15" fmla="*/ 431 h 628"/>
                <a:gd name="T16" fmla="*/ 119 w 436"/>
                <a:gd name="T17" fmla="*/ 389 h 628"/>
                <a:gd name="T18" fmla="*/ 45 w 436"/>
                <a:gd name="T19" fmla="*/ 463 h 628"/>
                <a:gd name="T20" fmla="*/ 87 w 436"/>
                <a:gd name="T21" fmla="*/ 415 h 628"/>
                <a:gd name="T22" fmla="*/ 81 w 436"/>
                <a:gd name="T23" fmla="*/ 482 h 628"/>
                <a:gd name="T24" fmla="*/ 45 w 436"/>
                <a:gd name="T25" fmla="*/ 502 h 628"/>
                <a:gd name="T26" fmla="*/ 130 w 436"/>
                <a:gd name="T27" fmla="*/ 453 h 628"/>
                <a:gd name="T28" fmla="*/ 103 w 436"/>
                <a:gd name="T29" fmla="*/ 429 h 628"/>
                <a:gd name="T30" fmla="*/ 120 w 436"/>
                <a:gd name="T31" fmla="*/ 388 h 628"/>
                <a:gd name="T32" fmla="*/ 155 w 436"/>
                <a:gd name="T33" fmla="*/ 367 h 628"/>
                <a:gd name="T34" fmla="*/ 185 w 436"/>
                <a:gd name="T35" fmla="*/ 316 h 628"/>
                <a:gd name="T36" fmla="*/ 194 w 436"/>
                <a:gd name="T37" fmla="*/ 311 h 628"/>
                <a:gd name="T38" fmla="*/ 210 w 436"/>
                <a:gd name="T39" fmla="*/ 336 h 628"/>
                <a:gd name="T40" fmla="*/ 283 w 436"/>
                <a:gd name="T41" fmla="*/ 227 h 628"/>
                <a:gd name="T42" fmla="*/ 45 w 436"/>
                <a:gd name="T43" fmla="*/ 396 h 628"/>
                <a:gd name="T44" fmla="*/ 190 w 436"/>
                <a:gd name="T45" fmla="*/ 303 h 628"/>
                <a:gd name="T46" fmla="*/ 248 w 436"/>
                <a:gd name="T47" fmla="*/ 279 h 628"/>
                <a:gd name="T48" fmla="*/ 436 w 436"/>
                <a:gd name="T49" fmla="*/ 0 h 628"/>
                <a:gd name="T50" fmla="*/ 0 w 436"/>
                <a:gd name="T51" fmla="*/ 628 h 628"/>
                <a:gd name="T52" fmla="*/ 128 w 436"/>
                <a:gd name="T53" fmla="*/ 456 h 628"/>
                <a:gd name="T54" fmla="*/ 43 w 436"/>
                <a:gd name="T55" fmla="*/ 329 h 628"/>
                <a:gd name="T56" fmla="*/ 45 w 436"/>
                <a:gd name="T57" fmla="*/ 363 h 628"/>
                <a:gd name="T58" fmla="*/ 45 w 436"/>
                <a:gd name="T59" fmla="*/ 363 h 628"/>
                <a:gd name="T60" fmla="*/ 324 w 436"/>
                <a:gd name="T61" fmla="*/ 167 h 628"/>
                <a:gd name="T62" fmla="*/ 43 w 436"/>
                <a:gd name="T63" fmla="*/ 327 h 628"/>
                <a:gd name="T64" fmla="*/ 436 w 436"/>
                <a:gd name="T65" fmla="*/ 0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6" h="628">
                  <a:moveTo>
                    <a:pt x="71" y="450"/>
                  </a:moveTo>
                  <a:cubicBezTo>
                    <a:pt x="45" y="464"/>
                    <a:pt x="45" y="464"/>
                    <a:pt x="45" y="464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71" y="450"/>
                    <a:pt x="71" y="450"/>
                    <a:pt x="71" y="450"/>
                  </a:cubicBezTo>
                  <a:moveTo>
                    <a:pt x="167" y="361"/>
                  </a:moveTo>
                  <a:cubicBezTo>
                    <a:pt x="155" y="368"/>
                    <a:pt x="155" y="368"/>
                    <a:pt x="155" y="368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67" y="361"/>
                    <a:pt x="167" y="361"/>
                    <a:pt x="167" y="361"/>
                  </a:cubicBezTo>
                  <a:moveTo>
                    <a:pt x="185" y="316"/>
                  </a:moveTo>
                  <a:cubicBezTo>
                    <a:pt x="45" y="397"/>
                    <a:pt x="45" y="397"/>
                    <a:pt x="45" y="397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44" y="431"/>
                    <a:pt x="44" y="431"/>
                    <a:pt x="44" y="431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45" y="432"/>
                    <a:pt x="45" y="432"/>
                    <a:pt x="45" y="432"/>
                  </a:cubicBezTo>
                  <a:cubicBezTo>
                    <a:pt x="45" y="463"/>
                    <a:pt x="45" y="463"/>
                    <a:pt x="45" y="463"/>
                  </a:cubicBezTo>
                  <a:cubicBezTo>
                    <a:pt x="72" y="448"/>
                    <a:pt x="72" y="448"/>
                    <a:pt x="72" y="448"/>
                  </a:cubicBezTo>
                  <a:cubicBezTo>
                    <a:pt x="87" y="415"/>
                    <a:pt x="87" y="415"/>
                    <a:pt x="87" y="415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37" y="345"/>
                    <a:pt x="137" y="345"/>
                    <a:pt x="137" y="345"/>
                  </a:cubicBezTo>
                  <a:cubicBezTo>
                    <a:pt x="155" y="367"/>
                    <a:pt x="155" y="367"/>
                    <a:pt x="155" y="367"/>
                  </a:cubicBezTo>
                  <a:cubicBezTo>
                    <a:pt x="168" y="360"/>
                    <a:pt x="168" y="360"/>
                    <a:pt x="168" y="360"/>
                  </a:cubicBezTo>
                  <a:cubicBezTo>
                    <a:pt x="185" y="316"/>
                    <a:pt x="185" y="316"/>
                    <a:pt x="185" y="316"/>
                  </a:cubicBezTo>
                  <a:moveTo>
                    <a:pt x="247" y="281"/>
                  </a:moveTo>
                  <a:cubicBezTo>
                    <a:pt x="194" y="311"/>
                    <a:pt x="194" y="311"/>
                    <a:pt x="194" y="31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210" y="336"/>
                    <a:pt x="210" y="336"/>
                    <a:pt x="210" y="336"/>
                  </a:cubicBezTo>
                  <a:cubicBezTo>
                    <a:pt x="222" y="317"/>
                    <a:pt x="235" y="299"/>
                    <a:pt x="247" y="281"/>
                  </a:cubicBezTo>
                  <a:moveTo>
                    <a:pt x="283" y="227"/>
                  </a:moveTo>
                  <a:cubicBezTo>
                    <a:pt x="45" y="365"/>
                    <a:pt x="45" y="365"/>
                    <a:pt x="45" y="365"/>
                  </a:cubicBezTo>
                  <a:cubicBezTo>
                    <a:pt x="45" y="396"/>
                    <a:pt x="45" y="396"/>
                    <a:pt x="45" y="396"/>
                  </a:cubicBezTo>
                  <a:cubicBezTo>
                    <a:pt x="185" y="315"/>
                    <a:pt x="185" y="315"/>
                    <a:pt x="185" y="315"/>
                  </a:cubicBezTo>
                  <a:cubicBezTo>
                    <a:pt x="190" y="303"/>
                    <a:pt x="190" y="303"/>
                    <a:pt x="190" y="303"/>
                  </a:cubicBezTo>
                  <a:cubicBezTo>
                    <a:pt x="194" y="310"/>
                    <a:pt x="194" y="310"/>
                    <a:pt x="194" y="310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260" y="261"/>
                    <a:pt x="271" y="244"/>
                    <a:pt x="283" y="227"/>
                  </a:cubicBezTo>
                  <a:moveTo>
                    <a:pt x="436" y="0"/>
                  </a:moveTo>
                  <a:cubicBezTo>
                    <a:pt x="1" y="249"/>
                    <a:pt x="1" y="249"/>
                    <a:pt x="1" y="249"/>
                  </a:cubicBezTo>
                  <a:cubicBezTo>
                    <a:pt x="0" y="628"/>
                    <a:pt x="0" y="628"/>
                    <a:pt x="0" y="628"/>
                  </a:cubicBezTo>
                  <a:cubicBezTo>
                    <a:pt x="19" y="617"/>
                    <a:pt x="19" y="617"/>
                    <a:pt x="19" y="617"/>
                  </a:cubicBezTo>
                  <a:cubicBezTo>
                    <a:pt x="47" y="576"/>
                    <a:pt x="86" y="519"/>
                    <a:pt x="128" y="456"/>
                  </a:cubicBezTo>
                  <a:cubicBezTo>
                    <a:pt x="44" y="505"/>
                    <a:pt x="44" y="505"/>
                    <a:pt x="44" y="505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5" y="328"/>
                    <a:pt x="45" y="328"/>
                    <a:pt x="45" y="328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44" y="364"/>
                    <a:pt x="44" y="364"/>
                    <a:pt x="44" y="364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284" y="225"/>
                    <a:pt x="284" y="225"/>
                    <a:pt x="284" y="225"/>
                  </a:cubicBezTo>
                  <a:cubicBezTo>
                    <a:pt x="298" y="205"/>
                    <a:pt x="311" y="186"/>
                    <a:pt x="324" y="167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25" y="165"/>
                    <a:pt x="325" y="165"/>
                    <a:pt x="325" y="165"/>
                  </a:cubicBezTo>
                  <a:cubicBezTo>
                    <a:pt x="371" y="96"/>
                    <a:pt x="411" y="37"/>
                    <a:pt x="436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8" name="iṣļîḋé">
              <a:extLst>
                <a:ext uri="{FF2B5EF4-FFF2-40B4-BE49-F238E27FC236}">
                  <a16:creationId xmlns:a16="http://schemas.microsoft.com/office/drawing/2014/main" xmlns="" id="{78F2503D-4074-460E-95B1-E82AA6016197}"/>
                </a:ext>
              </a:extLst>
            </p:cNvPr>
            <p:cNvSpPr/>
            <p:nvPr userDrawn="1"/>
          </p:nvSpPr>
          <p:spPr bwMode="auto">
            <a:xfrm>
              <a:off x="5275263" y="2616201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9" name="ïS1ïḋe">
              <a:extLst>
                <a:ext uri="{FF2B5EF4-FFF2-40B4-BE49-F238E27FC236}">
                  <a16:creationId xmlns:a16="http://schemas.microsoft.com/office/drawing/2014/main" xmlns="" id="{7C2C37D7-18CD-4C57-9B9C-1A5178A6682E}"/>
                </a:ext>
              </a:extLst>
            </p:cNvPr>
            <p:cNvSpPr/>
            <p:nvPr userDrawn="1"/>
          </p:nvSpPr>
          <p:spPr bwMode="auto">
            <a:xfrm>
              <a:off x="5226051" y="2428876"/>
              <a:ext cx="179388" cy="104775"/>
            </a:xfrm>
            <a:custGeom>
              <a:avLst/>
              <a:gdLst>
                <a:gd name="T0" fmla="*/ 54 w 54"/>
                <a:gd name="T1" fmla="*/ 0 h 32"/>
                <a:gd name="T2" fmla="*/ 0 w 54"/>
                <a:gd name="T3" fmla="*/ 31 h 32"/>
                <a:gd name="T4" fmla="*/ 0 w 54"/>
                <a:gd name="T5" fmla="*/ 32 h 32"/>
                <a:gd name="T6" fmla="*/ 53 w 54"/>
                <a:gd name="T7" fmla="*/ 2 h 32"/>
                <a:gd name="T8" fmla="*/ 54 w 54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2">
                  <a:moveTo>
                    <a:pt x="54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4" y="0"/>
                    <a:pt x="54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0" name="iS1íďê">
              <a:extLst>
                <a:ext uri="{FF2B5EF4-FFF2-40B4-BE49-F238E27FC236}">
                  <a16:creationId xmlns:a16="http://schemas.microsoft.com/office/drawing/2014/main" xmlns="" id="{3DE45918-A37B-4E62-BE29-0BF73C919320}"/>
                </a:ext>
              </a:extLst>
            </p:cNvPr>
            <p:cNvSpPr/>
            <p:nvPr userDrawn="1"/>
          </p:nvSpPr>
          <p:spPr bwMode="auto">
            <a:xfrm>
              <a:off x="4732338" y="2249488"/>
              <a:ext cx="790575" cy="461963"/>
            </a:xfrm>
            <a:custGeom>
              <a:avLst/>
              <a:gdLst>
                <a:gd name="T0" fmla="*/ 240 w 240"/>
                <a:gd name="T1" fmla="*/ 0 h 140"/>
                <a:gd name="T2" fmla="*/ 1 w 240"/>
                <a:gd name="T3" fmla="*/ 138 h 140"/>
                <a:gd name="T4" fmla="*/ 0 w 240"/>
                <a:gd name="T5" fmla="*/ 139 h 140"/>
                <a:gd name="T6" fmla="*/ 0 w 240"/>
                <a:gd name="T7" fmla="*/ 140 h 140"/>
                <a:gd name="T8" fmla="*/ 1 w 240"/>
                <a:gd name="T9" fmla="*/ 140 h 140"/>
                <a:gd name="T10" fmla="*/ 239 w 240"/>
                <a:gd name="T11" fmla="*/ 2 h 140"/>
                <a:gd name="T12" fmla="*/ 240 w 240"/>
                <a:gd name="T1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40">
                  <a:moveTo>
                    <a:pt x="240" y="0"/>
                  </a:moveTo>
                  <a:cubicBezTo>
                    <a:pt x="1" y="138"/>
                    <a:pt x="1" y="138"/>
                    <a:pt x="1" y="138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" y="140"/>
                    <a:pt x="1" y="140"/>
                    <a:pt x="1" y="140"/>
                  </a:cubicBezTo>
                  <a:cubicBezTo>
                    <a:pt x="239" y="2"/>
                    <a:pt x="239" y="2"/>
                    <a:pt x="239" y="2"/>
                  </a:cubicBezTo>
                  <a:cubicBezTo>
                    <a:pt x="239" y="1"/>
                    <a:pt x="240" y="1"/>
                    <a:pt x="240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1" name="iṣ1ídé">
              <a:extLst>
                <a:ext uri="{FF2B5EF4-FFF2-40B4-BE49-F238E27FC236}">
                  <a16:creationId xmlns:a16="http://schemas.microsoft.com/office/drawing/2014/main" xmlns="" id="{869D668A-15C5-4CC8-8684-CC74942D2ED3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2" name="íṩľiḑê">
              <a:extLst>
                <a:ext uri="{FF2B5EF4-FFF2-40B4-BE49-F238E27FC236}">
                  <a16:creationId xmlns:a16="http://schemas.microsoft.com/office/drawing/2014/main" xmlns="" id="{718E3967-6798-4FC1-8F33-F766EA65777B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3" name="îŝḷîdé">
              <a:extLst>
                <a:ext uri="{FF2B5EF4-FFF2-40B4-BE49-F238E27FC236}">
                  <a16:creationId xmlns:a16="http://schemas.microsoft.com/office/drawing/2014/main" xmlns="" id="{511CD0AD-F1EF-4B2C-B467-B97DF491A0BE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4" name="íŝḷîḍè">
              <a:extLst>
                <a:ext uri="{FF2B5EF4-FFF2-40B4-BE49-F238E27FC236}">
                  <a16:creationId xmlns:a16="http://schemas.microsoft.com/office/drawing/2014/main" xmlns="" id="{F11E25AF-E0F8-4D55-AF0C-D6AC349CE2DA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5" name="ï$ľiḍè">
              <a:extLst>
                <a:ext uri="{FF2B5EF4-FFF2-40B4-BE49-F238E27FC236}">
                  <a16:creationId xmlns:a16="http://schemas.microsoft.com/office/drawing/2014/main" xmlns="" id="{365836B1-9600-4565-A082-99BBD79702A1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6" name="íšļídè">
              <a:extLst>
                <a:ext uri="{FF2B5EF4-FFF2-40B4-BE49-F238E27FC236}">
                  <a16:creationId xmlns:a16="http://schemas.microsoft.com/office/drawing/2014/main" xmlns="" id="{C611A65F-A044-499C-B6DA-479E2BDB7B80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7" name="ïṣļïḋê">
              <a:extLst>
                <a:ext uri="{FF2B5EF4-FFF2-40B4-BE49-F238E27FC236}">
                  <a16:creationId xmlns:a16="http://schemas.microsoft.com/office/drawing/2014/main" xmlns="" id="{27AD1DB3-27CB-4E53-B49B-30E1B5C78EBB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04800" cy="450850"/>
            </a:xfrm>
            <a:custGeom>
              <a:avLst/>
              <a:gdLst>
                <a:gd name="T0" fmla="*/ 56 w 92"/>
                <a:gd name="T1" fmla="*/ 0 h 137"/>
                <a:gd name="T2" fmla="*/ 39 w 92"/>
                <a:gd name="T3" fmla="*/ 43 h 137"/>
                <a:gd name="T4" fmla="*/ 38 w 92"/>
                <a:gd name="T5" fmla="*/ 44 h 137"/>
                <a:gd name="T6" fmla="*/ 22 w 92"/>
                <a:gd name="T7" fmla="*/ 84 h 137"/>
                <a:gd name="T8" fmla="*/ 0 w 92"/>
                <a:gd name="T9" fmla="*/ 137 h 137"/>
                <a:gd name="T10" fmla="*/ 49 w 92"/>
                <a:gd name="T11" fmla="*/ 108 h 137"/>
                <a:gd name="T12" fmla="*/ 92 w 92"/>
                <a:gd name="T13" fmla="*/ 45 h 137"/>
                <a:gd name="T14" fmla="*/ 80 w 92"/>
                <a:gd name="T15" fmla="*/ 31 h 137"/>
                <a:gd name="T16" fmla="*/ 74 w 92"/>
                <a:gd name="T17" fmla="*/ 23 h 137"/>
                <a:gd name="T18" fmla="*/ 74 w 92"/>
                <a:gd name="T19" fmla="*/ 22 h 137"/>
                <a:gd name="T20" fmla="*/ 56 w 92"/>
                <a:gd name="T21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37">
                  <a:moveTo>
                    <a:pt x="56" y="0"/>
                  </a:moveTo>
                  <a:cubicBezTo>
                    <a:pt x="39" y="43"/>
                    <a:pt x="39" y="43"/>
                    <a:pt x="39" y="43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63" y="88"/>
                    <a:pt x="77" y="67"/>
                    <a:pt x="92" y="45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rgbClr val="A5A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8" name="íṥľidè">
              <a:extLst>
                <a:ext uri="{FF2B5EF4-FFF2-40B4-BE49-F238E27FC236}">
                  <a16:creationId xmlns:a16="http://schemas.microsoft.com/office/drawing/2014/main" xmlns="" id="{380A55E5-C587-4DC8-867E-A16A1AE814DA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9" name="íŝḻíďe">
              <a:extLst>
                <a:ext uri="{FF2B5EF4-FFF2-40B4-BE49-F238E27FC236}">
                  <a16:creationId xmlns:a16="http://schemas.microsoft.com/office/drawing/2014/main" xmlns="" id="{635BAD3F-37CA-4929-B86A-59C3EDDBEA11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0" name="iṥ1îḑê">
              <a:extLst>
                <a:ext uri="{FF2B5EF4-FFF2-40B4-BE49-F238E27FC236}">
                  <a16:creationId xmlns:a16="http://schemas.microsoft.com/office/drawing/2014/main" xmlns="" id="{DF159521-5A8A-4FF5-9501-70F4BC91E880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1" name="ísḻïḓé">
              <a:extLst>
                <a:ext uri="{FF2B5EF4-FFF2-40B4-BE49-F238E27FC236}">
                  <a16:creationId xmlns:a16="http://schemas.microsoft.com/office/drawing/2014/main" xmlns="" id="{E188BD8A-9362-46F1-83F3-CFE2674A2BBB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2" name="íṡḷíḓé">
              <a:extLst>
                <a:ext uri="{FF2B5EF4-FFF2-40B4-BE49-F238E27FC236}">
                  <a16:creationId xmlns:a16="http://schemas.microsoft.com/office/drawing/2014/main" xmlns="" id="{42E5F0B6-70CA-43B3-BB2A-1DBB38E0D723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57163" cy="287338"/>
            </a:xfrm>
            <a:custGeom>
              <a:avLst/>
              <a:gdLst>
                <a:gd name="T0" fmla="*/ 29 w 48"/>
                <a:gd name="T1" fmla="*/ 0 h 87"/>
                <a:gd name="T2" fmla="*/ 24 w 48"/>
                <a:gd name="T3" fmla="*/ 12 h 87"/>
                <a:gd name="T4" fmla="*/ 24 w 48"/>
                <a:gd name="T5" fmla="*/ 13 h 87"/>
                <a:gd name="T6" fmla="*/ 7 w 48"/>
                <a:gd name="T7" fmla="*/ 57 h 87"/>
                <a:gd name="T8" fmla="*/ 6 w 48"/>
                <a:gd name="T9" fmla="*/ 58 h 87"/>
                <a:gd name="T10" fmla="*/ 0 w 48"/>
                <a:gd name="T11" fmla="*/ 73 h 87"/>
                <a:gd name="T12" fmla="*/ 12 w 48"/>
                <a:gd name="T13" fmla="*/ 87 h 87"/>
                <a:gd name="T14" fmla="*/ 48 w 48"/>
                <a:gd name="T15" fmla="*/ 33 h 87"/>
                <a:gd name="T16" fmla="*/ 48 w 48"/>
                <a:gd name="T17" fmla="*/ 33 h 87"/>
                <a:gd name="T18" fmla="*/ 33 w 48"/>
                <a:gd name="T19" fmla="*/ 8 h 87"/>
                <a:gd name="T20" fmla="*/ 33 w 48"/>
                <a:gd name="T21" fmla="*/ 7 h 87"/>
                <a:gd name="T22" fmla="*/ 29 w 48"/>
                <a:gd name="T2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7">
                  <a:moveTo>
                    <a:pt x="29" y="0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24" y="69"/>
                    <a:pt x="36" y="51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3" name="iṥļïḋê">
              <a:extLst>
                <a:ext uri="{FF2B5EF4-FFF2-40B4-BE49-F238E27FC236}">
                  <a16:creationId xmlns:a16="http://schemas.microsoft.com/office/drawing/2014/main" xmlns="" id="{16E93247-A73B-4D55-AC31-A181B612A8A5}"/>
                </a:ext>
              </a:extLst>
            </p:cNvPr>
            <p:cNvSpPr/>
            <p:nvPr userDrawn="1"/>
          </p:nvSpPr>
          <p:spPr bwMode="auto">
            <a:xfrm>
              <a:off x="4727576" y="2052638"/>
              <a:ext cx="931863" cy="539750"/>
            </a:xfrm>
            <a:custGeom>
              <a:avLst/>
              <a:gdLst>
                <a:gd name="T0" fmla="*/ 282 w 282"/>
                <a:gd name="T1" fmla="*/ 0 h 164"/>
                <a:gd name="T2" fmla="*/ 0 w 282"/>
                <a:gd name="T3" fmla="*/ 162 h 164"/>
                <a:gd name="T4" fmla="*/ 0 w 282"/>
                <a:gd name="T5" fmla="*/ 164 h 164"/>
                <a:gd name="T6" fmla="*/ 281 w 282"/>
                <a:gd name="T7" fmla="*/ 2 h 164"/>
                <a:gd name="T8" fmla="*/ 282 w 282"/>
                <a:gd name="T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64">
                  <a:moveTo>
                    <a:pt x="282" y="0"/>
                  </a:moveTo>
                  <a:cubicBezTo>
                    <a:pt x="0" y="162"/>
                    <a:pt x="0" y="162"/>
                    <a:pt x="0" y="162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1"/>
                    <a:pt x="281" y="1"/>
                    <a:pt x="28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4" name="ïŝ1ïḑê">
              <a:extLst>
                <a:ext uri="{FF2B5EF4-FFF2-40B4-BE49-F238E27FC236}">
                  <a16:creationId xmlns:a16="http://schemas.microsoft.com/office/drawing/2014/main" xmlns="" id="{149CE608-E1EF-4B7E-8E9D-BB9A4592625D}"/>
                </a:ext>
              </a:extLst>
            </p:cNvPr>
            <p:cNvSpPr/>
            <p:nvPr userDrawn="1"/>
          </p:nvSpPr>
          <p:spPr bwMode="auto">
            <a:xfrm>
              <a:off x="4727576" y="2589213"/>
              <a:ext cx="287338" cy="584200"/>
            </a:xfrm>
            <a:custGeom>
              <a:avLst/>
              <a:gdLst>
                <a:gd name="T0" fmla="*/ 2 w 87"/>
                <a:gd name="T1" fmla="*/ 0 h 177"/>
                <a:gd name="T2" fmla="*/ 0 w 87"/>
                <a:gd name="T3" fmla="*/ 1 h 177"/>
                <a:gd name="T4" fmla="*/ 1 w 87"/>
                <a:gd name="T5" fmla="*/ 177 h 177"/>
                <a:gd name="T6" fmla="*/ 85 w 87"/>
                <a:gd name="T7" fmla="*/ 128 h 177"/>
                <a:gd name="T8" fmla="*/ 87 w 87"/>
                <a:gd name="T9" fmla="*/ 125 h 177"/>
                <a:gd name="T10" fmla="*/ 2 w 87"/>
                <a:gd name="T11" fmla="*/ 174 h 177"/>
                <a:gd name="T12" fmla="*/ 2 w 87"/>
                <a:gd name="T13" fmla="*/ 174 h 177"/>
                <a:gd name="T14" fmla="*/ 2 w 87"/>
                <a:gd name="T15" fmla="*/ 174 h 177"/>
                <a:gd name="T16" fmla="*/ 2 w 87"/>
                <a:gd name="T17" fmla="*/ 136 h 177"/>
                <a:gd name="T18" fmla="*/ 1 w 87"/>
                <a:gd name="T19" fmla="*/ 137 h 177"/>
                <a:gd name="T20" fmla="*/ 1 w 87"/>
                <a:gd name="T21" fmla="*/ 136 h 177"/>
                <a:gd name="T22" fmla="*/ 2 w 87"/>
                <a:gd name="T23" fmla="*/ 135 h 177"/>
                <a:gd name="T24" fmla="*/ 2 w 87"/>
                <a:gd name="T25" fmla="*/ 135 h 177"/>
                <a:gd name="T26" fmla="*/ 2 w 87"/>
                <a:gd name="T27" fmla="*/ 104 h 177"/>
                <a:gd name="T28" fmla="*/ 1 w 87"/>
                <a:gd name="T29" fmla="*/ 105 h 177"/>
                <a:gd name="T30" fmla="*/ 1 w 87"/>
                <a:gd name="T31" fmla="*/ 103 h 177"/>
                <a:gd name="T32" fmla="*/ 2 w 87"/>
                <a:gd name="T33" fmla="*/ 103 h 177"/>
                <a:gd name="T34" fmla="*/ 2 w 87"/>
                <a:gd name="T35" fmla="*/ 69 h 177"/>
                <a:gd name="T36" fmla="*/ 1 w 87"/>
                <a:gd name="T37" fmla="*/ 70 h 177"/>
                <a:gd name="T38" fmla="*/ 1 w 87"/>
                <a:gd name="T39" fmla="*/ 69 h 177"/>
                <a:gd name="T40" fmla="*/ 2 w 87"/>
                <a:gd name="T41" fmla="*/ 68 h 177"/>
                <a:gd name="T42" fmla="*/ 2 w 87"/>
                <a:gd name="T43" fmla="*/ 37 h 177"/>
                <a:gd name="T44" fmla="*/ 1 w 87"/>
                <a:gd name="T45" fmla="*/ 37 h 177"/>
                <a:gd name="T46" fmla="*/ 1 w 87"/>
                <a:gd name="T47" fmla="*/ 36 h 177"/>
                <a:gd name="T48" fmla="*/ 2 w 87"/>
                <a:gd name="T49" fmla="*/ 35 h 177"/>
                <a:gd name="T50" fmla="*/ 2 w 87"/>
                <a:gd name="T51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177">
                  <a:moveTo>
                    <a:pt x="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77"/>
                    <a:pt x="1" y="177"/>
                    <a:pt x="1" y="177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86" y="127"/>
                    <a:pt x="86" y="126"/>
                    <a:pt x="87" y="125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1" y="136"/>
                    <a:pt x="1" y="136"/>
                    <a:pt x="1" y="136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5" name="îsḻíḋè">
              <a:extLst>
                <a:ext uri="{FF2B5EF4-FFF2-40B4-BE49-F238E27FC236}">
                  <a16:creationId xmlns:a16="http://schemas.microsoft.com/office/drawing/2014/main" xmlns="" id="{B9569D1C-1924-4D8C-9D7B-782EF0C43ACF}"/>
                </a:ext>
              </a:extLst>
            </p:cNvPr>
            <p:cNvSpPr/>
            <p:nvPr userDrawn="1"/>
          </p:nvSpPr>
          <p:spPr bwMode="auto">
            <a:xfrm>
              <a:off x="7556501" y="2698751"/>
              <a:ext cx="804863" cy="58738"/>
            </a:xfrm>
            <a:custGeom>
              <a:avLst/>
              <a:gdLst>
                <a:gd name="T0" fmla="*/ 212 w 244"/>
                <a:gd name="T1" fmla="*/ 8 h 18"/>
                <a:gd name="T2" fmla="*/ 229 w 244"/>
                <a:gd name="T3" fmla="*/ 18 h 18"/>
                <a:gd name="T4" fmla="*/ 244 w 244"/>
                <a:gd name="T5" fmla="*/ 9 h 18"/>
                <a:gd name="T6" fmla="*/ 212 w 244"/>
                <a:gd name="T7" fmla="*/ 8 h 18"/>
                <a:gd name="T8" fmla="*/ 1 w 244"/>
                <a:gd name="T9" fmla="*/ 0 h 18"/>
                <a:gd name="T10" fmla="*/ 28 w 244"/>
                <a:gd name="T11" fmla="*/ 17 h 18"/>
                <a:gd name="T12" fmla="*/ 53 w 244"/>
                <a:gd name="T13" fmla="*/ 3 h 18"/>
                <a:gd name="T14" fmla="*/ 1 w 244"/>
                <a:gd name="T15" fmla="*/ 0 h 18"/>
                <a:gd name="T16" fmla="*/ 1 w 244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4" h="18">
                  <a:moveTo>
                    <a:pt x="212" y="8"/>
                  </a:moveTo>
                  <a:cubicBezTo>
                    <a:pt x="229" y="18"/>
                    <a:pt x="229" y="18"/>
                    <a:pt x="229" y="18"/>
                  </a:cubicBezTo>
                  <a:cubicBezTo>
                    <a:pt x="238" y="13"/>
                    <a:pt x="243" y="10"/>
                    <a:pt x="244" y="9"/>
                  </a:cubicBezTo>
                  <a:cubicBezTo>
                    <a:pt x="244" y="9"/>
                    <a:pt x="231" y="9"/>
                    <a:pt x="212" y="8"/>
                  </a:cubicBezTo>
                  <a:moveTo>
                    <a:pt x="1" y="0"/>
                  </a:moveTo>
                  <a:cubicBezTo>
                    <a:pt x="0" y="0"/>
                    <a:pt x="12" y="7"/>
                    <a:pt x="28" y="1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24" y="1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B8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6" name="í$1ïḑe">
              <a:extLst>
                <a:ext uri="{FF2B5EF4-FFF2-40B4-BE49-F238E27FC236}">
                  <a16:creationId xmlns:a16="http://schemas.microsoft.com/office/drawing/2014/main" xmlns="" id="{EDA51F87-F04F-47CD-8596-44FBA62A551C}"/>
                </a:ext>
              </a:extLst>
            </p:cNvPr>
            <p:cNvSpPr/>
            <p:nvPr userDrawn="1"/>
          </p:nvSpPr>
          <p:spPr bwMode="auto">
            <a:xfrm>
              <a:off x="7648576" y="2708276"/>
              <a:ext cx="663575" cy="250825"/>
            </a:xfrm>
            <a:custGeom>
              <a:avLst/>
              <a:gdLst>
                <a:gd name="T0" fmla="*/ 25 w 201"/>
                <a:gd name="T1" fmla="*/ 0 h 76"/>
                <a:gd name="T2" fmla="*/ 0 w 201"/>
                <a:gd name="T3" fmla="*/ 14 h 76"/>
                <a:gd name="T4" fmla="*/ 106 w 201"/>
                <a:gd name="T5" fmla="*/ 76 h 76"/>
                <a:gd name="T6" fmla="*/ 201 w 201"/>
                <a:gd name="T7" fmla="*/ 15 h 76"/>
                <a:gd name="T8" fmla="*/ 184 w 201"/>
                <a:gd name="T9" fmla="*/ 5 h 76"/>
                <a:gd name="T10" fmla="*/ 25 w 201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1" h="76">
                  <a:moveTo>
                    <a:pt x="25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40" y="37"/>
                    <a:pt x="106" y="76"/>
                    <a:pt x="106" y="76"/>
                  </a:cubicBezTo>
                  <a:cubicBezTo>
                    <a:pt x="106" y="76"/>
                    <a:pt x="172" y="34"/>
                    <a:pt x="201" y="15"/>
                  </a:cubicBezTo>
                  <a:cubicBezTo>
                    <a:pt x="184" y="5"/>
                    <a:pt x="184" y="5"/>
                    <a:pt x="184" y="5"/>
                  </a:cubicBezTo>
                  <a:cubicBezTo>
                    <a:pt x="143" y="4"/>
                    <a:pt x="74" y="1"/>
                    <a:pt x="25" y="0"/>
                  </a:cubicBezTo>
                </a:path>
              </a:pathLst>
            </a:custGeom>
            <a:solidFill>
              <a:srgbClr val="839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7" name="ïṡḻïḓé">
              <a:extLst>
                <a:ext uri="{FF2B5EF4-FFF2-40B4-BE49-F238E27FC236}">
                  <a16:creationId xmlns:a16="http://schemas.microsoft.com/office/drawing/2014/main" xmlns="" id="{115710C2-8FED-4D65-91A9-905D5852BADD}"/>
                </a:ext>
              </a:extLst>
            </p:cNvPr>
            <p:cNvSpPr/>
            <p:nvPr userDrawn="1"/>
          </p:nvSpPr>
          <p:spPr bwMode="auto">
            <a:xfrm>
              <a:off x="7559676" y="2484438"/>
              <a:ext cx="801688" cy="431800"/>
            </a:xfrm>
            <a:custGeom>
              <a:avLst/>
              <a:gdLst>
                <a:gd name="T0" fmla="*/ 505 w 505"/>
                <a:gd name="T1" fmla="*/ 154 h 272"/>
                <a:gd name="T2" fmla="*/ 235 w 505"/>
                <a:gd name="T3" fmla="*/ 0 h 272"/>
                <a:gd name="T4" fmla="*/ 0 w 505"/>
                <a:gd name="T5" fmla="*/ 135 h 272"/>
                <a:gd name="T6" fmla="*/ 237 w 505"/>
                <a:gd name="T7" fmla="*/ 272 h 272"/>
                <a:gd name="T8" fmla="*/ 301 w 505"/>
                <a:gd name="T9" fmla="*/ 270 h 272"/>
                <a:gd name="T10" fmla="*/ 505 w 505"/>
                <a:gd name="T11" fmla="*/ 15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5" h="272">
                  <a:moveTo>
                    <a:pt x="505" y="154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1" y="270"/>
                  </a:lnTo>
                  <a:lnTo>
                    <a:pt x="505" y="154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8" name="î$ḻíḋè">
              <a:extLst>
                <a:ext uri="{FF2B5EF4-FFF2-40B4-BE49-F238E27FC236}">
                  <a16:creationId xmlns:a16="http://schemas.microsoft.com/office/drawing/2014/main" xmlns="" id="{6070238D-B588-4A48-80DE-C1A0A888C6C5}"/>
                </a:ext>
              </a:extLst>
            </p:cNvPr>
            <p:cNvSpPr/>
            <p:nvPr userDrawn="1"/>
          </p:nvSpPr>
          <p:spPr bwMode="auto">
            <a:xfrm>
              <a:off x="7935913" y="2852738"/>
              <a:ext cx="101600" cy="63500"/>
            </a:xfrm>
            <a:custGeom>
              <a:avLst/>
              <a:gdLst>
                <a:gd name="T0" fmla="*/ 31 w 64"/>
                <a:gd name="T1" fmla="*/ 0 h 40"/>
                <a:gd name="T2" fmla="*/ 64 w 64"/>
                <a:gd name="T3" fmla="*/ 38 h 40"/>
                <a:gd name="T4" fmla="*/ 0 w 64"/>
                <a:gd name="T5" fmla="*/ 40 h 40"/>
                <a:gd name="T6" fmla="*/ 31 w 64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40">
                  <a:moveTo>
                    <a:pt x="31" y="0"/>
                  </a:moveTo>
                  <a:lnTo>
                    <a:pt x="64" y="38"/>
                  </a:lnTo>
                  <a:lnTo>
                    <a:pt x="0" y="4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9" name="î$ľíḑê">
              <a:extLst>
                <a:ext uri="{FF2B5EF4-FFF2-40B4-BE49-F238E27FC236}">
                  <a16:creationId xmlns:a16="http://schemas.microsoft.com/office/drawing/2014/main" xmlns="" id="{26A3DA89-DBC7-494C-ADD4-DBECE13BCAB3}"/>
                </a:ext>
              </a:extLst>
            </p:cNvPr>
            <p:cNvSpPr/>
            <p:nvPr userDrawn="1"/>
          </p:nvSpPr>
          <p:spPr bwMode="auto">
            <a:xfrm>
              <a:off x="4148138" y="5218113"/>
              <a:ext cx="808038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133 w 245"/>
                <a:gd name="T7" fmla="*/ 5 h 79"/>
                <a:gd name="T8" fmla="*/ 106 w 245"/>
                <a:gd name="T9" fmla="*/ 21 h 79"/>
                <a:gd name="T10" fmla="*/ 73 w 245"/>
                <a:gd name="T11" fmla="*/ 3 h 79"/>
                <a:gd name="T12" fmla="*/ 2 w 245"/>
                <a:gd name="T13" fmla="*/ 0 h 79"/>
                <a:gd name="T14" fmla="*/ 2 w 245"/>
                <a:gd name="T1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190" y="7"/>
                    <a:pt x="133" y="5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34" y="2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0" name="îśľiḍé">
              <a:extLst>
                <a:ext uri="{FF2B5EF4-FFF2-40B4-BE49-F238E27FC236}">
                  <a16:creationId xmlns:a16="http://schemas.microsoft.com/office/drawing/2014/main" xmlns="" id="{1168B2B0-A365-43B0-977C-AD128D8D89BC}"/>
                </a:ext>
              </a:extLst>
            </p:cNvPr>
            <p:cNvSpPr/>
            <p:nvPr userDrawn="1"/>
          </p:nvSpPr>
          <p:spPr bwMode="auto">
            <a:xfrm>
              <a:off x="4387851" y="5227638"/>
              <a:ext cx="198438" cy="58738"/>
            </a:xfrm>
            <a:custGeom>
              <a:avLst/>
              <a:gdLst>
                <a:gd name="T0" fmla="*/ 0 w 60"/>
                <a:gd name="T1" fmla="*/ 0 h 18"/>
                <a:gd name="T2" fmla="*/ 33 w 60"/>
                <a:gd name="T3" fmla="*/ 18 h 18"/>
                <a:gd name="T4" fmla="*/ 60 w 60"/>
                <a:gd name="T5" fmla="*/ 2 h 18"/>
                <a:gd name="T6" fmla="*/ 60 w 60"/>
                <a:gd name="T7" fmla="*/ 2 h 18"/>
                <a:gd name="T8" fmla="*/ 33 w 60"/>
                <a:gd name="T9" fmla="*/ 18 h 18"/>
                <a:gd name="T10" fmla="*/ 2 w 60"/>
                <a:gd name="T11" fmla="*/ 0 h 18"/>
                <a:gd name="T12" fmla="*/ 0 w 6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cubicBezTo>
                    <a:pt x="33" y="18"/>
                    <a:pt x="33" y="18"/>
                    <a:pt x="33" y="18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6A82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1" name="îslíďé">
              <a:extLst>
                <a:ext uri="{FF2B5EF4-FFF2-40B4-BE49-F238E27FC236}">
                  <a16:creationId xmlns:a16="http://schemas.microsoft.com/office/drawing/2014/main" xmlns="" id="{199F898B-2B92-4CA0-BBDD-84AE95CEC809}"/>
                </a:ext>
              </a:extLst>
            </p:cNvPr>
            <p:cNvSpPr/>
            <p:nvPr userDrawn="1"/>
          </p:nvSpPr>
          <p:spPr bwMode="auto">
            <a:xfrm>
              <a:off x="4395788" y="5227638"/>
              <a:ext cx="190500" cy="58738"/>
            </a:xfrm>
            <a:custGeom>
              <a:avLst/>
              <a:gdLst>
                <a:gd name="T0" fmla="*/ 0 w 58"/>
                <a:gd name="T1" fmla="*/ 0 h 18"/>
                <a:gd name="T2" fmla="*/ 31 w 58"/>
                <a:gd name="T3" fmla="*/ 18 h 18"/>
                <a:gd name="T4" fmla="*/ 58 w 58"/>
                <a:gd name="T5" fmla="*/ 2 h 18"/>
                <a:gd name="T6" fmla="*/ 0 w 5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18">
                  <a:moveTo>
                    <a:pt x="0" y="0"/>
                  </a:moveTo>
                  <a:cubicBezTo>
                    <a:pt x="31" y="18"/>
                    <a:pt x="31" y="18"/>
                    <a:pt x="31" y="18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38" y="2"/>
                    <a:pt x="18" y="1"/>
                    <a:pt x="0" y="0"/>
                  </a:cubicBezTo>
                </a:path>
              </a:pathLst>
            </a:custGeom>
            <a:solidFill>
              <a:srgbClr val="8396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2" name="í$ḻídê">
              <a:extLst>
                <a:ext uri="{FF2B5EF4-FFF2-40B4-BE49-F238E27FC236}">
                  <a16:creationId xmlns:a16="http://schemas.microsoft.com/office/drawing/2014/main" xmlns="" id="{5F328618-81A9-4593-A8CD-4402A785F6D5}"/>
                </a:ext>
              </a:extLst>
            </p:cNvPr>
            <p:cNvSpPr/>
            <p:nvPr userDrawn="1"/>
          </p:nvSpPr>
          <p:spPr bwMode="auto">
            <a:xfrm>
              <a:off x="4154488" y="5003801"/>
              <a:ext cx="801688" cy="431800"/>
            </a:xfrm>
            <a:custGeom>
              <a:avLst/>
              <a:gdLst>
                <a:gd name="T0" fmla="*/ 505 w 505"/>
                <a:gd name="T1" fmla="*/ 153 h 272"/>
                <a:gd name="T2" fmla="*/ 235 w 505"/>
                <a:gd name="T3" fmla="*/ 0 h 272"/>
                <a:gd name="T4" fmla="*/ 0 w 505"/>
                <a:gd name="T5" fmla="*/ 135 h 272"/>
                <a:gd name="T6" fmla="*/ 237 w 505"/>
                <a:gd name="T7" fmla="*/ 272 h 272"/>
                <a:gd name="T8" fmla="*/ 301 w 505"/>
                <a:gd name="T9" fmla="*/ 270 h 272"/>
                <a:gd name="T10" fmla="*/ 505 w 505"/>
                <a:gd name="T11" fmla="*/ 15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5" h="272">
                  <a:moveTo>
                    <a:pt x="505" y="153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1" y="270"/>
                  </a:lnTo>
                  <a:lnTo>
                    <a:pt x="505" y="153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3" name="ïsḻîḋè">
              <a:extLst>
                <a:ext uri="{FF2B5EF4-FFF2-40B4-BE49-F238E27FC236}">
                  <a16:creationId xmlns:a16="http://schemas.microsoft.com/office/drawing/2014/main" xmlns="" id="{7F59C9DB-11FB-4FD4-8091-C65A5BF35114}"/>
                </a:ext>
              </a:extLst>
            </p:cNvPr>
            <p:cNvSpPr/>
            <p:nvPr userDrawn="1"/>
          </p:nvSpPr>
          <p:spPr bwMode="auto">
            <a:xfrm>
              <a:off x="4530726" y="5372101"/>
              <a:ext cx="101600" cy="63500"/>
            </a:xfrm>
            <a:custGeom>
              <a:avLst/>
              <a:gdLst>
                <a:gd name="T0" fmla="*/ 31 w 64"/>
                <a:gd name="T1" fmla="*/ 0 h 40"/>
                <a:gd name="T2" fmla="*/ 64 w 64"/>
                <a:gd name="T3" fmla="*/ 38 h 40"/>
                <a:gd name="T4" fmla="*/ 0 w 64"/>
                <a:gd name="T5" fmla="*/ 40 h 40"/>
                <a:gd name="T6" fmla="*/ 31 w 64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40">
                  <a:moveTo>
                    <a:pt x="31" y="0"/>
                  </a:moveTo>
                  <a:lnTo>
                    <a:pt x="64" y="38"/>
                  </a:lnTo>
                  <a:lnTo>
                    <a:pt x="0" y="4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2050799"/>
            <a:ext cx="5736161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81393" y="4673762"/>
            <a:ext cx="573616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1394" y="4377491"/>
            <a:ext cx="573616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1738388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xmlns="" id="{9A760D8F-D216-401B-974A-A1462E8F9E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17" name="任意多边形: 形状 716">
            <a:extLst>
              <a:ext uri="{FF2B5EF4-FFF2-40B4-BE49-F238E27FC236}">
                <a16:creationId xmlns:a16="http://schemas.microsoft.com/office/drawing/2014/main" xmlns="" id="{560AAB57-D2E2-4993-9254-59F8DC8E9E98}"/>
              </a:ext>
            </a:extLst>
          </p:cNvPr>
          <p:cNvSpPr/>
          <p:nvPr userDrawn="1"/>
        </p:nvSpPr>
        <p:spPr>
          <a:xfrm>
            <a:off x="2" y="0"/>
            <a:ext cx="1286801" cy="2942908"/>
          </a:xfrm>
          <a:custGeom>
            <a:avLst/>
            <a:gdLst>
              <a:gd name="connsiteX0" fmla="*/ 0 w 1286801"/>
              <a:gd name="connsiteY0" fmla="*/ 0 h 2942908"/>
              <a:gd name="connsiteX1" fmla="*/ 1286801 w 1286801"/>
              <a:gd name="connsiteY1" fmla="*/ 0 h 2942908"/>
              <a:gd name="connsiteX2" fmla="*/ 1241687 w 1286801"/>
              <a:gd name="connsiteY2" fmla="*/ 49074 h 2942908"/>
              <a:gd name="connsiteX3" fmla="*/ 499802 w 1286801"/>
              <a:gd name="connsiteY3" fmla="*/ 1839970 h 2942908"/>
              <a:gd name="connsiteX4" fmla="*/ 85249 w 1286801"/>
              <a:gd name="connsiteY4" fmla="*/ 2831798 h 2942908"/>
              <a:gd name="connsiteX5" fmla="*/ 0 w 1286801"/>
              <a:gd name="connsiteY5" fmla="*/ 2942908 h 2942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86801" h="2942908">
                <a:moveTo>
                  <a:pt x="0" y="0"/>
                </a:moveTo>
                <a:lnTo>
                  <a:pt x="1286801" y="0"/>
                </a:lnTo>
                <a:lnTo>
                  <a:pt x="1241687" y="49074"/>
                </a:lnTo>
                <a:cubicBezTo>
                  <a:pt x="837224" y="530115"/>
                  <a:pt x="628426" y="1159661"/>
                  <a:pt x="499802" y="1839970"/>
                </a:cubicBezTo>
                <a:cubicBezTo>
                  <a:pt x="416370" y="2270369"/>
                  <a:pt x="256458" y="2593169"/>
                  <a:pt x="85249" y="2831798"/>
                </a:cubicBezTo>
                <a:lnTo>
                  <a:pt x="0" y="2942908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400000" scaled="0"/>
          </a:gra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16" name="任意多边形: 形状 715">
            <a:extLst>
              <a:ext uri="{FF2B5EF4-FFF2-40B4-BE49-F238E27FC236}">
                <a16:creationId xmlns:a16="http://schemas.microsoft.com/office/drawing/2014/main" xmlns="" id="{ED2E73B1-D280-4669-8746-D1F3CFFC452B}"/>
              </a:ext>
            </a:extLst>
          </p:cNvPr>
          <p:cNvSpPr/>
          <p:nvPr userDrawn="1"/>
        </p:nvSpPr>
        <p:spPr>
          <a:xfrm>
            <a:off x="3277741" y="29852"/>
            <a:ext cx="8914259" cy="6828148"/>
          </a:xfrm>
          <a:custGeom>
            <a:avLst/>
            <a:gdLst>
              <a:gd name="connsiteX0" fmla="*/ 8580102 w 8914258"/>
              <a:gd name="connsiteY0" fmla="*/ 2086 h 6828148"/>
              <a:gd name="connsiteX1" fmla="*/ 8781935 w 8914258"/>
              <a:gd name="connsiteY1" fmla="*/ 23598 h 6828148"/>
              <a:gd name="connsiteX2" fmla="*/ 8914258 w 8914258"/>
              <a:gd name="connsiteY2" fmla="*/ 52600 h 6828148"/>
              <a:gd name="connsiteX3" fmla="*/ 8914258 w 8914258"/>
              <a:gd name="connsiteY3" fmla="*/ 6828148 h 6828148"/>
              <a:gd name="connsiteX4" fmla="*/ 0 w 8914258"/>
              <a:gd name="connsiteY4" fmla="*/ 6828148 h 6828148"/>
              <a:gd name="connsiteX5" fmla="*/ 19755 w 8914258"/>
              <a:gd name="connsiteY5" fmla="*/ 6814359 h 6828148"/>
              <a:gd name="connsiteX6" fmla="*/ 559333 w 8914258"/>
              <a:gd name="connsiteY6" fmla="*/ 6055631 h 6828148"/>
              <a:gd name="connsiteX7" fmla="*/ 1974584 w 8914258"/>
              <a:gd name="connsiteY7" fmla="*/ 3649176 h 6828148"/>
              <a:gd name="connsiteX8" fmla="*/ 4242695 w 8914258"/>
              <a:gd name="connsiteY8" fmla="*/ 2711276 h 6828148"/>
              <a:gd name="connsiteX9" fmla="*/ 5707388 w 8914258"/>
              <a:gd name="connsiteY9" fmla="*/ 1742523 h 6828148"/>
              <a:gd name="connsiteX10" fmla="*/ 6961956 w 8914258"/>
              <a:gd name="connsiteY10" fmla="*/ 1014416 h 6828148"/>
              <a:gd name="connsiteX11" fmla="*/ 8580102 w 8914258"/>
              <a:gd name="connsiteY11" fmla="*/ 2086 h 6828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914258" h="6828148">
                <a:moveTo>
                  <a:pt x="8580102" y="2086"/>
                </a:moveTo>
                <a:cubicBezTo>
                  <a:pt x="8645470" y="5316"/>
                  <a:pt x="8712748" y="12354"/>
                  <a:pt x="8781935" y="23598"/>
                </a:cubicBezTo>
                <a:lnTo>
                  <a:pt x="8914258" y="52600"/>
                </a:lnTo>
                <a:lnTo>
                  <a:pt x="8914258" y="6828148"/>
                </a:lnTo>
                <a:lnTo>
                  <a:pt x="0" y="6828148"/>
                </a:lnTo>
                <a:lnTo>
                  <a:pt x="19755" y="6814359"/>
                </a:lnTo>
                <a:cubicBezTo>
                  <a:pt x="270605" y="6621331"/>
                  <a:pt x="460837" y="6377648"/>
                  <a:pt x="559333" y="6055631"/>
                </a:cubicBezTo>
                <a:cubicBezTo>
                  <a:pt x="874520" y="5019004"/>
                  <a:pt x="454271" y="4013229"/>
                  <a:pt x="1974584" y="3649176"/>
                </a:cubicBezTo>
                <a:cubicBezTo>
                  <a:pt x="3494898" y="3285123"/>
                  <a:pt x="3884247" y="3470235"/>
                  <a:pt x="4242695" y="2711276"/>
                </a:cubicBezTo>
                <a:cubicBezTo>
                  <a:pt x="4650584" y="1853591"/>
                  <a:pt x="5046113" y="1662308"/>
                  <a:pt x="5707388" y="1742523"/>
                </a:cubicBezTo>
                <a:cubicBezTo>
                  <a:pt x="6368662" y="1822738"/>
                  <a:pt x="6739471" y="1508048"/>
                  <a:pt x="6961956" y="1014416"/>
                </a:cubicBezTo>
                <a:cubicBezTo>
                  <a:pt x="7124184" y="658076"/>
                  <a:pt x="7664946" y="-43132"/>
                  <a:pt x="8580102" y="2086"/>
                </a:cubicBez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2" name="矩形: 圆角 1">
            <a:extLst>
              <a:ext uri="{FF2B5EF4-FFF2-40B4-BE49-F238E27FC236}">
                <a16:creationId xmlns:a16="http://schemas.microsoft.com/office/drawing/2014/main" xmlns="" id="{E846CBA6-24A5-4E64-A1F7-C5FC4425AE40}"/>
              </a:ext>
            </a:extLst>
          </p:cNvPr>
          <p:cNvSpPr/>
          <p:nvPr userDrawn="1"/>
        </p:nvSpPr>
        <p:spPr>
          <a:xfrm>
            <a:off x="825702" y="464457"/>
            <a:ext cx="10540599" cy="5929086"/>
          </a:xfrm>
          <a:prstGeom prst="roundRect">
            <a:avLst>
              <a:gd name="adj" fmla="val 3659"/>
            </a:avLst>
          </a:prstGeom>
          <a:solidFill>
            <a:schemeClr val="bg1"/>
          </a:solidFill>
          <a:ln>
            <a:noFill/>
          </a:ln>
          <a:effectLst>
            <a:outerShdw blurRad="508000" dist="38100" algn="l" rotWithShape="0">
              <a:srgbClr val="065278">
                <a:alpha val="5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20" name="任意多边形: 形状 719">
            <a:extLst>
              <a:ext uri="{FF2B5EF4-FFF2-40B4-BE49-F238E27FC236}">
                <a16:creationId xmlns:a16="http://schemas.microsoft.com/office/drawing/2014/main" xmlns="" id="{665B9890-E928-46B7-BCBA-75A828621900}"/>
              </a:ext>
            </a:extLst>
          </p:cNvPr>
          <p:cNvSpPr/>
          <p:nvPr userDrawn="1"/>
        </p:nvSpPr>
        <p:spPr>
          <a:xfrm>
            <a:off x="3772767" y="464457"/>
            <a:ext cx="7647616" cy="5929086"/>
          </a:xfrm>
          <a:custGeom>
            <a:avLst/>
            <a:gdLst>
              <a:gd name="connsiteX0" fmla="*/ 7182704 w 7933552"/>
              <a:gd name="connsiteY0" fmla="*/ 0 h 6150768"/>
              <a:gd name="connsiteX1" fmla="*/ 7708495 w 7933552"/>
              <a:gd name="connsiteY1" fmla="*/ 0 h 6150768"/>
              <a:gd name="connsiteX2" fmla="*/ 7933552 w 7933552"/>
              <a:gd name="connsiteY2" fmla="*/ 225057 h 6150768"/>
              <a:gd name="connsiteX3" fmla="*/ 7933552 w 7933552"/>
              <a:gd name="connsiteY3" fmla="*/ 5925711 h 6150768"/>
              <a:gd name="connsiteX4" fmla="*/ 7708495 w 7933552"/>
              <a:gd name="connsiteY4" fmla="*/ 6150768 h 6150768"/>
              <a:gd name="connsiteX5" fmla="*/ 0 w 7933552"/>
              <a:gd name="connsiteY5" fmla="*/ 6150768 h 6150768"/>
              <a:gd name="connsiteX6" fmla="*/ 116691 w 7933552"/>
              <a:gd name="connsiteY6" fmla="*/ 5959125 h 6150768"/>
              <a:gd name="connsiteX7" fmla="*/ 207277 w 7933552"/>
              <a:gd name="connsiteY7" fmla="*/ 5731867 h 6150768"/>
              <a:gd name="connsiteX8" fmla="*/ 1622528 w 7933552"/>
              <a:gd name="connsiteY8" fmla="*/ 3325412 h 6150768"/>
              <a:gd name="connsiteX9" fmla="*/ 3890639 w 7933552"/>
              <a:gd name="connsiteY9" fmla="*/ 2387512 h 6150768"/>
              <a:gd name="connsiteX10" fmla="*/ 5355332 w 7933552"/>
              <a:gd name="connsiteY10" fmla="*/ 1418759 h 6150768"/>
              <a:gd name="connsiteX11" fmla="*/ 6609900 w 7933552"/>
              <a:gd name="connsiteY11" fmla="*/ 690652 h 6150768"/>
              <a:gd name="connsiteX12" fmla="*/ 7136625 w 7933552"/>
              <a:gd name="connsiteY12" fmla="*/ 33903 h 6150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933552" h="6150768">
                <a:moveTo>
                  <a:pt x="7182704" y="0"/>
                </a:moveTo>
                <a:lnTo>
                  <a:pt x="7708495" y="0"/>
                </a:lnTo>
                <a:cubicBezTo>
                  <a:pt x="7832791" y="0"/>
                  <a:pt x="7933552" y="100761"/>
                  <a:pt x="7933552" y="225057"/>
                </a:cubicBezTo>
                <a:lnTo>
                  <a:pt x="7933552" y="5925711"/>
                </a:lnTo>
                <a:cubicBezTo>
                  <a:pt x="7933552" y="6050007"/>
                  <a:pt x="7832791" y="6150768"/>
                  <a:pt x="7708495" y="6150768"/>
                </a:cubicBezTo>
                <a:lnTo>
                  <a:pt x="0" y="6150768"/>
                </a:lnTo>
                <a:lnTo>
                  <a:pt x="116691" y="5959125"/>
                </a:lnTo>
                <a:cubicBezTo>
                  <a:pt x="152296" y="5887980"/>
                  <a:pt x="182653" y="5812371"/>
                  <a:pt x="207277" y="5731867"/>
                </a:cubicBezTo>
                <a:cubicBezTo>
                  <a:pt x="522464" y="4695240"/>
                  <a:pt x="102215" y="3689465"/>
                  <a:pt x="1622528" y="3325412"/>
                </a:cubicBezTo>
                <a:cubicBezTo>
                  <a:pt x="3142842" y="2961359"/>
                  <a:pt x="3532191" y="3146471"/>
                  <a:pt x="3890639" y="2387512"/>
                </a:cubicBezTo>
                <a:cubicBezTo>
                  <a:pt x="4298528" y="1529827"/>
                  <a:pt x="4694057" y="1338544"/>
                  <a:pt x="5355332" y="1418759"/>
                </a:cubicBezTo>
                <a:cubicBezTo>
                  <a:pt x="6016606" y="1498974"/>
                  <a:pt x="6387415" y="1184284"/>
                  <a:pt x="6609900" y="690652"/>
                </a:cubicBezTo>
                <a:cubicBezTo>
                  <a:pt x="6691014" y="512482"/>
                  <a:pt x="6866761" y="248095"/>
                  <a:pt x="7136625" y="33903"/>
                </a:cubicBez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79662E0D-BD0B-496C-B2F0-0A9A27507C43}"/>
              </a:ext>
            </a:extLst>
          </p:cNvPr>
          <p:cNvGrpSpPr/>
          <p:nvPr userDrawn="1"/>
        </p:nvGrpSpPr>
        <p:grpSpPr>
          <a:xfrm flipH="1">
            <a:off x="5954203" y="1584053"/>
            <a:ext cx="5427661" cy="4356943"/>
            <a:chOff x="761318" y="1374775"/>
            <a:chExt cx="5118101" cy="4108450"/>
          </a:xfrm>
        </p:grpSpPr>
        <p:sp>
          <p:nvSpPr>
            <p:cNvPr id="318" name="íSḻíḋe">
              <a:extLst>
                <a:ext uri="{FF2B5EF4-FFF2-40B4-BE49-F238E27FC236}">
                  <a16:creationId xmlns:a16="http://schemas.microsoft.com/office/drawing/2014/main" xmlns="" id="{60DCD397-472B-4BD2-8963-E6603E22DA34}"/>
                </a:ext>
              </a:extLst>
            </p:cNvPr>
            <p:cNvSpPr/>
            <p:nvPr userDrawn="1"/>
          </p:nvSpPr>
          <p:spPr bwMode="auto">
            <a:xfrm>
              <a:off x="4598306" y="3778250"/>
              <a:ext cx="1189038" cy="722313"/>
            </a:xfrm>
            <a:custGeom>
              <a:avLst/>
              <a:gdLst>
                <a:gd name="T0" fmla="*/ 119 w 360"/>
                <a:gd name="T1" fmla="*/ 0 h 219"/>
                <a:gd name="T2" fmla="*/ 108 w 360"/>
                <a:gd name="T3" fmla="*/ 2 h 219"/>
                <a:gd name="T4" fmla="*/ 5 w 360"/>
                <a:gd name="T5" fmla="*/ 62 h 219"/>
                <a:gd name="T6" fmla="*/ 0 w 360"/>
                <a:gd name="T7" fmla="*/ 68 h 219"/>
                <a:gd name="T8" fmla="*/ 0 w 360"/>
                <a:gd name="T9" fmla="*/ 79 h 219"/>
                <a:gd name="T10" fmla="*/ 5 w 360"/>
                <a:gd name="T11" fmla="*/ 86 h 219"/>
                <a:gd name="T12" fmla="*/ 232 w 360"/>
                <a:gd name="T13" fmla="*/ 217 h 219"/>
                <a:gd name="T14" fmla="*/ 241 w 360"/>
                <a:gd name="T15" fmla="*/ 219 h 219"/>
                <a:gd name="T16" fmla="*/ 242 w 360"/>
                <a:gd name="T17" fmla="*/ 219 h 219"/>
                <a:gd name="T18" fmla="*/ 252 w 360"/>
                <a:gd name="T19" fmla="*/ 217 h 219"/>
                <a:gd name="T20" fmla="*/ 345 w 360"/>
                <a:gd name="T21" fmla="*/ 163 h 219"/>
                <a:gd name="T22" fmla="*/ 356 w 360"/>
                <a:gd name="T23" fmla="*/ 157 h 219"/>
                <a:gd name="T24" fmla="*/ 360 w 360"/>
                <a:gd name="T25" fmla="*/ 152 h 219"/>
                <a:gd name="T26" fmla="*/ 360 w 360"/>
                <a:gd name="T27" fmla="*/ 150 h 219"/>
                <a:gd name="T28" fmla="*/ 360 w 360"/>
                <a:gd name="T29" fmla="*/ 141 h 219"/>
                <a:gd name="T30" fmla="*/ 360 w 360"/>
                <a:gd name="T31" fmla="*/ 138 h 219"/>
                <a:gd name="T32" fmla="*/ 356 w 360"/>
                <a:gd name="T33" fmla="*/ 133 h 219"/>
                <a:gd name="T34" fmla="*/ 129 w 360"/>
                <a:gd name="T35" fmla="*/ 2 h 219"/>
                <a:gd name="T36" fmla="*/ 119 w 360"/>
                <a:gd name="T3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0" h="219">
                  <a:moveTo>
                    <a:pt x="119" y="0"/>
                  </a:moveTo>
                  <a:cubicBezTo>
                    <a:pt x="113" y="0"/>
                    <a:pt x="108" y="2"/>
                    <a:pt x="108" y="2"/>
                  </a:cubicBezTo>
                  <a:cubicBezTo>
                    <a:pt x="108" y="2"/>
                    <a:pt x="15" y="56"/>
                    <a:pt x="5" y="62"/>
                  </a:cubicBezTo>
                  <a:cubicBezTo>
                    <a:pt x="1" y="64"/>
                    <a:pt x="0" y="66"/>
                    <a:pt x="0" y="6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5" y="86"/>
                    <a:pt x="5" y="86"/>
                  </a:cubicBezTo>
                  <a:cubicBezTo>
                    <a:pt x="5" y="86"/>
                    <a:pt x="221" y="211"/>
                    <a:pt x="232" y="217"/>
                  </a:cubicBezTo>
                  <a:cubicBezTo>
                    <a:pt x="235" y="218"/>
                    <a:pt x="238" y="219"/>
                    <a:pt x="241" y="219"/>
                  </a:cubicBezTo>
                  <a:cubicBezTo>
                    <a:pt x="241" y="219"/>
                    <a:pt x="242" y="219"/>
                    <a:pt x="242" y="219"/>
                  </a:cubicBezTo>
                  <a:cubicBezTo>
                    <a:pt x="248" y="219"/>
                    <a:pt x="252" y="217"/>
                    <a:pt x="252" y="217"/>
                  </a:cubicBezTo>
                  <a:cubicBezTo>
                    <a:pt x="345" y="163"/>
                    <a:pt x="345" y="163"/>
                    <a:pt x="345" y="163"/>
                  </a:cubicBezTo>
                  <a:cubicBezTo>
                    <a:pt x="345" y="163"/>
                    <a:pt x="345" y="163"/>
                    <a:pt x="356" y="157"/>
                  </a:cubicBezTo>
                  <a:cubicBezTo>
                    <a:pt x="358" y="155"/>
                    <a:pt x="360" y="154"/>
                    <a:pt x="360" y="152"/>
                  </a:cubicBezTo>
                  <a:cubicBezTo>
                    <a:pt x="360" y="152"/>
                    <a:pt x="360" y="151"/>
                    <a:pt x="360" y="150"/>
                  </a:cubicBezTo>
                  <a:cubicBezTo>
                    <a:pt x="360" y="141"/>
                    <a:pt x="360" y="141"/>
                    <a:pt x="360" y="141"/>
                  </a:cubicBezTo>
                  <a:cubicBezTo>
                    <a:pt x="360" y="140"/>
                    <a:pt x="360" y="139"/>
                    <a:pt x="360" y="138"/>
                  </a:cubicBezTo>
                  <a:cubicBezTo>
                    <a:pt x="359" y="135"/>
                    <a:pt x="356" y="133"/>
                    <a:pt x="356" y="133"/>
                  </a:cubicBezTo>
                  <a:cubicBezTo>
                    <a:pt x="356" y="133"/>
                    <a:pt x="139" y="8"/>
                    <a:pt x="129" y="2"/>
                  </a:cubicBezTo>
                  <a:cubicBezTo>
                    <a:pt x="125" y="0"/>
                    <a:pt x="122" y="0"/>
                    <a:pt x="119" y="0"/>
                  </a:cubicBezTo>
                </a:path>
              </a:pathLst>
            </a:custGeom>
            <a:solidFill>
              <a:srgbClr val="1A7CE8">
                <a:alpha val="54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19" name="ïṣḻíďé">
              <a:extLst>
                <a:ext uri="{FF2B5EF4-FFF2-40B4-BE49-F238E27FC236}">
                  <a16:creationId xmlns:a16="http://schemas.microsoft.com/office/drawing/2014/main" xmlns="" id="{0D5D2C9A-E4D8-4CE9-9E83-F622F58C0AD3}"/>
                </a:ext>
              </a:extLst>
            </p:cNvPr>
            <p:cNvSpPr/>
            <p:nvPr userDrawn="1"/>
          </p:nvSpPr>
          <p:spPr bwMode="auto">
            <a:xfrm>
              <a:off x="4671331" y="3805238"/>
              <a:ext cx="1187450" cy="695325"/>
            </a:xfrm>
            <a:custGeom>
              <a:avLst/>
              <a:gdLst>
                <a:gd name="T0" fmla="*/ 360 w 360"/>
                <a:gd name="T1" fmla="*/ 144 h 211"/>
                <a:gd name="T2" fmla="*/ 360 w 360"/>
                <a:gd name="T3" fmla="*/ 142 h 211"/>
                <a:gd name="T4" fmla="*/ 360 w 360"/>
                <a:gd name="T5" fmla="*/ 130 h 211"/>
                <a:gd name="T6" fmla="*/ 336 w 360"/>
                <a:gd name="T7" fmla="*/ 126 h 211"/>
                <a:gd name="T8" fmla="*/ 129 w 360"/>
                <a:gd name="T9" fmla="*/ 6 h 211"/>
                <a:gd name="T10" fmla="*/ 108 w 360"/>
                <a:gd name="T11" fmla="*/ 6 h 211"/>
                <a:gd name="T12" fmla="*/ 12 w 360"/>
                <a:gd name="T13" fmla="*/ 61 h 211"/>
                <a:gd name="T14" fmla="*/ 1 w 360"/>
                <a:gd name="T15" fmla="*/ 59 h 211"/>
                <a:gd name="T16" fmla="*/ 1 w 360"/>
                <a:gd name="T17" fmla="*/ 71 h 211"/>
                <a:gd name="T18" fmla="*/ 5 w 360"/>
                <a:gd name="T19" fmla="*/ 78 h 211"/>
                <a:gd name="T20" fmla="*/ 232 w 360"/>
                <a:gd name="T21" fmla="*/ 209 h 211"/>
                <a:gd name="T22" fmla="*/ 241 w 360"/>
                <a:gd name="T23" fmla="*/ 211 h 211"/>
                <a:gd name="T24" fmla="*/ 241 w 360"/>
                <a:gd name="T25" fmla="*/ 211 h 211"/>
                <a:gd name="T26" fmla="*/ 253 w 360"/>
                <a:gd name="T27" fmla="*/ 209 h 211"/>
                <a:gd name="T28" fmla="*/ 345 w 360"/>
                <a:gd name="T29" fmla="*/ 155 h 211"/>
                <a:gd name="T30" fmla="*/ 356 w 360"/>
                <a:gd name="T31" fmla="*/ 149 h 211"/>
                <a:gd name="T32" fmla="*/ 360 w 360"/>
                <a:gd name="T33" fmla="*/ 14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0" h="211">
                  <a:moveTo>
                    <a:pt x="360" y="144"/>
                  </a:moveTo>
                  <a:cubicBezTo>
                    <a:pt x="360" y="144"/>
                    <a:pt x="360" y="143"/>
                    <a:pt x="360" y="142"/>
                  </a:cubicBezTo>
                  <a:cubicBezTo>
                    <a:pt x="360" y="130"/>
                    <a:pt x="360" y="130"/>
                    <a:pt x="360" y="130"/>
                  </a:cubicBezTo>
                  <a:cubicBezTo>
                    <a:pt x="336" y="126"/>
                    <a:pt x="336" y="126"/>
                    <a:pt x="336" y="126"/>
                  </a:cubicBezTo>
                  <a:cubicBezTo>
                    <a:pt x="282" y="94"/>
                    <a:pt x="137" y="11"/>
                    <a:pt x="129" y="6"/>
                  </a:cubicBezTo>
                  <a:cubicBezTo>
                    <a:pt x="119" y="0"/>
                    <a:pt x="108" y="6"/>
                    <a:pt x="108" y="6"/>
                  </a:cubicBezTo>
                  <a:cubicBezTo>
                    <a:pt x="108" y="6"/>
                    <a:pt x="37" y="47"/>
                    <a:pt x="12" y="61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75"/>
                    <a:pt x="5" y="78"/>
                    <a:pt x="5" y="78"/>
                  </a:cubicBezTo>
                  <a:cubicBezTo>
                    <a:pt x="5" y="78"/>
                    <a:pt x="222" y="203"/>
                    <a:pt x="232" y="209"/>
                  </a:cubicBezTo>
                  <a:cubicBezTo>
                    <a:pt x="235" y="210"/>
                    <a:pt x="239" y="211"/>
                    <a:pt x="241" y="211"/>
                  </a:cubicBezTo>
                  <a:cubicBezTo>
                    <a:pt x="241" y="211"/>
                    <a:pt x="241" y="211"/>
                    <a:pt x="241" y="211"/>
                  </a:cubicBezTo>
                  <a:cubicBezTo>
                    <a:pt x="248" y="211"/>
                    <a:pt x="253" y="209"/>
                    <a:pt x="253" y="209"/>
                  </a:cubicBezTo>
                  <a:cubicBezTo>
                    <a:pt x="345" y="155"/>
                    <a:pt x="345" y="155"/>
                    <a:pt x="345" y="155"/>
                  </a:cubicBezTo>
                  <a:cubicBezTo>
                    <a:pt x="345" y="155"/>
                    <a:pt x="345" y="155"/>
                    <a:pt x="356" y="149"/>
                  </a:cubicBezTo>
                  <a:cubicBezTo>
                    <a:pt x="359" y="147"/>
                    <a:pt x="360" y="146"/>
                    <a:pt x="360" y="14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0" name="ïS1ïḑé">
              <a:extLst>
                <a:ext uri="{FF2B5EF4-FFF2-40B4-BE49-F238E27FC236}">
                  <a16:creationId xmlns:a16="http://schemas.microsoft.com/office/drawing/2014/main" xmlns="" id="{3D5A6738-A06F-4AFE-A80E-852092DC969B}"/>
                </a:ext>
              </a:extLst>
            </p:cNvPr>
            <p:cNvSpPr/>
            <p:nvPr userDrawn="1"/>
          </p:nvSpPr>
          <p:spPr bwMode="auto">
            <a:xfrm>
              <a:off x="4655456" y="3765550"/>
              <a:ext cx="1223963" cy="708025"/>
            </a:xfrm>
            <a:custGeom>
              <a:avLst/>
              <a:gdLst>
                <a:gd name="T0" fmla="*/ 350 w 371"/>
                <a:gd name="T1" fmla="*/ 155 h 215"/>
                <a:gd name="T2" fmla="*/ 258 w 371"/>
                <a:gd name="T3" fmla="*/ 209 h 215"/>
                <a:gd name="T4" fmla="*/ 237 w 371"/>
                <a:gd name="T5" fmla="*/ 209 h 215"/>
                <a:gd name="T6" fmla="*/ 10 w 371"/>
                <a:gd name="T7" fmla="*/ 78 h 215"/>
                <a:gd name="T8" fmla="*/ 10 w 371"/>
                <a:gd name="T9" fmla="*/ 66 h 215"/>
                <a:gd name="T10" fmla="*/ 113 w 371"/>
                <a:gd name="T11" fmla="*/ 6 h 215"/>
                <a:gd name="T12" fmla="*/ 134 w 371"/>
                <a:gd name="T13" fmla="*/ 6 h 215"/>
                <a:gd name="T14" fmla="*/ 361 w 371"/>
                <a:gd name="T15" fmla="*/ 137 h 215"/>
                <a:gd name="T16" fmla="*/ 361 w 371"/>
                <a:gd name="T17" fmla="*/ 149 h 215"/>
                <a:gd name="T18" fmla="*/ 350 w 371"/>
                <a:gd name="T19" fmla="*/ 15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1" h="215">
                  <a:moveTo>
                    <a:pt x="350" y="155"/>
                  </a:moveTo>
                  <a:cubicBezTo>
                    <a:pt x="258" y="209"/>
                    <a:pt x="258" y="209"/>
                    <a:pt x="258" y="209"/>
                  </a:cubicBezTo>
                  <a:cubicBezTo>
                    <a:pt x="258" y="209"/>
                    <a:pt x="247" y="215"/>
                    <a:pt x="237" y="209"/>
                  </a:cubicBezTo>
                  <a:cubicBezTo>
                    <a:pt x="227" y="203"/>
                    <a:pt x="10" y="78"/>
                    <a:pt x="10" y="78"/>
                  </a:cubicBezTo>
                  <a:cubicBezTo>
                    <a:pt x="10" y="78"/>
                    <a:pt x="0" y="72"/>
                    <a:pt x="10" y="66"/>
                  </a:cubicBezTo>
                  <a:cubicBezTo>
                    <a:pt x="20" y="60"/>
                    <a:pt x="113" y="6"/>
                    <a:pt x="113" y="6"/>
                  </a:cubicBezTo>
                  <a:cubicBezTo>
                    <a:pt x="113" y="6"/>
                    <a:pt x="124" y="0"/>
                    <a:pt x="134" y="6"/>
                  </a:cubicBezTo>
                  <a:cubicBezTo>
                    <a:pt x="144" y="12"/>
                    <a:pt x="361" y="137"/>
                    <a:pt x="361" y="137"/>
                  </a:cubicBezTo>
                  <a:cubicBezTo>
                    <a:pt x="361" y="137"/>
                    <a:pt x="371" y="143"/>
                    <a:pt x="361" y="149"/>
                  </a:cubicBezTo>
                  <a:cubicBezTo>
                    <a:pt x="350" y="155"/>
                    <a:pt x="350" y="155"/>
                    <a:pt x="350" y="155"/>
                  </a:cubicBez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1" name="ïśļîḑè">
              <a:extLst>
                <a:ext uri="{FF2B5EF4-FFF2-40B4-BE49-F238E27FC236}">
                  <a16:creationId xmlns:a16="http://schemas.microsoft.com/office/drawing/2014/main" xmlns="" id="{293E71D2-E4B8-476D-A817-D1E55D7A434B}"/>
                </a:ext>
              </a:extLst>
            </p:cNvPr>
            <p:cNvSpPr/>
            <p:nvPr userDrawn="1"/>
          </p:nvSpPr>
          <p:spPr bwMode="auto">
            <a:xfrm>
              <a:off x="4757056" y="3824288"/>
              <a:ext cx="950913" cy="550863"/>
            </a:xfrm>
            <a:custGeom>
              <a:avLst/>
              <a:gdLst>
                <a:gd name="T0" fmla="*/ 599 w 599"/>
                <a:gd name="T1" fmla="*/ 222 h 347"/>
                <a:gd name="T2" fmla="*/ 214 w 599"/>
                <a:gd name="T3" fmla="*/ 0 h 347"/>
                <a:gd name="T4" fmla="*/ 0 w 599"/>
                <a:gd name="T5" fmla="*/ 125 h 347"/>
                <a:gd name="T6" fmla="*/ 385 w 599"/>
                <a:gd name="T7" fmla="*/ 347 h 347"/>
                <a:gd name="T8" fmla="*/ 599 w 599"/>
                <a:gd name="T9" fmla="*/ 22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9" h="347">
                  <a:moveTo>
                    <a:pt x="599" y="222"/>
                  </a:moveTo>
                  <a:lnTo>
                    <a:pt x="214" y="0"/>
                  </a:lnTo>
                  <a:lnTo>
                    <a:pt x="0" y="125"/>
                  </a:lnTo>
                  <a:lnTo>
                    <a:pt x="385" y="347"/>
                  </a:lnTo>
                  <a:lnTo>
                    <a:pt x="599" y="222"/>
                  </a:ln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2" name="îṡḷîďe">
              <a:extLst>
                <a:ext uri="{FF2B5EF4-FFF2-40B4-BE49-F238E27FC236}">
                  <a16:creationId xmlns:a16="http://schemas.microsoft.com/office/drawing/2014/main" xmlns="" id="{6B04F653-3E61-44A2-BB7E-96703CC7F694}"/>
                </a:ext>
              </a:extLst>
            </p:cNvPr>
            <p:cNvSpPr/>
            <p:nvPr userDrawn="1"/>
          </p:nvSpPr>
          <p:spPr bwMode="auto">
            <a:xfrm>
              <a:off x="5488893" y="4237038"/>
              <a:ext cx="222250" cy="128588"/>
            </a:xfrm>
            <a:custGeom>
              <a:avLst/>
              <a:gdLst>
                <a:gd name="T0" fmla="*/ 65 w 67"/>
                <a:gd name="T1" fmla="*/ 2 h 39"/>
                <a:gd name="T2" fmla="*/ 63 w 67"/>
                <a:gd name="T3" fmla="*/ 1 h 39"/>
                <a:gd name="T4" fmla="*/ 55 w 67"/>
                <a:gd name="T5" fmla="*/ 1 h 39"/>
                <a:gd name="T6" fmla="*/ 2 w 67"/>
                <a:gd name="T7" fmla="*/ 32 h 39"/>
                <a:gd name="T8" fmla="*/ 2 w 67"/>
                <a:gd name="T9" fmla="*/ 37 h 39"/>
                <a:gd name="T10" fmla="*/ 3 w 67"/>
                <a:gd name="T11" fmla="*/ 37 h 39"/>
                <a:gd name="T12" fmla="*/ 12 w 67"/>
                <a:gd name="T13" fmla="*/ 37 h 39"/>
                <a:gd name="T14" fmla="*/ 65 w 67"/>
                <a:gd name="T15" fmla="*/ 7 h 39"/>
                <a:gd name="T16" fmla="*/ 65 w 67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39">
                  <a:moveTo>
                    <a:pt x="65" y="2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1" y="0"/>
                    <a:pt x="58" y="0"/>
                    <a:pt x="55" y="1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0" y="33"/>
                    <a:pt x="0" y="36"/>
                    <a:pt x="2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6" y="39"/>
                    <a:pt x="9" y="39"/>
                    <a:pt x="12" y="3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7" y="6"/>
                    <a:pt x="67" y="3"/>
                    <a:pt x="65" y="2"/>
                  </a:cubicBez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3" name="iṣlidê">
              <a:extLst>
                <a:ext uri="{FF2B5EF4-FFF2-40B4-BE49-F238E27FC236}">
                  <a16:creationId xmlns:a16="http://schemas.microsoft.com/office/drawing/2014/main" xmlns="" id="{C6214681-7B5F-4711-9A0F-714315BFB72B}"/>
                </a:ext>
              </a:extLst>
            </p:cNvPr>
            <p:cNvSpPr/>
            <p:nvPr userDrawn="1"/>
          </p:nvSpPr>
          <p:spPr bwMode="auto">
            <a:xfrm>
              <a:off x="4876118" y="3894138"/>
              <a:ext cx="33338" cy="12700"/>
            </a:xfrm>
            <a:prstGeom prst="ellipse">
              <a:avLst/>
            </a:pr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6" name="îšḻiḓe">
              <a:extLst>
                <a:ext uri="{FF2B5EF4-FFF2-40B4-BE49-F238E27FC236}">
                  <a16:creationId xmlns:a16="http://schemas.microsoft.com/office/drawing/2014/main" xmlns="" id="{6E895262-59FE-4DED-A1FF-FE684EA8C511}"/>
                </a:ext>
              </a:extLst>
            </p:cNvPr>
            <p:cNvSpPr/>
            <p:nvPr userDrawn="1"/>
          </p:nvSpPr>
          <p:spPr bwMode="auto">
            <a:xfrm>
              <a:off x="3506106" y="4629150"/>
              <a:ext cx="809625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2 w 245"/>
                <a:gd name="T7" fmla="*/ 0 h 79"/>
                <a:gd name="T8" fmla="*/ 2 w 24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7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7" name="ïšľîḑê">
              <a:extLst>
                <a:ext uri="{FF2B5EF4-FFF2-40B4-BE49-F238E27FC236}">
                  <a16:creationId xmlns:a16="http://schemas.microsoft.com/office/drawing/2014/main" xmlns="" id="{0D0C9451-5166-4FE4-B6D9-70809E03BA22}"/>
                </a:ext>
              </a:extLst>
            </p:cNvPr>
            <p:cNvSpPr/>
            <p:nvPr userDrawn="1"/>
          </p:nvSpPr>
          <p:spPr bwMode="auto">
            <a:xfrm>
              <a:off x="3512456" y="4414838"/>
              <a:ext cx="803275" cy="431800"/>
            </a:xfrm>
            <a:custGeom>
              <a:avLst/>
              <a:gdLst>
                <a:gd name="T0" fmla="*/ 506 w 506"/>
                <a:gd name="T1" fmla="*/ 154 h 272"/>
                <a:gd name="T2" fmla="*/ 235 w 506"/>
                <a:gd name="T3" fmla="*/ 0 h 272"/>
                <a:gd name="T4" fmla="*/ 0 w 506"/>
                <a:gd name="T5" fmla="*/ 135 h 272"/>
                <a:gd name="T6" fmla="*/ 237 w 506"/>
                <a:gd name="T7" fmla="*/ 272 h 272"/>
                <a:gd name="T8" fmla="*/ 302 w 506"/>
                <a:gd name="T9" fmla="*/ 270 h 272"/>
                <a:gd name="T10" fmla="*/ 506 w 506"/>
                <a:gd name="T11" fmla="*/ 15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6" h="272">
                  <a:moveTo>
                    <a:pt x="506" y="154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2" y="270"/>
                  </a:lnTo>
                  <a:lnTo>
                    <a:pt x="506" y="154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8" name="isḷïḋè">
              <a:extLst>
                <a:ext uri="{FF2B5EF4-FFF2-40B4-BE49-F238E27FC236}">
                  <a16:creationId xmlns:a16="http://schemas.microsoft.com/office/drawing/2014/main" xmlns="" id="{3F17356B-A90E-4D9B-B1ED-BEF032041B68}"/>
                </a:ext>
              </a:extLst>
            </p:cNvPr>
            <p:cNvSpPr/>
            <p:nvPr userDrawn="1"/>
          </p:nvSpPr>
          <p:spPr bwMode="auto">
            <a:xfrm>
              <a:off x="3888693" y="4783138"/>
              <a:ext cx="103188" cy="63500"/>
            </a:xfrm>
            <a:custGeom>
              <a:avLst/>
              <a:gdLst>
                <a:gd name="T0" fmla="*/ 32 w 65"/>
                <a:gd name="T1" fmla="*/ 0 h 40"/>
                <a:gd name="T2" fmla="*/ 65 w 65"/>
                <a:gd name="T3" fmla="*/ 38 h 40"/>
                <a:gd name="T4" fmla="*/ 0 w 65"/>
                <a:gd name="T5" fmla="*/ 40 h 40"/>
                <a:gd name="T6" fmla="*/ 32 w 65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40">
                  <a:moveTo>
                    <a:pt x="32" y="0"/>
                  </a:moveTo>
                  <a:lnTo>
                    <a:pt x="65" y="38"/>
                  </a:lnTo>
                  <a:lnTo>
                    <a:pt x="0" y="4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5" name="išlîďé">
              <a:extLst>
                <a:ext uri="{FF2B5EF4-FFF2-40B4-BE49-F238E27FC236}">
                  <a16:creationId xmlns:a16="http://schemas.microsoft.com/office/drawing/2014/main" xmlns="" id="{6BA7BF3C-23E5-414D-B9BB-EBD90FE4A799}"/>
                </a:ext>
              </a:extLst>
            </p:cNvPr>
            <p:cNvSpPr/>
            <p:nvPr userDrawn="1"/>
          </p:nvSpPr>
          <p:spPr bwMode="auto">
            <a:xfrm>
              <a:off x="2213881" y="4210050"/>
              <a:ext cx="841375" cy="504825"/>
            </a:xfrm>
            <a:custGeom>
              <a:avLst/>
              <a:gdLst>
                <a:gd name="T0" fmla="*/ 0 w 255"/>
                <a:gd name="T1" fmla="*/ 1 h 153"/>
                <a:gd name="T2" fmla="*/ 0 w 255"/>
                <a:gd name="T3" fmla="*/ 0 h 153"/>
                <a:gd name="T4" fmla="*/ 2 w 255"/>
                <a:gd name="T5" fmla="*/ 0 h 153"/>
                <a:gd name="T6" fmla="*/ 4 w 255"/>
                <a:gd name="T7" fmla="*/ 1 h 153"/>
                <a:gd name="T8" fmla="*/ 7 w 255"/>
                <a:gd name="T9" fmla="*/ 2 h 153"/>
                <a:gd name="T10" fmla="*/ 11 w 255"/>
                <a:gd name="T11" fmla="*/ 4 h 153"/>
                <a:gd name="T12" fmla="*/ 13 w 255"/>
                <a:gd name="T13" fmla="*/ 4 h 153"/>
                <a:gd name="T14" fmla="*/ 15 w 255"/>
                <a:gd name="T15" fmla="*/ 5 h 153"/>
                <a:gd name="T16" fmla="*/ 35 w 255"/>
                <a:gd name="T17" fmla="*/ 12 h 153"/>
                <a:gd name="T18" fmla="*/ 35 w 255"/>
                <a:gd name="T19" fmla="*/ 12 h 153"/>
                <a:gd name="T20" fmla="*/ 35 w 255"/>
                <a:gd name="T21" fmla="*/ 12 h 153"/>
                <a:gd name="T22" fmla="*/ 35 w 255"/>
                <a:gd name="T23" fmla="*/ 12 h 153"/>
                <a:gd name="T24" fmla="*/ 35 w 255"/>
                <a:gd name="T25" fmla="*/ 12 h 153"/>
                <a:gd name="T26" fmla="*/ 251 w 255"/>
                <a:gd name="T27" fmla="*/ 137 h 153"/>
                <a:gd name="T28" fmla="*/ 255 w 255"/>
                <a:gd name="T29" fmla="*/ 142 h 153"/>
                <a:gd name="T30" fmla="*/ 251 w 255"/>
                <a:gd name="T31" fmla="*/ 149 h 153"/>
                <a:gd name="T32" fmla="*/ 245 w 255"/>
                <a:gd name="T33" fmla="*/ 153 h 153"/>
                <a:gd name="T34" fmla="*/ 29 w 255"/>
                <a:gd name="T35" fmla="*/ 27 h 153"/>
                <a:gd name="T36" fmla="*/ 29 w 255"/>
                <a:gd name="T37" fmla="*/ 27 h 153"/>
                <a:gd name="T38" fmla="*/ 11 w 255"/>
                <a:gd name="T39" fmla="*/ 10 h 153"/>
                <a:gd name="T40" fmla="*/ 0 w 255"/>
                <a:gd name="T41" fmla="*/ 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5" h="153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3" y="1"/>
                    <a:pt x="4" y="1"/>
                  </a:cubicBezTo>
                  <a:cubicBezTo>
                    <a:pt x="5" y="1"/>
                    <a:pt x="6" y="2"/>
                    <a:pt x="7" y="2"/>
                  </a:cubicBezTo>
                  <a:cubicBezTo>
                    <a:pt x="9" y="3"/>
                    <a:pt x="10" y="3"/>
                    <a:pt x="11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6" y="5"/>
                    <a:pt x="33" y="11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251" y="137"/>
                    <a:pt x="251" y="137"/>
                    <a:pt x="251" y="137"/>
                  </a:cubicBezTo>
                  <a:cubicBezTo>
                    <a:pt x="255" y="142"/>
                    <a:pt x="255" y="142"/>
                    <a:pt x="255" y="142"/>
                  </a:cubicBezTo>
                  <a:cubicBezTo>
                    <a:pt x="251" y="149"/>
                    <a:pt x="251" y="149"/>
                    <a:pt x="251" y="149"/>
                  </a:cubicBezTo>
                  <a:cubicBezTo>
                    <a:pt x="245" y="153"/>
                    <a:pt x="245" y="153"/>
                    <a:pt x="245" y="153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3" y="22"/>
                    <a:pt x="17" y="15"/>
                    <a:pt x="11" y="10"/>
                  </a:cubicBezTo>
                  <a:cubicBezTo>
                    <a:pt x="7" y="7"/>
                    <a:pt x="3" y="4"/>
                    <a:pt x="0" y="1"/>
                  </a:cubicBezTo>
                  <a:close/>
                </a:path>
              </a:pathLst>
            </a:custGeom>
            <a:solidFill>
              <a:srgbClr val="647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6" name="ïšḷïḋé">
              <a:extLst>
                <a:ext uri="{FF2B5EF4-FFF2-40B4-BE49-F238E27FC236}">
                  <a16:creationId xmlns:a16="http://schemas.microsoft.com/office/drawing/2014/main" xmlns="" id="{4DCD184B-57BA-4B2F-80A1-EAA381897F05}"/>
                </a:ext>
              </a:extLst>
            </p:cNvPr>
            <p:cNvSpPr/>
            <p:nvPr userDrawn="1"/>
          </p:nvSpPr>
          <p:spPr bwMode="auto">
            <a:xfrm>
              <a:off x="2223406" y="4197350"/>
              <a:ext cx="52388" cy="33338"/>
            </a:xfrm>
            <a:custGeom>
              <a:avLst/>
              <a:gdLst>
                <a:gd name="T0" fmla="*/ 1 w 16"/>
                <a:gd name="T1" fmla="*/ 0 h 10"/>
                <a:gd name="T2" fmla="*/ 2 w 16"/>
                <a:gd name="T3" fmla="*/ 1 h 10"/>
                <a:gd name="T4" fmla="*/ 4 w 16"/>
                <a:gd name="T5" fmla="*/ 1 h 10"/>
                <a:gd name="T6" fmla="*/ 8 w 16"/>
                <a:gd name="T7" fmla="*/ 3 h 10"/>
                <a:gd name="T8" fmla="*/ 12 w 16"/>
                <a:gd name="T9" fmla="*/ 4 h 10"/>
                <a:gd name="T10" fmla="*/ 14 w 16"/>
                <a:gd name="T11" fmla="*/ 5 h 10"/>
                <a:gd name="T12" fmla="*/ 16 w 16"/>
                <a:gd name="T13" fmla="*/ 5 h 10"/>
                <a:gd name="T14" fmla="*/ 11 w 16"/>
                <a:gd name="T15" fmla="*/ 10 h 10"/>
                <a:gd name="T16" fmla="*/ 0 w 16"/>
                <a:gd name="T17" fmla="*/ 1 h 10"/>
                <a:gd name="T18" fmla="*/ 1 w 16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0"/>
                  </a:moveTo>
                  <a:cubicBezTo>
                    <a:pt x="1" y="0"/>
                    <a:pt x="2" y="0"/>
                    <a:pt x="2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2"/>
                    <a:pt x="7" y="2"/>
                    <a:pt x="8" y="3"/>
                  </a:cubicBezTo>
                  <a:cubicBezTo>
                    <a:pt x="9" y="3"/>
                    <a:pt x="11" y="3"/>
                    <a:pt x="12" y="4"/>
                  </a:cubicBezTo>
                  <a:cubicBezTo>
                    <a:pt x="13" y="4"/>
                    <a:pt x="13" y="4"/>
                    <a:pt x="14" y="5"/>
                  </a:cubicBezTo>
                  <a:cubicBezTo>
                    <a:pt x="15" y="5"/>
                    <a:pt x="15" y="5"/>
                    <a:pt x="16" y="5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7"/>
                    <a:pt x="4" y="4"/>
                    <a:pt x="0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342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7" name="í$lîḍê">
              <a:extLst>
                <a:ext uri="{FF2B5EF4-FFF2-40B4-BE49-F238E27FC236}">
                  <a16:creationId xmlns:a16="http://schemas.microsoft.com/office/drawing/2014/main" xmlns="" id="{EB501BFA-8B9C-49D9-9911-2205D24123CE}"/>
                </a:ext>
              </a:extLst>
            </p:cNvPr>
            <p:cNvSpPr/>
            <p:nvPr userDrawn="1"/>
          </p:nvSpPr>
          <p:spPr bwMode="auto">
            <a:xfrm>
              <a:off x="2259918" y="4213225"/>
              <a:ext cx="82550" cy="76200"/>
            </a:xfrm>
            <a:custGeom>
              <a:avLst/>
              <a:gdLst>
                <a:gd name="T0" fmla="*/ 5 w 25"/>
                <a:gd name="T1" fmla="*/ 0 h 23"/>
                <a:gd name="T2" fmla="*/ 25 w 25"/>
                <a:gd name="T3" fmla="*/ 7 h 23"/>
                <a:gd name="T4" fmla="*/ 23 w 25"/>
                <a:gd name="T5" fmla="*/ 9 h 23"/>
                <a:gd name="T6" fmla="*/ 17 w 25"/>
                <a:gd name="T7" fmla="*/ 17 h 23"/>
                <a:gd name="T8" fmla="*/ 19 w 25"/>
                <a:gd name="T9" fmla="*/ 23 h 23"/>
                <a:gd name="T10" fmla="*/ 0 w 25"/>
                <a:gd name="T11" fmla="*/ 5 h 23"/>
                <a:gd name="T12" fmla="*/ 5 w 25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3">
                  <a:moveTo>
                    <a:pt x="5" y="0"/>
                  </a:moveTo>
                  <a:cubicBezTo>
                    <a:pt x="6" y="1"/>
                    <a:pt x="24" y="7"/>
                    <a:pt x="25" y="7"/>
                  </a:cubicBezTo>
                  <a:cubicBezTo>
                    <a:pt x="24" y="8"/>
                    <a:pt x="24" y="8"/>
                    <a:pt x="23" y="9"/>
                  </a:cubicBezTo>
                  <a:cubicBezTo>
                    <a:pt x="20" y="10"/>
                    <a:pt x="17" y="14"/>
                    <a:pt x="17" y="17"/>
                  </a:cubicBezTo>
                  <a:cubicBezTo>
                    <a:pt x="17" y="19"/>
                    <a:pt x="18" y="22"/>
                    <a:pt x="19" y="23"/>
                  </a:cubicBezTo>
                  <a:cubicBezTo>
                    <a:pt x="13" y="17"/>
                    <a:pt x="6" y="10"/>
                    <a:pt x="0" y="5"/>
                  </a:cubicBezTo>
                  <a:cubicBezTo>
                    <a:pt x="0" y="4"/>
                    <a:pt x="4" y="0"/>
                    <a:pt x="5" y="0"/>
                  </a:cubicBezTo>
                  <a:close/>
                </a:path>
              </a:pathLst>
            </a:custGeom>
            <a:solidFill>
              <a:srgbClr val="FFE2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8" name="işļîdé">
              <a:extLst>
                <a:ext uri="{FF2B5EF4-FFF2-40B4-BE49-F238E27FC236}">
                  <a16:creationId xmlns:a16="http://schemas.microsoft.com/office/drawing/2014/main" xmlns="" id="{843A22CF-9570-4BEB-82C4-1083CCAB74EC}"/>
                </a:ext>
              </a:extLst>
            </p:cNvPr>
            <p:cNvSpPr/>
            <p:nvPr userDrawn="1"/>
          </p:nvSpPr>
          <p:spPr bwMode="auto">
            <a:xfrm>
              <a:off x="2315481" y="4237038"/>
              <a:ext cx="36513" cy="49213"/>
            </a:xfrm>
            <a:custGeom>
              <a:avLst/>
              <a:gdLst>
                <a:gd name="T0" fmla="*/ 0 w 11"/>
                <a:gd name="T1" fmla="*/ 10 h 15"/>
                <a:gd name="T2" fmla="*/ 5 w 11"/>
                <a:gd name="T3" fmla="*/ 14 h 15"/>
                <a:gd name="T4" fmla="*/ 11 w 11"/>
                <a:gd name="T5" fmla="*/ 4 h 15"/>
                <a:gd name="T6" fmla="*/ 6 w 11"/>
                <a:gd name="T7" fmla="*/ 1 h 15"/>
                <a:gd name="T8" fmla="*/ 0 w 11"/>
                <a:gd name="T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0" y="10"/>
                  </a:moveTo>
                  <a:cubicBezTo>
                    <a:pt x="0" y="14"/>
                    <a:pt x="2" y="15"/>
                    <a:pt x="5" y="14"/>
                  </a:cubicBezTo>
                  <a:cubicBezTo>
                    <a:pt x="8" y="12"/>
                    <a:pt x="11" y="8"/>
                    <a:pt x="11" y="4"/>
                  </a:cubicBezTo>
                  <a:cubicBezTo>
                    <a:pt x="11" y="1"/>
                    <a:pt x="9" y="0"/>
                    <a:pt x="6" y="1"/>
                  </a:cubicBezTo>
                  <a:cubicBezTo>
                    <a:pt x="3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9" name="îşḷïďe">
              <a:extLst>
                <a:ext uri="{FF2B5EF4-FFF2-40B4-BE49-F238E27FC236}">
                  <a16:creationId xmlns:a16="http://schemas.microsoft.com/office/drawing/2014/main" xmlns="" id="{BB2FA161-E3A8-4734-87FB-C34970CF4AFB}"/>
                </a:ext>
              </a:extLst>
            </p:cNvPr>
            <p:cNvSpPr/>
            <p:nvPr userDrawn="1"/>
          </p:nvSpPr>
          <p:spPr bwMode="auto">
            <a:xfrm>
              <a:off x="2312306" y="4273550"/>
              <a:ext cx="722313" cy="428625"/>
            </a:xfrm>
            <a:custGeom>
              <a:avLst/>
              <a:gdLst>
                <a:gd name="T0" fmla="*/ 449 w 455"/>
                <a:gd name="T1" fmla="*/ 261 h 270"/>
                <a:gd name="T2" fmla="*/ 0 w 455"/>
                <a:gd name="T3" fmla="*/ 0 h 270"/>
                <a:gd name="T4" fmla="*/ 6 w 455"/>
                <a:gd name="T5" fmla="*/ 10 h 270"/>
                <a:gd name="T6" fmla="*/ 455 w 455"/>
                <a:gd name="T7" fmla="*/ 270 h 270"/>
                <a:gd name="T8" fmla="*/ 449 w 455"/>
                <a:gd name="T9" fmla="*/ 261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0">
                  <a:moveTo>
                    <a:pt x="449" y="261"/>
                  </a:moveTo>
                  <a:lnTo>
                    <a:pt x="0" y="0"/>
                  </a:lnTo>
                  <a:lnTo>
                    <a:pt x="6" y="10"/>
                  </a:lnTo>
                  <a:lnTo>
                    <a:pt x="455" y="270"/>
                  </a:lnTo>
                  <a:lnTo>
                    <a:pt x="449" y="261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0" name="ísḻíḓe">
              <a:extLst>
                <a:ext uri="{FF2B5EF4-FFF2-40B4-BE49-F238E27FC236}">
                  <a16:creationId xmlns:a16="http://schemas.microsoft.com/office/drawing/2014/main" xmlns="" id="{F76D6F22-B896-4C38-888A-53746C271074}"/>
                </a:ext>
              </a:extLst>
            </p:cNvPr>
            <p:cNvSpPr/>
            <p:nvPr userDrawn="1"/>
          </p:nvSpPr>
          <p:spPr bwMode="auto">
            <a:xfrm>
              <a:off x="2312306" y="4246563"/>
              <a:ext cx="722313" cy="441325"/>
            </a:xfrm>
            <a:custGeom>
              <a:avLst/>
              <a:gdLst>
                <a:gd name="T0" fmla="*/ 455 w 455"/>
                <a:gd name="T1" fmla="*/ 262 h 278"/>
                <a:gd name="T2" fmla="*/ 6 w 455"/>
                <a:gd name="T3" fmla="*/ 0 h 278"/>
                <a:gd name="T4" fmla="*/ 0 w 455"/>
                <a:gd name="T5" fmla="*/ 17 h 278"/>
                <a:gd name="T6" fmla="*/ 449 w 455"/>
                <a:gd name="T7" fmla="*/ 278 h 278"/>
                <a:gd name="T8" fmla="*/ 455 w 455"/>
                <a:gd name="T9" fmla="*/ 26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8">
                  <a:moveTo>
                    <a:pt x="455" y="262"/>
                  </a:moveTo>
                  <a:lnTo>
                    <a:pt x="6" y="0"/>
                  </a:lnTo>
                  <a:lnTo>
                    <a:pt x="0" y="17"/>
                  </a:lnTo>
                  <a:lnTo>
                    <a:pt x="449" y="278"/>
                  </a:lnTo>
                  <a:lnTo>
                    <a:pt x="455" y="262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1" name="íṩľiḓé">
              <a:extLst>
                <a:ext uri="{FF2B5EF4-FFF2-40B4-BE49-F238E27FC236}">
                  <a16:creationId xmlns:a16="http://schemas.microsoft.com/office/drawing/2014/main" xmlns="" id="{29FD11F4-454F-478B-BB67-F5007D825FD2}"/>
                </a:ext>
              </a:extLst>
            </p:cNvPr>
            <p:cNvSpPr/>
            <p:nvPr userDrawn="1"/>
          </p:nvSpPr>
          <p:spPr bwMode="auto">
            <a:xfrm>
              <a:off x="2321831" y="4237038"/>
              <a:ext cx="733425" cy="425450"/>
            </a:xfrm>
            <a:custGeom>
              <a:avLst/>
              <a:gdLst>
                <a:gd name="T0" fmla="*/ 462 w 462"/>
                <a:gd name="T1" fmla="*/ 261 h 268"/>
                <a:gd name="T2" fmla="*/ 13 w 462"/>
                <a:gd name="T3" fmla="*/ 0 h 268"/>
                <a:gd name="T4" fmla="*/ 0 w 462"/>
                <a:gd name="T5" fmla="*/ 6 h 268"/>
                <a:gd name="T6" fmla="*/ 449 w 462"/>
                <a:gd name="T7" fmla="*/ 268 h 268"/>
                <a:gd name="T8" fmla="*/ 462 w 462"/>
                <a:gd name="T9" fmla="*/ 261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2" h="268">
                  <a:moveTo>
                    <a:pt x="462" y="261"/>
                  </a:moveTo>
                  <a:lnTo>
                    <a:pt x="13" y="0"/>
                  </a:lnTo>
                  <a:lnTo>
                    <a:pt x="0" y="6"/>
                  </a:lnTo>
                  <a:lnTo>
                    <a:pt x="449" y="268"/>
                  </a:lnTo>
                  <a:lnTo>
                    <a:pt x="462" y="261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2" name="íş1îdé">
              <a:extLst>
                <a:ext uri="{FF2B5EF4-FFF2-40B4-BE49-F238E27FC236}">
                  <a16:creationId xmlns:a16="http://schemas.microsoft.com/office/drawing/2014/main" xmlns="" id="{34BF4D12-5190-482E-A8BE-CBC518A50519}"/>
                </a:ext>
              </a:extLst>
            </p:cNvPr>
            <p:cNvSpPr/>
            <p:nvPr userDrawn="1"/>
          </p:nvSpPr>
          <p:spPr bwMode="auto">
            <a:xfrm>
              <a:off x="3025093" y="4651375"/>
              <a:ext cx="39688" cy="50800"/>
            </a:xfrm>
            <a:custGeom>
              <a:avLst/>
              <a:gdLst>
                <a:gd name="T0" fmla="*/ 6 w 25"/>
                <a:gd name="T1" fmla="*/ 7 h 32"/>
                <a:gd name="T2" fmla="*/ 0 w 25"/>
                <a:gd name="T3" fmla="*/ 23 h 32"/>
                <a:gd name="T4" fmla="*/ 6 w 25"/>
                <a:gd name="T5" fmla="*/ 32 h 32"/>
                <a:gd name="T6" fmla="*/ 19 w 25"/>
                <a:gd name="T7" fmla="*/ 25 h 32"/>
                <a:gd name="T8" fmla="*/ 25 w 25"/>
                <a:gd name="T9" fmla="*/ 9 h 32"/>
                <a:gd name="T10" fmla="*/ 19 w 25"/>
                <a:gd name="T11" fmla="*/ 0 h 32"/>
                <a:gd name="T12" fmla="*/ 6 w 25"/>
                <a:gd name="T13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2">
                  <a:moveTo>
                    <a:pt x="6" y="7"/>
                  </a:moveTo>
                  <a:lnTo>
                    <a:pt x="0" y="23"/>
                  </a:lnTo>
                  <a:lnTo>
                    <a:pt x="6" y="32"/>
                  </a:lnTo>
                  <a:lnTo>
                    <a:pt x="19" y="25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3" name="ïsľîḍe">
              <a:extLst>
                <a:ext uri="{FF2B5EF4-FFF2-40B4-BE49-F238E27FC236}">
                  <a16:creationId xmlns:a16="http://schemas.microsoft.com/office/drawing/2014/main" xmlns="" id="{860B7AF5-9B77-4D90-91ED-FED58421B1CB}"/>
                </a:ext>
              </a:extLst>
            </p:cNvPr>
            <p:cNvSpPr/>
            <p:nvPr userDrawn="1"/>
          </p:nvSpPr>
          <p:spPr bwMode="auto">
            <a:xfrm>
              <a:off x="761318" y="4433888"/>
              <a:ext cx="1979613" cy="798513"/>
            </a:xfrm>
            <a:custGeom>
              <a:avLst/>
              <a:gdLst>
                <a:gd name="T0" fmla="*/ 372 w 600"/>
                <a:gd name="T1" fmla="*/ 219 h 242"/>
                <a:gd name="T2" fmla="*/ 488 w 600"/>
                <a:gd name="T3" fmla="*/ 161 h 242"/>
                <a:gd name="T4" fmla="*/ 465 w 600"/>
                <a:gd name="T5" fmla="*/ 148 h 242"/>
                <a:gd name="T6" fmla="*/ 364 w 600"/>
                <a:gd name="T7" fmla="*/ 214 h 242"/>
                <a:gd name="T8" fmla="*/ 465 w 600"/>
                <a:gd name="T9" fmla="*/ 148 h 242"/>
                <a:gd name="T10" fmla="*/ 339 w 600"/>
                <a:gd name="T11" fmla="*/ 199 h 242"/>
                <a:gd name="T12" fmla="*/ 454 w 600"/>
                <a:gd name="T13" fmla="*/ 141 h 242"/>
                <a:gd name="T14" fmla="*/ 429 w 600"/>
                <a:gd name="T15" fmla="*/ 127 h 242"/>
                <a:gd name="T16" fmla="*/ 328 w 600"/>
                <a:gd name="T17" fmla="*/ 193 h 242"/>
                <a:gd name="T18" fmla="*/ 429 w 600"/>
                <a:gd name="T19" fmla="*/ 127 h 242"/>
                <a:gd name="T20" fmla="*/ 477 w 600"/>
                <a:gd name="T21" fmla="*/ 135 h 242"/>
                <a:gd name="T22" fmla="*/ 528 w 600"/>
                <a:gd name="T23" fmla="*/ 140 h 242"/>
                <a:gd name="T24" fmla="*/ 495 w 600"/>
                <a:gd name="T25" fmla="*/ 93 h 242"/>
                <a:gd name="T26" fmla="*/ 530 w 600"/>
                <a:gd name="T27" fmla="*/ 138 h 242"/>
                <a:gd name="T28" fmla="*/ 495 w 600"/>
                <a:gd name="T29" fmla="*/ 93 h 242"/>
                <a:gd name="T30" fmla="*/ 516 w 600"/>
                <a:gd name="T31" fmla="*/ 102 h 242"/>
                <a:gd name="T32" fmla="*/ 576 w 600"/>
                <a:gd name="T33" fmla="*/ 112 h 242"/>
                <a:gd name="T34" fmla="*/ 216 w 600"/>
                <a:gd name="T35" fmla="*/ 72 h 242"/>
                <a:gd name="T36" fmla="*/ 169 w 600"/>
                <a:gd name="T37" fmla="*/ 98 h 242"/>
                <a:gd name="T38" fmla="*/ 216 w 600"/>
                <a:gd name="T39" fmla="*/ 126 h 242"/>
                <a:gd name="T40" fmla="*/ 216 w 600"/>
                <a:gd name="T41" fmla="*/ 126 h 242"/>
                <a:gd name="T42" fmla="*/ 262 w 600"/>
                <a:gd name="T43" fmla="*/ 99 h 242"/>
                <a:gd name="T44" fmla="*/ 216 w 600"/>
                <a:gd name="T45" fmla="*/ 72 h 242"/>
                <a:gd name="T46" fmla="*/ 503 w 600"/>
                <a:gd name="T47" fmla="*/ 67 h 242"/>
                <a:gd name="T48" fmla="*/ 600 w 600"/>
                <a:gd name="T49" fmla="*/ 98 h 242"/>
                <a:gd name="T50" fmla="*/ 503 w 600"/>
                <a:gd name="T51" fmla="*/ 67 h 242"/>
                <a:gd name="T52" fmla="*/ 278 w 600"/>
                <a:gd name="T53" fmla="*/ 178 h 242"/>
                <a:gd name="T54" fmla="*/ 491 w 600"/>
                <a:gd name="T55" fmla="*/ 63 h 242"/>
                <a:gd name="T56" fmla="*/ 451 w 600"/>
                <a:gd name="T57" fmla="*/ 53 h 242"/>
                <a:gd name="T58" fmla="*/ 264 w 600"/>
                <a:gd name="T59" fmla="*/ 170 h 242"/>
                <a:gd name="T60" fmla="*/ 451 w 600"/>
                <a:gd name="T61" fmla="*/ 53 h 242"/>
                <a:gd name="T62" fmla="*/ 0 w 600"/>
                <a:gd name="T63" fmla="*/ 50 h 242"/>
                <a:gd name="T64" fmla="*/ 351 w 600"/>
                <a:gd name="T65" fmla="*/ 242 h 242"/>
                <a:gd name="T66" fmla="*/ 419 w 600"/>
                <a:gd name="T67" fmla="*/ 45 h 242"/>
                <a:gd name="T68" fmla="*/ 241 w 600"/>
                <a:gd name="T69" fmla="*/ 156 h 242"/>
                <a:gd name="T70" fmla="*/ 419 w 600"/>
                <a:gd name="T71" fmla="*/ 45 h 242"/>
                <a:gd name="T72" fmla="*/ 43 w 600"/>
                <a:gd name="T73" fmla="*/ 41 h 242"/>
                <a:gd name="T74" fmla="*/ 82 w 600"/>
                <a:gd name="T75" fmla="*/ 33 h 242"/>
                <a:gd name="T76" fmla="*/ 261 w 600"/>
                <a:gd name="T77" fmla="*/ 35 h 242"/>
                <a:gd name="T78" fmla="*/ 260 w 600"/>
                <a:gd name="T79" fmla="*/ 73 h 242"/>
                <a:gd name="T80" fmla="*/ 293 w 600"/>
                <a:gd name="T81" fmla="*/ 81 h 242"/>
                <a:gd name="T82" fmla="*/ 326 w 600"/>
                <a:gd name="T83" fmla="*/ 73 h 242"/>
                <a:gd name="T84" fmla="*/ 327 w 600"/>
                <a:gd name="T85" fmla="*/ 35 h 242"/>
                <a:gd name="T86" fmla="*/ 329 w 600"/>
                <a:gd name="T87" fmla="*/ 21 h 242"/>
                <a:gd name="T88" fmla="*/ 371 w 600"/>
                <a:gd name="T89" fmla="*/ 36 h 242"/>
                <a:gd name="T90" fmla="*/ 371 w 600"/>
                <a:gd name="T91" fmla="*/ 36 h 242"/>
                <a:gd name="T92" fmla="*/ 329 w 600"/>
                <a:gd name="T93" fmla="*/ 21 h 242"/>
                <a:gd name="T94" fmla="*/ 124 w 600"/>
                <a:gd name="T95" fmla="*/ 25 h 242"/>
                <a:gd name="T96" fmla="*/ 77 w 600"/>
                <a:gd name="T97" fmla="*/ 61 h 242"/>
                <a:gd name="T98" fmla="*/ 198 w 600"/>
                <a:gd name="T99" fmla="*/ 10 h 242"/>
                <a:gd name="T100" fmla="*/ 86 w 600"/>
                <a:gd name="T101" fmla="*/ 66 h 242"/>
                <a:gd name="T102" fmla="*/ 198 w 600"/>
                <a:gd name="T103" fmla="*/ 10 h 242"/>
                <a:gd name="T104" fmla="*/ 118 w 600"/>
                <a:gd name="T105" fmla="*/ 85 h 242"/>
                <a:gd name="T106" fmla="*/ 271 w 600"/>
                <a:gd name="T107" fmla="*/ 6 h 242"/>
                <a:gd name="T108" fmla="*/ 248 w 600"/>
                <a:gd name="T109" fmla="*/ 0 h 242"/>
                <a:gd name="T110" fmla="*/ 102 w 600"/>
                <a:gd name="T111" fmla="*/ 76 h 242"/>
                <a:gd name="T112" fmla="*/ 248 w 600"/>
                <a:gd name="T11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0" h="242">
                  <a:moveTo>
                    <a:pt x="480" y="156"/>
                  </a:moveTo>
                  <a:cubicBezTo>
                    <a:pt x="372" y="219"/>
                    <a:pt x="372" y="219"/>
                    <a:pt x="372" y="219"/>
                  </a:cubicBezTo>
                  <a:cubicBezTo>
                    <a:pt x="380" y="223"/>
                    <a:pt x="380" y="223"/>
                    <a:pt x="380" y="223"/>
                  </a:cubicBezTo>
                  <a:cubicBezTo>
                    <a:pt x="488" y="161"/>
                    <a:pt x="488" y="161"/>
                    <a:pt x="488" y="161"/>
                  </a:cubicBezTo>
                  <a:cubicBezTo>
                    <a:pt x="480" y="156"/>
                    <a:pt x="480" y="156"/>
                    <a:pt x="480" y="156"/>
                  </a:cubicBezTo>
                  <a:moveTo>
                    <a:pt x="465" y="148"/>
                  </a:moveTo>
                  <a:cubicBezTo>
                    <a:pt x="357" y="210"/>
                    <a:pt x="357" y="210"/>
                    <a:pt x="357" y="210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472" y="152"/>
                    <a:pt x="472" y="152"/>
                    <a:pt x="472" y="152"/>
                  </a:cubicBezTo>
                  <a:cubicBezTo>
                    <a:pt x="465" y="148"/>
                    <a:pt x="465" y="148"/>
                    <a:pt x="465" y="148"/>
                  </a:cubicBezTo>
                  <a:moveTo>
                    <a:pt x="447" y="137"/>
                  </a:moveTo>
                  <a:cubicBezTo>
                    <a:pt x="339" y="199"/>
                    <a:pt x="339" y="199"/>
                    <a:pt x="339" y="199"/>
                  </a:cubicBezTo>
                  <a:cubicBezTo>
                    <a:pt x="346" y="204"/>
                    <a:pt x="346" y="204"/>
                    <a:pt x="346" y="204"/>
                  </a:cubicBezTo>
                  <a:cubicBezTo>
                    <a:pt x="454" y="141"/>
                    <a:pt x="454" y="141"/>
                    <a:pt x="454" y="141"/>
                  </a:cubicBezTo>
                  <a:cubicBezTo>
                    <a:pt x="447" y="137"/>
                    <a:pt x="447" y="137"/>
                    <a:pt x="447" y="137"/>
                  </a:cubicBezTo>
                  <a:moveTo>
                    <a:pt x="429" y="127"/>
                  </a:moveTo>
                  <a:cubicBezTo>
                    <a:pt x="321" y="189"/>
                    <a:pt x="321" y="189"/>
                    <a:pt x="321" y="189"/>
                  </a:cubicBezTo>
                  <a:cubicBezTo>
                    <a:pt x="328" y="193"/>
                    <a:pt x="328" y="193"/>
                    <a:pt x="328" y="193"/>
                  </a:cubicBezTo>
                  <a:cubicBezTo>
                    <a:pt x="436" y="131"/>
                    <a:pt x="436" y="131"/>
                    <a:pt x="436" y="131"/>
                  </a:cubicBezTo>
                  <a:cubicBezTo>
                    <a:pt x="429" y="127"/>
                    <a:pt x="429" y="127"/>
                    <a:pt x="429" y="127"/>
                  </a:cubicBezTo>
                  <a:moveTo>
                    <a:pt x="499" y="123"/>
                  </a:moveTo>
                  <a:cubicBezTo>
                    <a:pt x="477" y="135"/>
                    <a:pt x="477" y="135"/>
                    <a:pt x="477" y="135"/>
                  </a:cubicBezTo>
                  <a:cubicBezTo>
                    <a:pt x="506" y="152"/>
                    <a:pt x="506" y="152"/>
                    <a:pt x="506" y="152"/>
                  </a:cubicBezTo>
                  <a:cubicBezTo>
                    <a:pt x="528" y="140"/>
                    <a:pt x="528" y="140"/>
                    <a:pt x="528" y="140"/>
                  </a:cubicBezTo>
                  <a:cubicBezTo>
                    <a:pt x="499" y="123"/>
                    <a:pt x="499" y="123"/>
                    <a:pt x="499" y="123"/>
                  </a:cubicBezTo>
                  <a:moveTo>
                    <a:pt x="495" y="93"/>
                  </a:moveTo>
                  <a:cubicBezTo>
                    <a:pt x="473" y="105"/>
                    <a:pt x="473" y="105"/>
                    <a:pt x="473" y="105"/>
                  </a:cubicBezTo>
                  <a:cubicBezTo>
                    <a:pt x="530" y="138"/>
                    <a:pt x="530" y="138"/>
                    <a:pt x="530" y="138"/>
                  </a:cubicBezTo>
                  <a:cubicBezTo>
                    <a:pt x="552" y="126"/>
                    <a:pt x="552" y="126"/>
                    <a:pt x="552" y="126"/>
                  </a:cubicBezTo>
                  <a:cubicBezTo>
                    <a:pt x="495" y="93"/>
                    <a:pt x="495" y="93"/>
                    <a:pt x="495" y="93"/>
                  </a:cubicBezTo>
                  <a:moveTo>
                    <a:pt x="537" y="90"/>
                  </a:moveTo>
                  <a:cubicBezTo>
                    <a:pt x="516" y="102"/>
                    <a:pt x="516" y="102"/>
                    <a:pt x="516" y="102"/>
                  </a:cubicBezTo>
                  <a:cubicBezTo>
                    <a:pt x="554" y="125"/>
                    <a:pt x="554" y="125"/>
                    <a:pt x="554" y="125"/>
                  </a:cubicBezTo>
                  <a:cubicBezTo>
                    <a:pt x="576" y="112"/>
                    <a:pt x="576" y="112"/>
                    <a:pt x="576" y="112"/>
                  </a:cubicBezTo>
                  <a:cubicBezTo>
                    <a:pt x="537" y="90"/>
                    <a:pt x="537" y="90"/>
                    <a:pt x="537" y="90"/>
                  </a:cubicBezTo>
                  <a:moveTo>
                    <a:pt x="216" y="72"/>
                  </a:moveTo>
                  <a:cubicBezTo>
                    <a:pt x="204" y="72"/>
                    <a:pt x="192" y="74"/>
                    <a:pt x="183" y="79"/>
                  </a:cubicBezTo>
                  <a:cubicBezTo>
                    <a:pt x="174" y="84"/>
                    <a:pt x="170" y="91"/>
                    <a:pt x="169" y="98"/>
                  </a:cubicBezTo>
                  <a:cubicBezTo>
                    <a:pt x="169" y="105"/>
                    <a:pt x="174" y="112"/>
                    <a:pt x="183" y="118"/>
                  </a:cubicBezTo>
                  <a:cubicBezTo>
                    <a:pt x="191" y="123"/>
                    <a:pt x="203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28" y="126"/>
                    <a:pt x="240" y="123"/>
                    <a:pt x="249" y="118"/>
                  </a:cubicBezTo>
                  <a:cubicBezTo>
                    <a:pt x="258" y="113"/>
                    <a:pt x="262" y="106"/>
                    <a:pt x="262" y="99"/>
                  </a:cubicBezTo>
                  <a:cubicBezTo>
                    <a:pt x="263" y="91"/>
                    <a:pt x="258" y="85"/>
                    <a:pt x="249" y="79"/>
                  </a:cubicBezTo>
                  <a:cubicBezTo>
                    <a:pt x="240" y="74"/>
                    <a:pt x="228" y="72"/>
                    <a:pt x="216" y="72"/>
                  </a:cubicBezTo>
                  <a:moveTo>
                    <a:pt x="503" y="67"/>
                  </a:moveTo>
                  <a:cubicBezTo>
                    <a:pt x="503" y="67"/>
                    <a:pt x="503" y="67"/>
                    <a:pt x="503" y="67"/>
                  </a:cubicBezTo>
                  <a:cubicBezTo>
                    <a:pt x="578" y="111"/>
                    <a:pt x="578" y="111"/>
                    <a:pt x="578" y="111"/>
                  </a:cubicBezTo>
                  <a:cubicBezTo>
                    <a:pt x="600" y="98"/>
                    <a:pt x="600" y="98"/>
                    <a:pt x="600" y="98"/>
                  </a:cubicBezTo>
                  <a:cubicBezTo>
                    <a:pt x="579" y="87"/>
                    <a:pt x="579" y="87"/>
                    <a:pt x="579" y="87"/>
                  </a:cubicBezTo>
                  <a:cubicBezTo>
                    <a:pt x="503" y="67"/>
                    <a:pt x="503" y="67"/>
                    <a:pt x="503" y="67"/>
                  </a:cubicBezTo>
                  <a:moveTo>
                    <a:pt x="481" y="61"/>
                  </a:moveTo>
                  <a:cubicBezTo>
                    <a:pt x="278" y="178"/>
                    <a:pt x="278" y="178"/>
                    <a:pt x="278" y="178"/>
                  </a:cubicBezTo>
                  <a:cubicBezTo>
                    <a:pt x="285" y="182"/>
                    <a:pt x="285" y="182"/>
                    <a:pt x="285" y="182"/>
                  </a:cubicBezTo>
                  <a:cubicBezTo>
                    <a:pt x="491" y="63"/>
                    <a:pt x="491" y="63"/>
                    <a:pt x="491" y="63"/>
                  </a:cubicBezTo>
                  <a:cubicBezTo>
                    <a:pt x="481" y="61"/>
                    <a:pt x="481" y="61"/>
                    <a:pt x="481" y="61"/>
                  </a:cubicBezTo>
                  <a:moveTo>
                    <a:pt x="451" y="53"/>
                  </a:moveTo>
                  <a:cubicBezTo>
                    <a:pt x="256" y="165"/>
                    <a:pt x="256" y="165"/>
                    <a:pt x="256" y="165"/>
                  </a:cubicBezTo>
                  <a:cubicBezTo>
                    <a:pt x="264" y="170"/>
                    <a:pt x="264" y="170"/>
                    <a:pt x="264" y="170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51" y="53"/>
                    <a:pt x="451" y="53"/>
                    <a:pt x="451" y="53"/>
                  </a:cubicBezTo>
                  <a:moveTo>
                    <a:pt x="15" y="47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49" y="242"/>
                    <a:pt x="349" y="242"/>
                    <a:pt x="349" y="242"/>
                  </a:cubicBezTo>
                  <a:cubicBezTo>
                    <a:pt x="350" y="242"/>
                    <a:pt x="350" y="242"/>
                    <a:pt x="351" y="242"/>
                  </a:cubicBezTo>
                  <a:cubicBezTo>
                    <a:pt x="15" y="47"/>
                    <a:pt x="15" y="47"/>
                    <a:pt x="15" y="47"/>
                  </a:cubicBezTo>
                  <a:moveTo>
                    <a:pt x="419" y="45"/>
                  </a:moveTo>
                  <a:cubicBezTo>
                    <a:pt x="233" y="152"/>
                    <a:pt x="233" y="152"/>
                    <a:pt x="233" y="152"/>
                  </a:cubicBezTo>
                  <a:cubicBezTo>
                    <a:pt x="241" y="156"/>
                    <a:pt x="241" y="156"/>
                    <a:pt x="241" y="156"/>
                  </a:cubicBezTo>
                  <a:cubicBezTo>
                    <a:pt x="430" y="47"/>
                    <a:pt x="430" y="47"/>
                    <a:pt x="430" y="47"/>
                  </a:cubicBezTo>
                  <a:cubicBezTo>
                    <a:pt x="419" y="45"/>
                    <a:pt x="419" y="45"/>
                    <a:pt x="419" y="45"/>
                  </a:cubicBezTo>
                  <a:moveTo>
                    <a:pt x="82" y="33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82" y="33"/>
                    <a:pt x="82" y="33"/>
                    <a:pt x="82" y="33"/>
                  </a:cubicBezTo>
                  <a:moveTo>
                    <a:pt x="294" y="27"/>
                  </a:moveTo>
                  <a:cubicBezTo>
                    <a:pt x="281" y="27"/>
                    <a:pt x="269" y="29"/>
                    <a:pt x="261" y="35"/>
                  </a:cubicBezTo>
                  <a:cubicBezTo>
                    <a:pt x="252" y="40"/>
                    <a:pt x="247" y="46"/>
                    <a:pt x="247" y="53"/>
                  </a:cubicBezTo>
                  <a:cubicBezTo>
                    <a:pt x="246" y="60"/>
                    <a:pt x="251" y="68"/>
                    <a:pt x="260" y="73"/>
                  </a:cubicBezTo>
                  <a:cubicBezTo>
                    <a:pt x="269" y="78"/>
                    <a:pt x="281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306" y="81"/>
                    <a:pt x="318" y="78"/>
                    <a:pt x="326" y="73"/>
                  </a:cubicBezTo>
                  <a:cubicBezTo>
                    <a:pt x="335" y="68"/>
                    <a:pt x="340" y="61"/>
                    <a:pt x="340" y="54"/>
                  </a:cubicBezTo>
                  <a:cubicBezTo>
                    <a:pt x="340" y="46"/>
                    <a:pt x="335" y="40"/>
                    <a:pt x="327" y="35"/>
                  </a:cubicBezTo>
                  <a:cubicBezTo>
                    <a:pt x="318" y="29"/>
                    <a:pt x="306" y="27"/>
                    <a:pt x="294" y="27"/>
                  </a:cubicBezTo>
                  <a:moveTo>
                    <a:pt x="329" y="21"/>
                  </a:moveTo>
                  <a:cubicBezTo>
                    <a:pt x="332" y="24"/>
                    <a:pt x="335" y="26"/>
                    <a:pt x="338" y="28"/>
                  </a:cubicBezTo>
                  <a:cubicBezTo>
                    <a:pt x="347" y="33"/>
                    <a:pt x="358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5" y="36"/>
                    <a:pt x="379" y="36"/>
                    <a:pt x="383" y="35"/>
                  </a:cubicBezTo>
                  <a:cubicBezTo>
                    <a:pt x="329" y="21"/>
                    <a:pt x="329" y="21"/>
                    <a:pt x="329" y="21"/>
                  </a:cubicBezTo>
                  <a:moveTo>
                    <a:pt x="147" y="20"/>
                  </a:moveTo>
                  <a:cubicBezTo>
                    <a:pt x="124" y="25"/>
                    <a:pt x="124" y="25"/>
                    <a:pt x="124" y="25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147" y="20"/>
                    <a:pt x="147" y="20"/>
                    <a:pt x="147" y="20"/>
                  </a:cubicBezTo>
                  <a:moveTo>
                    <a:pt x="198" y="10"/>
                  </a:moveTo>
                  <a:cubicBezTo>
                    <a:pt x="174" y="15"/>
                    <a:pt x="174" y="15"/>
                    <a:pt x="174" y="15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198" y="10"/>
                    <a:pt x="198" y="10"/>
                    <a:pt x="198" y="10"/>
                  </a:cubicBezTo>
                  <a:moveTo>
                    <a:pt x="260" y="3"/>
                  </a:moveTo>
                  <a:cubicBezTo>
                    <a:pt x="118" y="85"/>
                    <a:pt x="118" y="85"/>
                    <a:pt x="118" y="85"/>
                  </a:cubicBezTo>
                  <a:cubicBezTo>
                    <a:pt x="126" y="90"/>
                    <a:pt x="126" y="90"/>
                    <a:pt x="126" y="90"/>
                  </a:cubicBezTo>
                  <a:cubicBezTo>
                    <a:pt x="271" y="6"/>
                    <a:pt x="271" y="6"/>
                    <a:pt x="271" y="6"/>
                  </a:cubicBezTo>
                  <a:cubicBezTo>
                    <a:pt x="260" y="3"/>
                    <a:pt x="260" y="3"/>
                    <a:pt x="260" y="3"/>
                  </a:cubicBezTo>
                  <a:moveTo>
                    <a:pt x="248" y="0"/>
                  </a:moveTo>
                  <a:cubicBezTo>
                    <a:pt x="225" y="5"/>
                    <a:pt x="225" y="5"/>
                    <a:pt x="225" y="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248" y="0"/>
                    <a:pt x="248" y="0"/>
                    <a:pt x="248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4" name="iṩḷídê">
              <a:extLst>
                <a:ext uri="{FF2B5EF4-FFF2-40B4-BE49-F238E27FC236}">
                  <a16:creationId xmlns:a16="http://schemas.microsoft.com/office/drawing/2014/main" xmlns="" id="{60F773BE-711B-4F1E-8AD7-39B8431F9F39}"/>
                </a:ext>
              </a:extLst>
            </p:cNvPr>
            <p:cNvSpPr/>
            <p:nvPr userDrawn="1"/>
          </p:nvSpPr>
          <p:spPr bwMode="auto">
            <a:xfrm>
              <a:off x="1963056" y="4424363"/>
              <a:ext cx="58738" cy="36513"/>
            </a:xfrm>
            <a:custGeom>
              <a:avLst/>
              <a:gdLst>
                <a:gd name="T0" fmla="*/ 3 w 18"/>
                <a:gd name="T1" fmla="*/ 2 h 11"/>
                <a:gd name="T2" fmla="*/ 14 w 18"/>
                <a:gd name="T3" fmla="*/ 2 h 11"/>
                <a:gd name="T4" fmla="*/ 14 w 18"/>
                <a:gd name="T5" fmla="*/ 9 h 11"/>
                <a:gd name="T6" fmla="*/ 3 w 18"/>
                <a:gd name="T7" fmla="*/ 9 h 11"/>
                <a:gd name="T8" fmla="*/ 3 w 18"/>
                <a:gd name="T9" fmla="*/ 2 h 11"/>
                <a:gd name="T10" fmla="*/ 11 w 18"/>
                <a:gd name="T11" fmla="*/ 4 h 11"/>
                <a:gd name="T12" fmla="*/ 6 w 18"/>
                <a:gd name="T13" fmla="*/ 4 h 11"/>
                <a:gd name="T14" fmla="*/ 6 w 18"/>
                <a:gd name="T15" fmla="*/ 7 h 11"/>
                <a:gd name="T16" fmla="*/ 12 w 18"/>
                <a:gd name="T17" fmla="*/ 7 h 11"/>
                <a:gd name="T18" fmla="*/ 11 w 18"/>
                <a:gd name="T1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1">
                  <a:moveTo>
                    <a:pt x="3" y="2"/>
                  </a:moveTo>
                  <a:cubicBezTo>
                    <a:pt x="6" y="0"/>
                    <a:pt x="11" y="1"/>
                    <a:pt x="14" y="2"/>
                  </a:cubicBezTo>
                  <a:cubicBezTo>
                    <a:pt x="17" y="4"/>
                    <a:pt x="18" y="7"/>
                    <a:pt x="14" y="9"/>
                  </a:cubicBezTo>
                  <a:cubicBezTo>
                    <a:pt x="11" y="11"/>
                    <a:pt x="6" y="11"/>
                    <a:pt x="3" y="9"/>
                  </a:cubicBezTo>
                  <a:cubicBezTo>
                    <a:pt x="0" y="7"/>
                    <a:pt x="0" y="4"/>
                    <a:pt x="3" y="2"/>
                  </a:cubicBezTo>
                  <a:close/>
                  <a:moveTo>
                    <a:pt x="11" y="4"/>
                  </a:moveTo>
                  <a:cubicBezTo>
                    <a:pt x="9" y="3"/>
                    <a:pt x="7" y="3"/>
                    <a:pt x="6" y="4"/>
                  </a:cubicBezTo>
                  <a:cubicBezTo>
                    <a:pt x="5" y="5"/>
                    <a:pt x="5" y="6"/>
                    <a:pt x="6" y="7"/>
                  </a:cubicBezTo>
                  <a:cubicBezTo>
                    <a:pt x="8" y="8"/>
                    <a:pt x="10" y="8"/>
                    <a:pt x="12" y="7"/>
                  </a:cubicBezTo>
                  <a:cubicBezTo>
                    <a:pt x="13" y="6"/>
                    <a:pt x="13" y="5"/>
                    <a:pt x="11" y="4"/>
                  </a:cubicBezTo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5" name="ïṧḻîḋe">
              <a:extLst>
                <a:ext uri="{FF2B5EF4-FFF2-40B4-BE49-F238E27FC236}">
                  <a16:creationId xmlns:a16="http://schemas.microsoft.com/office/drawing/2014/main" xmlns="" id="{70DEFA8A-49F6-4C24-84D8-FF4515071711}"/>
                </a:ext>
              </a:extLst>
            </p:cNvPr>
            <p:cNvSpPr/>
            <p:nvPr userDrawn="1"/>
          </p:nvSpPr>
          <p:spPr bwMode="auto">
            <a:xfrm>
              <a:off x="1978931" y="4433888"/>
              <a:ext cx="26988" cy="17463"/>
            </a:xfrm>
            <a:custGeom>
              <a:avLst/>
              <a:gdLst>
                <a:gd name="T0" fmla="*/ 1 w 8"/>
                <a:gd name="T1" fmla="*/ 4 h 5"/>
                <a:gd name="T2" fmla="*/ 7 w 8"/>
                <a:gd name="T3" fmla="*/ 4 h 5"/>
                <a:gd name="T4" fmla="*/ 6 w 8"/>
                <a:gd name="T5" fmla="*/ 1 h 5"/>
                <a:gd name="T6" fmla="*/ 1 w 8"/>
                <a:gd name="T7" fmla="*/ 1 h 5"/>
                <a:gd name="T8" fmla="*/ 1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1" y="4"/>
                  </a:moveTo>
                  <a:cubicBezTo>
                    <a:pt x="3" y="5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6" name="îšļiḋe">
              <a:extLst>
                <a:ext uri="{FF2B5EF4-FFF2-40B4-BE49-F238E27FC236}">
                  <a16:creationId xmlns:a16="http://schemas.microsoft.com/office/drawing/2014/main" xmlns="" id="{12FB34F3-E1F7-427E-9396-D06A11F07918}"/>
                </a:ext>
              </a:extLst>
            </p:cNvPr>
            <p:cNvSpPr/>
            <p:nvPr userDrawn="1"/>
          </p:nvSpPr>
          <p:spPr bwMode="auto">
            <a:xfrm>
              <a:off x="1920193" y="4457700"/>
              <a:ext cx="134938" cy="19050"/>
            </a:xfrm>
            <a:custGeom>
              <a:avLst/>
              <a:gdLst>
                <a:gd name="T0" fmla="*/ 8 w 85"/>
                <a:gd name="T1" fmla="*/ 0 h 12"/>
                <a:gd name="T2" fmla="*/ 0 w 85"/>
                <a:gd name="T3" fmla="*/ 4 h 12"/>
                <a:gd name="T4" fmla="*/ 76 w 85"/>
                <a:gd name="T5" fmla="*/ 12 h 12"/>
                <a:gd name="T6" fmla="*/ 85 w 85"/>
                <a:gd name="T7" fmla="*/ 8 h 12"/>
                <a:gd name="T8" fmla="*/ 8 w 8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2">
                  <a:moveTo>
                    <a:pt x="8" y="0"/>
                  </a:moveTo>
                  <a:lnTo>
                    <a:pt x="0" y="4"/>
                  </a:lnTo>
                  <a:lnTo>
                    <a:pt x="76" y="12"/>
                  </a:lnTo>
                  <a:lnTo>
                    <a:pt x="85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7" name="íşlïḋe">
              <a:extLst>
                <a:ext uri="{FF2B5EF4-FFF2-40B4-BE49-F238E27FC236}">
                  <a16:creationId xmlns:a16="http://schemas.microsoft.com/office/drawing/2014/main" xmlns="" id="{8C2694DC-C2DC-401C-8AF9-BC416919542B}"/>
                </a:ext>
              </a:extLst>
            </p:cNvPr>
            <p:cNvSpPr/>
            <p:nvPr userDrawn="1"/>
          </p:nvSpPr>
          <p:spPr bwMode="auto">
            <a:xfrm>
              <a:off x="1969406" y="4479925"/>
              <a:ext cx="28575" cy="17463"/>
            </a:xfrm>
            <a:custGeom>
              <a:avLst/>
              <a:gdLst>
                <a:gd name="T0" fmla="*/ 7 w 9"/>
                <a:gd name="T1" fmla="*/ 1 h 5"/>
                <a:gd name="T2" fmla="*/ 2 w 9"/>
                <a:gd name="T3" fmla="*/ 1 h 5"/>
                <a:gd name="T4" fmla="*/ 2 w 9"/>
                <a:gd name="T5" fmla="*/ 4 h 5"/>
                <a:gd name="T6" fmla="*/ 7 w 9"/>
                <a:gd name="T7" fmla="*/ 4 h 5"/>
                <a:gd name="T8" fmla="*/ 7 w 9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7" y="1"/>
                  </a:moveTo>
                  <a:cubicBezTo>
                    <a:pt x="5" y="0"/>
                    <a:pt x="3" y="0"/>
                    <a:pt x="2" y="1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9" y="4"/>
                    <a:pt x="9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8" name="îşḻiḋê">
              <a:extLst>
                <a:ext uri="{FF2B5EF4-FFF2-40B4-BE49-F238E27FC236}">
                  <a16:creationId xmlns:a16="http://schemas.microsoft.com/office/drawing/2014/main" xmlns="" id="{1E64C8E2-C919-4BBB-B8F8-003D603CB163}"/>
                </a:ext>
              </a:extLst>
            </p:cNvPr>
            <p:cNvSpPr/>
            <p:nvPr userDrawn="1"/>
          </p:nvSpPr>
          <p:spPr bwMode="auto">
            <a:xfrm>
              <a:off x="1877331" y="4375150"/>
              <a:ext cx="263525" cy="177800"/>
            </a:xfrm>
            <a:custGeom>
              <a:avLst/>
              <a:gdLst>
                <a:gd name="T0" fmla="*/ 6 w 80"/>
                <a:gd name="T1" fmla="*/ 42 h 54"/>
                <a:gd name="T2" fmla="*/ 0 w 80"/>
                <a:gd name="T3" fmla="*/ 46 h 54"/>
                <a:gd name="T4" fmla="*/ 33 w 80"/>
                <a:gd name="T5" fmla="*/ 54 h 54"/>
                <a:gd name="T6" fmla="*/ 66 w 80"/>
                <a:gd name="T7" fmla="*/ 46 h 54"/>
                <a:gd name="T8" fmla="*/ 80 w 80"/>
                <a:gd name="T9" fmla="*/ 27 h 54"/>
                <a:gd name="T10" fmla="*/ 66 w 80"/>
                <a:gd name="T11" fmla="*/ 8 h 54"/>
                <a:gd name="T12" fmla="*/ 33 w 80"/>
                <a:gd name="T13" fmla="*/ 0 h 54"/>
                <a:gd name="T14" fmla="*/ 0 w 80"/>
                <a:gd name="T15" fmla="*/ 8 h 54"/>
                <a:gd name="T16" fmla="*/ 7 w 80"/>
                <a:gd name="T17" fmla="*/ 11 h 54"/>
                <a:gd name="T18" fmla="*/ 33 w 80"/>
                <a:gd name="T19" fmla="*/ 5 h 54"/>
                <a:gd name="T20" fmla="*/ 60 w 80"/>
                <a:gd name="T21" fmla="*/ 11 h 54"/>
                <a:gd name="T22" fmla="*/ 71 w 80"/>
                <a:gd name="T23" fmla="*/ 27 h 54"/>
                <a:gd name="T24" fmla="*/ 60 w 80"/>
                <a:gd name="T25" fmla="*/ 42 h 54"/>
                <a:gd name="T26" fmla="*/ 33 w 80"/>
                <a:gd name="T27" fmla="*/ 49 h 54"/>
                <a:gd name="T28" fmla="*/ 6 w 80"/>
                <a:gd name="T2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54">
                  <a:moveTo>
                    <a:pt x="6" y="42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9" y="51"/>
                    <a:pt x="21" y="54"/>
                    <a:pt x="33" y="54"/>
                  </a:cubicBezTo>
                  <a:cubicBezTo>
                    <a:pt x="45" y="54"/>
                    <a:pt x="57" y="51"/>
                    <a:pt x="66" y="46"/>
                  </a:cubicBezTo>
                  <a:cubicBezTo>
                    <a:pt x="75" y="41"/>
                    <a:pt x="80" y="34"/>
                    <a:pt x="80" y="27"/>
                  </a:cubicBezTo>
                  <a:cubicBezTo>
                    <a:pt x="80" y="20"/>
                    <a:pt x="75" y="13"/>
                    <a:pt x="66" y="8"/>
                  </a:cubicBezTo>
                  <a:cubicBezTo>
                    <a:pt x="57" y="3"/>
                    <a:pt x="46" y="0"/>
                    <a:pt x="33" y="0"/>
                  </a:cubicBezTo>
                  <a:cubicBezTo>
                    <a:pt x="21" y="0"/>
                    <a:pt x="9" y="3"/>
                    <a:pt x="0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4" y="7"/>
                    <a:pt x="23" y="5"/>
                    <a:pt x="33" y="5"/>
                  </a:cubicBezTo>
                  <a:cubicBezTo>
                    <a:pt x="43" y="5"/>
                    <a:pt x="53" y="7"/>
                    <a:pt x="60" y="11"/>
                  </a:cubicBezTo>
                  <a:cubicBezTo>
                    <a:pt x="67" y="16"/>
                    <a:pt x="71" y="21"/>
                    <a:pt x="71" y="27"/>
                  </a:cubicBezTo>
                  <a:cubicBezTo>
                    <a:pt x="71" y="33"/>
                    <a:pt x="67" y="38"/>
                    <a:pt x="60" y="42"/>
                  </a:cubicBezTo>
                  <a:cubicBezTo>
                    <a:pt x="53" y="46"/>
                    <a:pt x="43" y="49"/>
                    <a:pt x="33" y="49"/>
                  </a:cubicBezTo>
                  <a:cubicBezTo>
                    <a:pt x="23" y="49"/>
                    <a:pt x="13" y="46"/>
                    <a:pt x="6" y="42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9" name="îšḷîḋe">
              <a:extLst>
                <a:ext uri="{FF2B5EF4-FFF2-40B4-BE49-F238E27FC236}">
                  <a16:creationId xmlns:a16="http://schemas.microsoft.com/office/drawing/2014/main" xmlns="" id="{A009EEFD-926B-4994-9034-7F7AEAD6203E}"/>
                </a:ext>
              </a:extLst>
            </p:cNvPr>
            <p:cNvSpPr/>
            <p:nvPr userDrawn="1"/>
          </p:nvSpPr>
          <p:spPr bwMode="auto">
            <a:xfrm>
              <a:off x="889906" y="4127500"/>
              <a:ext cx="811213" cy="468313"/>
            </a:xfrm>
            <a:custGeom>
              <a:avLst/>
              <a:gdLst>
                <a:gd name="T0" fmla="*/ 0 w 511"/>
                <a:gd name="T1" fmla="*/ 274 h 295"/>
                <a:gd name="T2" fmla="*/ 35 w 511"/>
                <a:gd name="T3" fmla="*/ 295 h 295"/>
                <a:gd name="T4" fmla="*/ 511 w 511"/>
                <a:gd name="T5" fmla="*/ 19 h 295"/>
                <a:gd name="T6" fmla="*/ 478 w 511"/>
                <a:gd name="T7" fmla="*/ 0 h 295"/>
                <a:gd name="T8" fmla="*/ 0 w 511"/>
                <a:gd name="T9" fmla="*/ 27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1" h="295">
                  <a:moveTo>
                    <a:pt x="0" y="274"/>
                  </a:moveTo>
                  <a:lnTo>
                    <a:pt x="35" y="295"/>
                  </a:lnTo>
                  <a:lnTo>
                    <a:pt x="511" y="19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0" name="işľíḋê">
              <a:extLst>
                <a:ext uri="{FF2B5EF4-FFF2-40B4-BE49-F238E27FC236}">
                  <a16:creationId xmlns:a16="http://schemas.microsoft.com/office/drawing/2014/main" xmlns="" id="{6779DB60-FBDE-42DE-A13B-BB81F415E20B}"/>
                </a:ext>
              </a:extLst>
            </p:cNvPr>
            <p:cNvSpPr/>
            <p:nvPr userDrawn="1"/>
          </p:nvSpPr>
          <p:spPr bwMode="auto">
            <a:xfrm>
              <a:off x="1721756" y="4583113"/>
              <a:ext cx="25400" cy="15875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4 h 5"/>
                <a:gd name="T4" fmla="*/ 7 w 8"/>
                <a:gd name="T5" fmla="*/ 1 h 5"/>
                <a:gd name="T6" fmla="*/ 2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0" y="1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1" name="îṣḷide">
              <a:extLst>
                <a:ext uri="{FF2B5EF4-FFF2-40B4-BE49-F238E27FC236}">
                  <a16:creationId xmlns:a16="http://schemas.microsoft.com/office/drawing/2014/main" xmlns="" id="{D84A7434-516F-4C09-8E1A-DA3A71A08733}"/>
                </a:ext>
              </a:extLst>
            </p:cNvPr>
            <p:cNvSpPr/>
            <p:nvPr userDrawn="1"/>
          </p:nvSpPr>
          <p:spPr bwMode="auto">
            <a:xfrm>
              <a:off x="1602693" y="4540250"/>
              <a:ext cx="250825" cy="144463"/>
            </a:xfrm>
            <a:custGeom>
              <a:avLst/>
              <a:gdLst>
                <a:gd name="T0" fmla="*/ 12 w 76"/>
                <a:gd name="T1" fmla="*/ 37 h 44"/>
                <a:gd name="T2" fmla="*/ 1 w 76"/>
                <a:gd name="T3" fmla="*/ 21 h 44"/>
                <a:gd name="T4" fmla="*/ 12 w 76"/>
                <a:gd name="T5" fmla="*/ 6 h 44"/>
                <a:gd name="T6" fmla="*/ 39 w 76"/>
                <a:gd name="T7" fmla="*/ 0 h 44"/>
                <a:gd name="T8" fmla="*/ 65 w 76"/>
                <a:gd name="T9" fmla="*/ 6 h 44"/>
                <a:gd name="T10" fmla="*/ 76 w 76"/>
                <a:gd name="T11" fmla="*/ 22 h 44"/>
                <a:gd name="T12" fmla="*/ 65 w 76"/>
                <a:gd name="T13" fmla="*/ 37 h 44"/>
                <a:gd name="T14" fmla="*/ 38 w 76"/>
                <a:gd name="T15" fmla="*/ 44 h 44"/>
                <a:gd name="T16" fmla="*/ 12 w 76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12" y="37"/>
                  </a:moveTo>
                  <a:cubicBezTo>
                    <a:pt x="4" y="33"/>
                    <a:pt x="0" y="27"/>
                    <a:pt x="1" y="21"/>
                  </a:cubicBezTo>
                  <a:cubicBezTo>
                    <a:pt x="1" y="16"/>
                    <a:pt x="5" y="10"/>
                    <a:pt x="12" y="6"/>
                  </a:cubicBezTo>
                  <a:cubicBezTo>
                    <a:pt x="19" y="2"/>
                    <a:pt x="29" y="0"/>
                    <a:pt x="39" y="0"/>
                  </a:cubicBezTo>
                  <a:cubicBezTo>
                    <a:pt x="49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8"/>
                    <a:pt x="72" y="33"/>
                    <a:pt x="65" y="37"/>
                  </a:cubicBezTo>
                  <a:cubicBezTo>
                    <a:pt x="58" y="41"/>
                    <a:pt x="48" y="44"/>
                    <a:pt x="38" y="44"/>
                  </a:cubicBezTo>
                  <a:cubicBezTo>
                    <a:pt x="28" y="44"/>
                    <a:pt x="19" y="41"/>
                    <a:pt x="12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2" name="iṣḻídé">
              <a:extLst>
                <a:ext uri="{FF2B5EF4-FFF2-40B4-BE49-F238E27FC236}">
                  <a16:creationId xmlns:a16="http://schemas.microsoft.com/office/drawing/2014/main" xmlns="" id="{1A4E53E4-FBCD-41BD-BE89-71F8749970BF}"/>
                </a:ext>
              </a:extLst>
            </p:cNvPr>
            <p:cNvSpPr/>
            <p:nvPr userDrawn="1"/>
          </p:nvSpPr>
          <p:spPr bwMode="auto">
            <a:xfrm>
              <a:off x="1715406" y="4629150"/>
              <a:ext cx="25400" cy="15875"/>
            </a:xfrm>
            <a:custGeom>
              <a:avLst/>
              <a:gdLst>
                <a:gd name="T0" fmla="*/ 7 w 8"/>
                <a:gd name="T1" fmla="*/ 1 h 5"/>
                <a:gd name="T2" fmla="*/ 1 w 8"/>
                <a:gd name="T3" fmla="*/ 1 h 5"/>
                <a:gd name="T4" fmla="*/ 2 w 8"/>
                <a:gd name="T5" fmla="*/ 4 h 5"/>
                <a:gd name="T6" fmla="*/ 7 w 8"/>
                <a:gd name="T7" fmla="*/ 4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5" y="0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3" name="i$lîḓe">
              <a:extLst>
                <a:ext uri="{FF2B5EF4-FFF2-40B4-BE49-F238E27FC236}">
                  <a16:creationId xmlns:a16="http://schemas.microsoft.com/office/drawing/2014/main" xmlns="" id="{F1EDF0F8-228A-4796-A3F9-B88AE5B02E29}"/>
                </a:ext>
              </a:extLst>
            </p:cNvPr>
            <p:cNvSpPr/>
            <p:nvPr userDrawn="1"/>
          </p:nvSpPr>
          <p:spPr bwMode="auto">
            <a:xfrm>
              <a:off x="1045481" y="4213225"/>
              <a:ext cx="781050" cy="455613"/>
            </a:xfrm>
            <a:custGeom>
              <a:avLst/>
              <a:gdLst>
                <a:gd name="T0" fmla="*/ 0 w 492"/>
                <a:gd name="T1" fmla="*/ 276 h 287"/>
                <a:gd name="T2" fmla="*/ 14 w 492"/>
                <a:gd name="T3" fmla="*/ 287 h 287"/>
                <a:gd name="T4" fmla="*/ 492 w 492"/>
                <a:gd name="T5" fmla="*/ 11 h 287"/>
                <a:gd name="T6" fmla="*/ 476 w 492"/>
                <a:gd name="T7" fmla="*/ 0 h 287"/>
                <a:gd name="T8" fmla="*/ 0 w 492"/>
                <a:gd name="T9" fmla="*/ 27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7">
                  <a:moveTo>
                    <a:pt x="0" y="276"/>
                  </a:moveTo>
                  <a:lnTo>
                    <a:pt x="14" y="287"/>
                  </a:lnTo>
                  <a:lnTo>
                    <a:pt x="492" y="11"/>
                  </a:lnTo>
                  <a:lnTo>
                    <a:pt x="476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4" name="ïŝļidè">
              <a:extLst>
                <a:ext uri="{FF2B5EF4-FFF2-40B4-BE49-F238E27FC236}">
                  <a16:creationId xmlns:a16="http://schemas.microsoft.com/office/drawing/2014/main" xmlns="" id="{4822F163-1936-4809-AAC8-CF988F055ACB}"/>
                </a:ext>
              </a:extLst>
            </p:cNvPr>
            <p:cNvSpPr/>
            <p:nvPr userDrawn="1"/>
          </p:nvSpPr>
          <p:spPr bwMode="auto">
            <a:xfrm>
              <a:off x="1097868" y="4246563"/>
              <a:ext cx="782638" cy="450850"/>
            </a:xfrm>
            <a:custGeom>
              <a:avLst/>
              <a:gdLst>
                <a:gd name="T0" fmla="*/ 0 w 493"/>
                <a:gd name="T1" fmla="*/ 276 h 284"/>
                <a:gd name="T2" fmla="*/ 15 w 493"/>
                <a:gd name="T3" fmla="*/ 284 h 284"/>
                <a:gd name="T4" fmla="*/ 493 w 493"/>
                <a:gd name="T5" fmla="*/ 8 h 284"/>
                <a:gd name="T6" fmla="*/ 478 w 493"/>
                <a:gd name="T7" fmla="*/ 0 h 284"/>
                <a:gd name="T8" fmla="*/ 0 w 493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3" h="284">
                  <a:moveTo>
                    <a:pt x="0" y="276"/>
                  </a:moveTo>
                  <a:lnTo>
                    <a:pt x="15" y="284"/>
                  </a:lnTo>
                  <a:lnTo>
                    <a:pt x="493" y="8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5" name="íşļíďe">
              <a:extLst>
                <a:ext uri="{FF2B5EF4-FFF2-40B4-BE49-F238E27FC236}">
                  <a16:creationId xmlns:a16="http://schemas.microsoft.com/office/drawing/2014/main" xmlns="" id="{E03347DA-1DE0-4B94-B4E1-7E96A7DE1792}"/>
                </a:ext>
              </a:extLst>
            </p:cNvPr>
            <p:cNvSpPr/>
            <p:nvPr userDrawn="1"/>
          </p:nvSpPr>
          <p:spPr bwMode="auto">
            <a:xfrm>
              <a:off x="1602693" y="4522788"/>
              <a:ext cx="280988" cy="179388"/>
            </a:xfrm>
            <a:custGeom>
              <a:avLst/>
              <a:gdLst>
                <a:gd name="T0" fmla="*/ 6 w 85"/>
                <a:gd name="T1" fmla="*/ 8 h 54"/>
                <a:gd name="T2" fmla="*/ 12 w 85"/>
                <a:gd name="T3" fmla="*/ 11 h 54"/>
                <a:gd name="T4" fmla="*/ 1 w 85"/>
                <a:gd name="T5" fmla="*/ 26 h 54"/>
                <a:gd name="T6" fmla="*/ 12 w 85"/>
                <a:gd name="T7" fmla="*/ 42 h 54"/>
                <a:gd name="T8" fmla="*/ 1 w 85"/>
                <a:gd name="T9" fmla="*/ 26 h 54"/>
                <a:gd name="T10" fmla="*/ 12 w 85"/>
                <a:gd name="T11" fmla="*/ 11 h 54"/>
                <a:gd name="T12" fmla="*/ 39 w 85"/>
                <a:gd name="T13" fmla="*/ 5 h 54"/>
                <a:gd name="T14" fmla="*/ 65 w 85"/>
                <a:gd name="T15" fmla="*/ 11 h 54"/>
                <a:gd name="T16" fmla="*/ 76 w 85"/>
                <a:gd name="T17" fmla="*/ 27 h 54"/>
                <a:gd name="T18" fmla="*/ 65 w 85"/>
                <a:gd name="T19" fmla="*/ 42 h 54"/>
                <a:gd name="T20" fmla="*/ 71 w 85"/>
                <a:gd name="T21" fmla="*/ 46 h 54"/>
                <a:gd name="T22" fmla="*/ 38 w 85"/>
                <a:gd name="T23" fmla="*/ 54 h 54"/>
                <a:gd name="T24" fmla="*/ 5 w 85"/>
                <a:gd name="T25" fmla="*/ 46 h 54"/>
                <a:gd name="T26" fmla="*/ 38 w 85"/>
                <a:gd name="T27" fmla="*/ 54 h 54"/>
                <a:gd name="T28" fmla="*/ 71 w 85"/>
                <a:gd name="T29" fmla="*/ 46 h 54"/>
                <a:gd name="T30" fmla="*/ 85 w 85"/>
                <a:gd name="T31" fmla="*/ 27 h 54"/>
                <a:gd name="T32" fmla="*/ 72 w 85"/>
                <a:gd name="T33" fmla="*/ 8 h 54"/>
                <a:gd name="T34" fmla="*/ 39 w 85"/>
                <a:gd name="T35" fmla="*/ 0 h 54"/>
                <a:gd name="T36" fmla="*/ 6 w 85"/>
                <a:gd name="T37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54">
                  <a:moveTo>
                    <a:pt x="6" y="8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5" y="15"/>
                    <a:pt x="1" y="21"/>
                    <a:pt x="1" y="26"/>
                  </a:cubicBezTo>
                  <a:cubicBezTo>
                    <a:pt x="0" y="32"/>
                    <a:pt x="4" y="38"/>
                    <a:pt x="12" y="42"/>
                  </a:cubicBezTo>
                  <a:cubicBezTo>
                    <a:pt x="4" y="38"/>
                    <a:pt x="0" y="32"/>
                    <a:pt x="1" y="26"/>
                  </a:cubicBezTo>
                  <a:cubicBezTo>
                    <a:pt x="1" y="21"/>
                    <a:pt x="5" y="15"/>
                    <a:pt x="12" y="11"/>
                  </a:cubicBezTo>
                  <a:cubicBezTo>
                    <a:pt x="19" y="7"/>
                    <a:pt x="29" y="5"/>
                    <a:pt x="39" y="5"/>
                  </a:cubicBezTo>
                  <a:cubicBezTo>
                    <a:pt x="49" y="5"/>
                    <a:pt x="58" y="7"/>
                    <a:pt x="65" y="11"/>
                  </a:cubicBezTo>
                  <a:cubicBezTo>
                    <a:pt x="72" y="15"/>
                    <a:pt x="76" y="21"/>
                    <a:pt x="76" y="27"/>
                  </a:cubicBezTo>
                  <a:cubicBezTo>
                    <a:pt x="76" y="33"/>
                    <a:pt x="72" y="38"/>
                    <a:pt x="65" y="42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63" y="51"/>
                    <a:pt x="51" y="54"/>
                    <a:pt x="38" y="54"/>
                  </a:cubicBezTo>
                  <a:cubicBezTo>
                    <a:pt x="26" y="54"/>
                    <a:pt x="14" y="51"/>
                    <a:pt x="5" y="46"/>
                  </a:cubicBezTo>
                  <a:cubicBezTo>
                    <a:pt x="14" y="51"/>
                    <a:pt x="26" y="54"/>
                    <a:pt x="38" y="54"/>
                  </a:cubicBezTo>
                  <a:cubicBezTo>
                    <a:pt x="51" y="54"/>
                    <a:pt x="63" y="51"/>
                    <a:pt x="71" y="46"/>
                  </a:cubicBezTo>
                  <a:cubicBezTo>
                    <a:pt x="80" y="41"/>
                    <a:pt x="85" y="34"/>
                    <a:pt x="85" y="27"/>
                  </a:cubicBezTo>
                  <a:cubicBezTo>
                    <a:pt x="85" y="19"/>
                    <a:pt x="80" y="13"/>
                    <a:pt x="72" y="8"/>
                  </a:cubicBezTo>
                  <a:cubicBezTo>
                    <a:pt x="63" y="2"/>
                    <a:pt x="51" y="0"/>
                    <a:pt x="39" y="0"/>
                  </a:cubicBezTo>
                  <a:cubicBezTo>
                    <a:pt x="26" y="0"/>
                    <a:pt x="14" y="2"/>
                    <a:pt x="6" y="8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6" name="îsļíḋé">
              <a:extLst>
                <a:ext uri="{FF2B5EF4-FFF2-40B4-BE49-F238E27FC236}">
                  <a16:creationId xmlns:a16="http://schemas.microsoft.com/office/drawing/2014/main" xmlns="" id="{EFB6C8A1-3B03-45AF-A3B8-3517C40BCBA0}"/>
                </a:ext>
              </a:extLst>
            </p:cNvPr>
            <p:cNvSpPr/>
            <p:nvPr userDrawn="1"/>
          </p:nvSpPr>
          <p:spPr bwMode="auto">
            <a:xfrm>
              <a:off x="1572531" y="4549775"/>
              <a:ext cx="265113" cy="152400"/>
            </a:xfrm>
            <a:custGeom>
              <a:avLst/>
              <a:gdLst>
                <a:gd name="T0" fmla="*/ 15 w 80"/>
                <a:gd name="T1" fmla="*/ 0 h 46"/>
                <a:gd name="T2" fmla="*/ 1 w 80"/>
                <a:gd name="T3" fmla="*/ 18 h 46"/>
                <a:gd name="T4" fmla="*/ 14 w 80"/>
                <a:gd name="T5" fmla="*/ 38 h 46"/>
                <a:gd name="T6" fmla="*/ 47 w 80"/>
                <a:gd name="T7" fmla="*/ 46 h 46"/>
                <a:gd name="T8" fmla="*/ 80 w 80"/>
                <a:gd name="T9" fmla="*/ 38 h 46"/>
                <a:gd name="T10" fmla="*/ 74 w 80"/>
                <a:gd name="T11" fmla="*/ 34 h 46"/>
                <a:gd name="T12" fmla="*/ 47 w 80"/>
                <a:gd name="T13" fmla="*/ 41 h 46"/>
                <a:gd name="T14" fmla="*/ 21 w 80"/>
                <a:gd name="T15" fmla="*/ 34 h 46"/>
                <a:gd name="T16" fmla="*/ 10 w 80"/>
                <a:gd name="T17" fmla="*/ 18 h 46"/>
                <a:gd name="T18" fmla="*/ 21 w 80"/>
                <a:gd name="T19" fmla="*/ 3 h 46"/>
                <a:gd name="T20" fmla="*/ 15 w 80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46">
                  <a:moveTo>
                    <a:pt x="15" y="0"/>
                  </a:moveTo>
                  <a:cubicBezTo>
                    <a:pt x="6" y="5"/>
                    <a:pt x="1" y="11"/>
                    <a:pt x="1" y="18"/>
                  </a:cubicBezTo>
                  <a:cubicBezTo>
                    <a:pt x="0" y="25"/>
                    <a:pt x="5" y="33"/>
                    <a:pt x="14" y="38"/>
                  </a:cubicBezTo>
                  <a:cubicBezTo>
                    <a:pt x="23" y="43"/>
                    <a:pt x="35" y="46"/>
                    <a:pt x="47" y="46"/>
                  </a:cubicBezTo>
                  <a:cubicBezTo>
                    <a:pt x="60" y="46"/>
                    <a:pt x="72" y="43"/>
                    <a:pt x="80" y="38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67" y="38"/>
                    <a:pt x="57" y="41"/>
                    <a:pt x="47" y="41"/>
                  </a:cubicBezTo>
                  <a:cubicBezTo>
                    <a:pt x="37" y="41"/>
                    <a:pt x="28" y="38"/>
                    <a:pt x="21" y="34"/>
                  </a:cubicBezTo>
                  <a:cubicBezTo>
                    <a:pt x="13" y="30"/>
                    <a:pt x="9" y="24"/>
                    <a:pt x="10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7" name="íṣḻïdé">
              <a:extLst>
                <a:ext uri="{FF2B5EF4-FFF2-40B4-BE49-F238E27FC236}">
                  <a16:creationId xmlns:a16="http://schemas.microsoft.com/office/drawing/2014/main" xmlns="" id="{3DC58A0F-D951-42A5-8365-883AAD5B0FF0}"/>
                </a:ext>
              </a:extLst>
            </p:cNvPr>
            <p:cNvSpPr/>
            <p:nvPr userDrawn="1"/>
          </p:nvSpPr>
          <p:spPr bwMode="auto">
            <a:xfrm>
              <a:off x="1150256" y="4276725"/>
              <a:ext cx="785813" cy="454025"/>
            </a:xfrm>
            <a:custGeom>
              <a:avLst/>
              <a:gdLst>
                <a:gd name="T0" fmla="*/ 0 w 495"/>
                <a:gd name="T1" fmla="*/ 276 h 286"/>
                <a:gd name="T2" fmla="*/ 17 w 495"/>
                <a:gd name="T3" fmla="*/ 286 h 286"/>
                <a:gd name="T4" fmla="*/ 495 w 495"/>
                <a:gd name="T5" fmla="*/ 10 h 286"/>
                <a:gd name="T6" fmla="*/ 478 w 495"/>
                <a:gd name="T7" fmla="*/ 0 h 286"/>
                <a:gd name="T8" fmla="*/ 0 w 495"/>
                <a:gd name="T9" fmla="*/ 27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6">
                  <a:moveTo>
                    <a:pt x="0" y="276"/>
                  </a:moveTo>
                  <a:lnTo>
                    <a:pt x="17" y="286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8" name="ïsḷiḑe">
              <a:extLst>
                <a:ext uri="{FF2B5EF4-FFF2-40B4-BE49-F238E27FC236}">
                  <a16:creationId xmlns:a16="http://schemas.microsoft.com/office/drawing/2014/main" xmlns="" id="{369BF60F-FA3D-4E8A-89FB-009E73497B9E}"/>
                </a:ext>
              </a:extLst>
            </p:cNvPr>
            <p:cNvSpPr/>
            <p:nvPr userDrawn="1"/>
          </p:nvSpPr>
          <p:spPr bwMode="auto">
            <a:xfrm>
              <a:off x="1467756" y="4727575"/>
              <a:ext cx="25400" cy="17463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5 h 5"/>
                <a:gd name="T4" fmla="*/ 6 w 8"/>
                <a:gd name="T5" fmla="*/ 2 h 5"/>
                <a:gd name="T6" fmla="*/ 1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3" y="5"/>
                    <a:pt x="5" y="5"/>
                    <a:pt x="7" y="5"/>
                  </a:cubicBezTo>
                  <a:cubicBezTo>
                    <a:pt x="8" y="4"/>
                    <a:pt x="8" y="3"/>
                    <a:pt x="6" y="2"/>
                  </a:cubicBezTo>
                  <a:cubicBezTo>
                    <a:pt x="5" y="1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9" name="ïṣ1íḍé">
              <a:extLst>
                <a:ext uri="{FF2B5EF4-FFF2-40B4-BE49-F238E27FC236}">
                  <a16:creationId xmlns:a16="http://schemas.microsoft.com/office/drawing/2014/main" xmlns="" id="{76A949AD-FF28-4C51-BBFD-C5C57D5CBF02}"/>
                </a:ext>
              </a:extLst>
            </p:cNvPr>
            <p:cNvSpPr/>
            <p:nvPr userDrawn="1"/>
          </p:nvSpPr>
          <p:spPr bwMode="auto">
            <a:xfrm>
              <a:off x="1348693" y="4687888"/>
              <a:ext cx="250825" cy="142875"/>
            </a:xfrm>
            <a:custGeom>
              <a:avLst/>
              <a:gdLst>
                <a:gd name="T0" fmla="*/ 11 w 76"/>
                <a:gd name="T1" fmla="*/ 37 h 43"/>
                <a:gd name="T2" fmla="*/ 0 w 76"/>
                <a:gd name="T3" fmla="*/ 21 h 43"/>
                <a:gd name="T4" fmla="*/ 11 w 76"/>
                <a:gd name="T5" fmla="*/ 6 h 43"/>
                <a:gd name="T6" fmla="*/ 38 w 76"/>
                <a:gd name="T7" fmla="*/ 0 h 43"/>
                <a:gd name="T8" fmla="*/ 65 w 76"/>
                <a:gd name="T9" fmla="*/ 6 h 43"/>
                <a:gd name="T10" fmla="*/ 76 w 76"/>
                <a:gd name="T11" fmla="*/ 22 h 43"/>
                <a:gd name="T12" fmla="*/ 64 w 76"/>
                <a:gd name="T13" fmla="*/ 37 h 43"/>
                <a:gd name="T14" fmla="*/ 38 w 76"/>
                <a:gd name="T15" fmla="*/ 43 h 43"/>
                <a:gd name="T16" fmla="*/ 11 w 76"/>
                <a:gd name="T17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3">
                  <a:moveTo>
                    <a:pt x="11" y="37"/>
                  </a:moveTo>
                  <a:cubicBezTo>
                    <a:pt x="4" y="33"/>
                    <a:pt x="0" y="27"/>
                    <a:pt x="0" y="21"/>
                  </a:cubicBezTo>
                  <a:cubicBezTo>
                    <a:pt x="0" y="15"/>
                    <a:pt x="4" y="10"/>
                    <a:pt x="11" y="6"/>
                  </a:cubicBezTo>
                  <a:cubicBezTo>
                    <a:pt x="18" y="2"/>
                    <a:pt x="28" y="0"/>
                    <a:pt x="38" y="0"/>
                  </a:cubicBezTo>
                  <a:cubicBezTo>
                    <a:pt x="48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7"/>
                    <a:pt x="72" y="33"/>
                    <a:pt x="64" y="37"/>
                  </a:cubicBezTo>
                  <a:cubicBezTo>
                    <a:pt x="57" y="41"/>
                    <a:pt x="48" y="43"/>
                    <a:pt x="38" y="43"/>
                  </a:cubicBezTo>
                  <a:cubicBezTo>
                    <a:pt x="28" y="43"/>
                    <a:pt x="18" y="41"/>
                    <a:pt x="11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0" name="íṥľíḓe">
              <a:extLst>
                <a:ext uri="{FF2B5EF4-FFF2-40B4-BE49-F238E27FC236}">
                  <a16:creationId xmlns:a16="http://schemas.microsoft.com/office/drawing/2014/main" xmlns="" id="{C04EAAC4-4E45-4CB7-9CFA-919103A7BF59}"/>
                </a:ext>
              </a:extLst>
            </p:cNvPr>
            <p:cNvSpPr/>
            <p:nvPr userDrawn="1"/>
          </p:nvSpPr>
          <p:spPr bwMode="auto">
            <a:xfrm>
              <a:off x="1461406" y="4776788"/>
              <a:ext cx="25400" cy="17463"/>
            </a:xfrm>
            <a:custGeom>
              <a:avLst/>
              <a:gdLst>
                <a:gd name="T0" fmla="*/ 6 w 8"/>
                <a:gd name="T1" fmla="*/ 1 h 5"/>
                <a:gd name="T2" fmla="*/ 1 w 8"/>
                <a:gd name="T3" fmla="*/ 0 h 5"/>
                <a:gd name="T4" fmla="*/ 1 w 8"/>
                <a:gd name="T5" fmla="*/ 3 h 5"/>
                <a:gd name="T6" fmla="*/ 7 w 8"/>
                <a:gd name="T7" fmla="*/ 4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4" y="0"/>
                    <a:pt x="2" y="0"/>
                    <a:pt x="1" y="0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3" y="4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1" name="íŝḷîḓê">
              <a:extLst>
                <a:ext uri="{FF2B5EF4-FFF2-40B4-BE49-F238E27FC236}">
                  <a16:creationId xmlns:a16="http://schemas.microsoft.com/office/drawing/2014/main" xmlns="" id="{D0874C65-F320-4EC4-81AA-BA470A68FBD2}"/>
                </a:ext>
              </a:extLst>
            </p:cNvPr>
            <p:cNvSpPr/>
            <p:nvPr userDrawn="1"/>
          </p:nvSpPr>
          <p:spPr bwMode="auto">
            <a:xfrm>
              <a:off x="2420256" y="4611688"/>
              <a:ext cx="320675" cy="188913"/>
            </a:xfrm>
            <a:custGeom>
              <a:avLst/>
              <a:gdLst>
                <a:gd name="T0" fmla="*/ 0 w 202"/>
                <a:gd name="T1" fmla="*/ 27 h 119"/>
                <a:gd name="T2" fmla="*/ 156 w 202"/>
                <a:gd name="T3" fmla="*/ 119 h 119"/>
                <a:gd name="T4" fmla="*/ 202 w 202"/>
                <a:gd name="T5" fmla="*/ 92 h 119"/>
                <a:gd name="T6" fmla="*/ 44 w 202"/>
                <a:gd name="T7" fmla="*/ 0 h 119"/>
                <a:gd name="T8" fmla="*/ 0 w 202"/>
                <a:gd name="T9" fmla="*/ 2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119">
                  <a:moveTo>
                    <a:pt x="0" y="27"/>
                  </a:moveTo>
                  <a:lnTo>
                    <a:pt x="156" y="119"/>
                  </a:lnTo>
                  <a:lnTo>
                    <a:pt x="202" y="92"/>
                  </a:lnTo>
                  <a:lnTo>
                    <a:pt x="44" y="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2" name="ïṧḻîde">
              <a:extLst>
                <a:ext uri="{FF2B5EF4-FFF2-40B4-BE49-F238E27FC236}">
                  <a16:creationId xmlns:a16="http://schemas.microsoft.com/office/drawing/2014/main" xmlns="" id="{ED81A290-33AF-4288-B6DA-9CA4B5590F2C}"/>
                </a:ext>
              </a:extLst>
            </p:cNvPr>
            <p:cNvSpPr/>
            <p:nvPr userDrawn="1"/>
          </p:nvSpPr>
          <p:spPr bwMode="auto">
            <a:xfrm>
              <a:off x="1348693" y="4672013"/>
              <a:ext cx="234950" cy="138113"/>
            </a:xfrm>
            <a:custGeom>
              <a:avLst/>
              <a:gdLst>
                <a:gd name="T0" fmla="*/ 5 w 71"/>
                <a:gd name="T1" fmla="*/ 7 h 42"/>
                <a:gd name="T2" fmla="*/ 11 w 71"/>
                <a:gd name="T3" fmla="*/ 11 h 42"/>
                <a:gd name="T4" fmla="*/ 0 w 71"/>
                <a:gd name="T5" fmla="*/ 26 h 42"/>
                <a:gd name="T6" fmla="*/ 11 w 71"/>
                <a:gd name="T7" fmla="*/ 42 h 42"/>
                <a:gd name="T8" fmla="*/ 0 w 71"/>
                <a:gd name="T9" fmla="*/ 26 h 42"/>
                <a:gd name="T10" fmla="*/ 11 w 71"/>
                <a:gd name="T11" fmla="*/ 11 h 42"/>
                <a:gd name="T12" fmla="*/ 38 w 71"/>
                <a:gd name="T13" fmla="*/ 5 h 42"/>
                <a:gd name="T14" fmla="*/ 65 w 71"/>
                <a:gd name="T15" fmla="*/ 11 h 42"/>
                <a:gd name="T16" fmla="*/ 71 w 71"/>
                <a:gd name="T17" fmla="*/ 7 h 42"/>
                <a:gd name="T18" fmla="*/ 38 w 71"/>
                <a:gd name="T19" fmla="*/ 0 h 42"/>
                <a:gd name="T20" fmla="*/ 5 w 71"/>
                <a:gd name="T21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42">
                  <a:moveTo>
                    <a:pt x="5" y="7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4" y="15"/>
                    <a:pt x="0" y="20"/>
                    <a:pt x="0" y="26"/>
                  </a:cubicBezTo>
                  <a:cubicBezTo>
                    <a:pt x="0" y="32"/>
                    <a:pt x="4" y="38"/>
                    <a:pt x="11" y="42"/>
                  </a:cubicBezTo>
                  <a:cubicBezTo>
                    <a:pt x="4" y="38"/>
                    <a:pt x="0" y="32"/>
                    <a:pt x="0" y="26"/>
                  </a:cubicBezTo>
                  <a:cubicBezTo>
                    <a:pt x="0" y="20"/>
                    <a:pt x="4" y="15"/>
                    <a:pt x="11" y="11"/>
                  </a:cubicBezTo>
                  <a:cubicBezTo>
                    <a:pt x="18" y="7"/>
                    <a:pt x="28" y="5"/>
                    <a:pt x="38" y="5"/>
                  </a:cubicBezTo>
                  <a:cubicBezTo>
                    <a:pt x="48" y="5"/>
                    <a:pt x="58" y="7"/>
                    <a:pt x="65" y="1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2" y="2"/>
                    <a:pt x="50" y="0"/>
                    <a:pt x="38" y="0"/>
                  </a:cubicBezTo>
                  <a:cubicBezTo>
                    <a:pt x="26" y="0"/>
                    <a:pt x="14" y="2"/>
                    <a:pt x="5" y="7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3" name="i$ļiḋe">
              <a:extLst>
                <a:ext uri="{FF2B5EF4-FFF2-40B4-BE49-F238E27FC236}">
                  <a16:creationId xmlns:a16="http://schemas.microsoft.com/office/drawing/2014/main" xmlns="" id="{FF0C8E9F-B0EF-4447-8678-35BE5274322F}"/>
                </a:ext>
              </a:extLst>
            </p:cNvPr>
            <p:cNvSpPr/>
            <p:nvPr userDrawn="1"/>
          </p:nvSpPr>
          <p:spPr bwMode="auto">
            <a:xfrm>
              <a:off x="2463118" y="4730750"/>
              <a:ext cx="198438" cy="115888"/>
            </a:xfrm>
            <a:custGeom>
              <a:avLst/>
              <a:gdLst>
                <a:gd name="T0" fmla="*/ 0 w 125"/>
                <a:gd name="T1" fmla="*/ 25 h 73"/>
                <a:gd name="T2" fmla="*/ 79 w 125"/>
                <a:gd name="T3" fmla="*/ 73 h 73"/>
                <a:gd name="T4" fmla="*/ 125 w 125"/>
                <a:gd name="T5" fmla="*/ 46 h 73"/>
                <a:gd name="T6" fmla="*/ 44 w 125"/>
                <a:gd name="T7" fmla="*/ 0 h 73"/>
                <a:gd name="T8" fmla="*/ 0 w 125"/>
                <a:gd name="T9" fmla="*/ 2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73">
                  <a:moveTo>
                    <a:pt x="0" y="25"/>
                  </a:moveTo>
                  <a:lnTo>
                    <a:pt x="79" y="73"/>
                  </a:lnTo>
                  <a:lnTo>
                    <a:pt x="125" y="46"/>
                  </a:lnTo>
                  <a:lnTo>
                    <a:pt x="44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4" name="îslîḍè">
              <a:extLst>
                <a:ext uri="{FF2B5EF4-FFF2-40B4-BE49-F238E27FC236}">
                  <a16:creationId xmlns:a16="http://schemas.microsoft.com/office/drawing/2014/main" xmlns="" id="{76358BB0-DCBE-4E6A-AFB0-9C159D8298BB}"/>
                </a:ext>
              </a:extLst>
            </p:cNvPr>
            <p:cNvSpPr/>
            <p:nvPr userDrawn="1"/>
          </p:nvSpPr>
          <p:spPr bwMode="auto">
            <a:xfrm>
              <a:off x="2334531" y="4840288"/>
              <a:ext cx="168275" cy="95250"/>
            </a:xfrm>
            <a:custGeom>
              <a:avLst/>
              <a:gdLst>
                <a:gd name="T0" fmla="*/ 0 w 106"/>
                <a:gd name="T1" fmla="*/ 25 h 60"/>
                <a:gd name="T2" fmla="*/ 61 w 106"/>
                <a:gd name="T3" fmla="*/ 60 h 60"/>
                <a:gd name="T4" fmla="*/ 106 w 106"/>
                <a:gd name="T5" fmla="*/ 35 h 60"/>
                <a:gd name="T6" fmla="*/ 46 w 106"/>
                <a:gd name="T7" fmla="*/ 0 h 60"/>
                <a:gd name="T8" fmla="*/ 0 w 106"/>
                <a:gd name="T9" fmla="*/ 2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60">
                  <a:moveTo>
                    <a:pt x="0" y="25"/>
                  </a:moveTo>
                  <a:lnTo>
                    <a:pt x="61" y="60"/>
                  </a:lnTo>
                  <a:lnTo>
                    <a:pt x="106" y="35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5" name="iśḷiďê">
              <a:extLst>
                <a:ext uri="{FF2B5EF4-FFF2-40B4-BE49-F238E27FC236}">
                  <a16:creationId xmlns:a16="http://schemas.microsoft.com/office/drawing/2014/main" xmlns="" id="{E9F4CFF8-A453-4D8D-B4DA-45C93AA2E851}"/>
                </a:ext>
              </a:extLst>
            </p:cNvPr>
            <p:cNvSpPr/>
            <p:nvPr userDrawn="1"/>
          </p:nvSpPr>
          <p:spPr bwMode="auto">
            <a:xfrm>
              <a:off x="1605868" y="4543425"/>
              <a:ext cx="785813" cy="450850"/>
            </a:xfrm>
            <a:custGeom>
              <a:avLst/>
              <a:gdLst>
                <a:gd name="T0" fmla="*/ 0 w 495"/>
                <a:gd name="T1" fmla="*/ 274 h 284"/>
                <a:gd name="T2" fmla="*/ 17 w 495"/>
                <a:gd name="T3" fmla="*/ 284 h 284"/>
                <a:gd name="T4" fmla="*/ 495 w 495"/>
                <a:gd name="T5" fmla="*/ 8 h 284"/>
                <a:gd name="T6" fmla="*/ 478 w 495"/>
                <a:gd name="T7" fmla="*/ 0 h 284"/>
                <a:gd name="T8" fmla="*/ 0 w 495"/>
                <a:gd name="T9" fmla="*/ 27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4"/>
                  </a:moveTo>
                  <a:lnTo>
                    <a:pt x="17" y="284"/>
                  </a:lnTo>
                  <a:lnTo>
                    <a:pt x="495" y="8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6" name="i$ḻïḍè">
              <a:extLst>
                <a:ext uri="{FF2B5EF4-FFF2-40B4-BE49-F238E27FC236}">
                  <a16:creationId xmlns:a16="http://schemas.microsoft.com/office/drawing/2014/main" xmlns="" id="{55E3FB61-7D6E-497E-9EC2-09FA54589BF8}"/>
                </a:ext>
              </a:extLst>
            </p:cNvPr>
            <p:cNvSpPr/>
            <p:nvPr userDrawn="1"/>
          </p:nvSpPr>
          <p:spPr bwMode="auto">
            <a:xfrm>
              <a:off x="1678893" y="4583113"/>
              <a:ext cx="781050" cy="450850"/>
            </a:xfrm>
            <a:custGeom>
              <a:avLst/>
              <a:gdLst>
                <a:gd name="T0" fmla="*/ 0 w 492"/>
                <a:gd name="T1" fmla="*/ 276 h 284"/>
                <a:gd name="T2" fmla="*/ 14 w 492"/>
                <a:gd name="T3" fmla="*/ 284 h 284"/>
                <a:gd name="T4" fmla="*/ 492 w 492"/>
                <a:gd name="T5" fmla="*/ 10 h 284"/>
                <a:gd name="T6" fmla="*/ 478 w 492"/>
                <a:gd name="T7" fmla="*/ 0 h 284"/>
                <a:gd name="T8" fmla="*/ 0 w 492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4">
                  <a:moveTo>
                    <a:pt x="0" y="276"/>
                  </a:moveTo>
                  <a:lnTo>
                    <a:pt x="14" y="284"/>
                  </a:lnTo>
                  <a:lnTo>
                    <a:pt x="492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7" name="ï$lïḍê">
              <a:extLst>
                <a:ext uri="{FF2B5EF4-FFF2-40B4-BE49-F238E27FC236}">
                  <a16:creationId xmlns:a16="http://schemas.microsoft.com/office/drawing/2014/main" xmlns="" id="{A9B0351F-D340-47A7-884D-47D7CCC3D941}"/>
                </a:ext>
              </a:extLst>
            </p:cNvPr>
            <p:cNvSpPr/>
            <p:nvPr userDrawn="1"/>
          </p:nvSpPr>
          <p:spPr bwMode="auto">
            <a:xfrm>
              <a:off x="1820181" y="4852988"/>
              <a:ext cx="379413" cy="217488"/>
            </a:xfrm>
            <a:custGeom>
              <a:avLst/>
              <a:gdLst>
                <a:gd name="T0" fmla="*/ 0 w 239"/>
                <a:gd name="T1" fmla="*/ 129 h 137"/>
                <a:gd name="T2" fmla="*/ 15 w 239"/>
                <a:gd name="T3" fmla="*/ 137 h 137"/>
                <a:gd name="T4" fmla="*/ 239 w 239"/>
                <a:gd name="T5" fmla="*/ 8 h 137"/>
                <a:gd name="T6" fmla="*/ 225 w 239"/>
                <a:gd name="T7" fmla="*/ 0 h 137"/>
                <a:gd name="T8" fmla="*/ 0 w 239"/>
                <a:gd name="T9" fmla="*/ 12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9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5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8" name="iṡļïḋe">
              <a:extLst>
                <a:ext uri="{FF2B5EF4-FFF2-40B4-BE49-F238E27FC236}">
                  <a16:creationId xmlns:a16="http://schemas.microsoft.com/office/drawing/2014/main" xmlns="" id="{E5520017-20E4-4743-9B95-7A2B1C961686}"/>
                </a:ext>
              </a:extLst>
            </p:cNvPr>
            <p:cNvSpPr/>
            <p:nvPr userDrawn="1"/>
          </p:nvSpPr>
          <p:spPr bwMode="auto">
            <a:xfrm>
              <a:off x="1880506" y="4886325"/>
              <a:ext cx="379413" cy="220663"/>
            </a:xfrm>
            <a:custGeom>
              <a:avLst/>
              <a:gdLst>
                <a:gd name="T0" fmla="*/ 0 w 239"/>
                <a:gd name="T1" fmla="*/ 129 h 139"/>
                <a:gd name="T2" fmla="*/ 14 w 239"/>
                <a:gd name="T3" fmla="*/ 139 h 139"/>
                <a:gd name="T4" fmla="*/ 239 w 239"/>
                <a:gd name="T5" fmla="*/ 8 h 139"/>
                <a:gd name="T6" fmla="*/ 224 w 239"/>
                <a:gd name="T7" fmla="*/ 0 h 139"/>
                <a:gd name="T8" fmla="*/ 0 w 239"/>
                <a:gd name="T9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9">
                  <a:moveTo>
                    <a:pt x="0" y="129"/>
                  </a:moveTo>
                  <a:lnTo>
                    <a:pt x="14" y="139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9" name="ï$líḓé">
              <a:extLst>
                <a:ext uri="{FF2B5EF4-FFF2-40B4-BE49-F238E27FC236}">
                  <a16:creationId xmlns:a16="http://schemas.microsoft.com/office/drawing/2014/main" xmlns="" id="{7FF519DD-49A0-48C1-BAFE-38BC45370F5C}"/>
                </a:ext>
              </a:extLst>
            </p:cNvPr>
            <p:cNvSpPr/>
            <p:nvPr userDrawn="1"/>
          </p:nvSpPr>
          <p:spPr bwMode="auto">
            <a:xfrm>
              <a:off x="1939243" y="4922838"/>
              <a:ext cx="379413" cy="217488"/>
            </a:xfrm>
            <a:custGeom>
              <a:avLst/>
              <a:gdLst>
                <a:gd name="T0" fmla="*/ 0 w 239"/>
                <a:gd name="T1" fmla="*/ 128 h 137"/>
                <a:gd name="T2" fmla="*/ 15 w 239"/>
                <a:gd name="T3" fmla="*/ 137 h 137"/>
                <a:gd name="T4" fmla="*/ 239 w 239"/>
                <a:gd name="T5" fmla="*/ 8 h 137"/>
                <a:gd name="T6" fmla="*/ 224 w 239"/>
                <a:gd name="T7" fmla="*/ 0 h 137"/>
                <a:gd name="T8" fmla="*/ 0 w 239"/>
                <a:gd name="T9" fmla="*/ 12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8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0" name="ïşľíḑè">
              <a:extLst>
                <a:ext uri="{FF2B5EF4-FFF2-40B4-BE49-F238E27FC236}">
                  <a16:creationId xmlns:a16="http://schemas.microsoft.com/office/drawing/2014/main" xmlns="" id="{2AD87AFE-17E5-426A-9DF3-D0A3C624CFCC}"/>
                </a:ext>
              </a:extLst>
            </p:cNvPr>
            <p:cNvSpPr/>
            <p:nvPr userDrawn="1"/>
          </p:nvSpPr>
          <p:spPr bwMode="auto">
            <a:xfrm>
              <a:off x="1988456" y="4948238"/>
              <a:ext cx="382588" cy="220663"/>
            </a:xfrm>
            <a:custGeom>
              <a:avLst/>
              <a:gdLst>
                <a:gd name="T0" fmla="*/ 0 w 241"/>
                <a:gd name="T1" fmla="*/ 131 h 139"/>
                <a:gd name="T2" fmla="*/ 17 w 241"/>
                <a:gd name="T3" fmla="*/ 139 h 139"/>
                <a:gd name="T4" fmla="*/ 241 w 241"/>
                <a:gd name="T5" fmla="*/ 11 h 139"/>
                <a:gd name="T6" fmla="*/ 225 w 241"/>
                <a:gd name="T7" fmla="*/ 0 h 139"/>
                <a:gd name="T8" fmla="*/ 0 w 241"/>
                <a:gd name="T9" fmla="*/ 13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0" y="131"/>
                  </a:moveTo>
                  <a:lnTo>
                    <a:pt x="17" y="139"/>
                  </a:lnTo>
                  <a:lnTo>
                    <a:pt x="241" y="11"/>
                  </a:lnTo>
                  <a:lnTo>
                    <a:pt x="225" y="0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1" name="iŝḻiḑê">
              <a:extLst>
                <a:ext uri="{FF2B5EF4-FFF2-40B4-BE49-F238E27FC236}">
                  <a16:creationId xmlns:a16="http://schemas.microsoft.com/office/drawing/2014/main" xmlns="" id="{1FBA23EB-A980-459C-B96E-307479F357B3}"/>
                </a:ext>
              </a:extLst>
            </p:cNvPr>
            <p:cNvSpPr/>
            <p:nvPr userDrawn="1"/>
          </p:nvSpPr>
          <p:spPr bwMode="auto">
            <a:xfrm>
              <a:off x="774018" y="4059238"/>
              <a:ext cx="2132013" cy="1231900"/>
            </a:xfrm>
            <a:custGeom>
              <a:avLst/>
              <a:gdLst>
                <a:gd name="T0" fmla="*/ 378 w 646"/>
                <a:gd name="T1" fmla="*/ 374 h 374"/>
                <a:gd name="T2" fmla="*/ 268 w 646"/>
                <a:gd name="T3" fmla="*/ 0 h 374"/>
                <a:gd name="T4" fmla="*/ 323 w 646"/>
                <a:gd name="T5" fmla="*/ 149 h 374"/>
                <a:gd name="T6" fmla="*/ 257 w 646"/>
                <a:gd name="T7" fmla="*/ 149 h 374"/>
                <a:gd name="T8" fmla="*/ 256 w 646"/>
                <a:gd name="T9" fmla="*/ 187 h 374"/>
                <a:gd name="T10" fmla="*/ 322 w 646"/>
                <a:gd name="T11" fmla="*/ 187 h 374"/>
                <a:gd name="T12" fmla="*/ 323 w 646"/>
                <a:gd name="T13" fmla="*/ 149 h 374"/>
                <a:gd name="T14" fmla="*/ 212 w 646"/>
                <a:gd name="T15" fmla="*/ 186 h 374"/>
                <a:gd name="T16" fmla="*/ 165 w 646"/>
                <a:gd name="T17" fmla="*/ 212 h 374"/>
                <a:gd name="T18" fmla="*/ 212 w 646"/>
                <a:gd name="T19" fmla="*/ 240 h 374"/>
                <a:gd name="T20" fmla="*/ 258 w 646"/>
                <a:gd name="T21" fmla="*/ 213 h 374"/>
                <a:gd name="T22" fmla="*/ 400 w 646"/>
                <a:gd name="T23" fmla="*/ 104 h 374"/>
                <a:gd name="T24" fmla="*/ 334 w 646"/>
                <a:gd name="T25" fmla="*/ 104 h 374"/>
                <a:gd name="T26" fmla="*/ 334 w 646"/>
                <a:gd name="T27" fmla="*/ 142 h 374"/>
                <a:gd name="T28" fmla="*/ 400 w 646"/>
                <a:gd name="T29" fmla="*/ 142 h 374"/>
                <a:gd name="T30" fmla="*/ 400 w 646"/>
                <a:gd name="T31" fmla="*/ 104 h 374"/>
                <a:gd name="T32" fmla="*/ 281 w 646"/>
                <a:gd name="T33" fmla="*/ 30 h 374"/>
                <a:gd name="T34" fmla="*/ 35 w 646"/>
                <a:gd name="T35" fmla="*/ 153 h 374"/>
                <a:gd name="T36" fmla="*/ 105 w 646"/>
                <a:gd name="T37" fmla="*/ 194 h 374"/>
                <a:gd name="T38" fmla="*/ 328 w 646"/>
                <a:gd name="T39" fmla="*/ 57 h 374"/>
                <a:gd name="T40" fmla="*/ 105 w 646"/>
                <a:gd name="T41" fmla="*/ 194 h 374"/>
                <a:gd name="T42" fmla="*/ 303 w 646"/>
                <a:gd name="T43" fmla="*/ 42 h 374"/>
                <a:gd name="T44" fmla="*/ 65 w 646"/>
                <a:gd name="T45" fmla="*/ 171 h 374"/>
                <a:gd name="T46" fmla="*/ 89 w 646"/>
                <a:gd name="T47" fmla="*/ 185 h 374"/>
                <a:gd name="T48" fmla="*/ 311 w 646"/>
                <a:gd name="T49" fmla="*/ 47 h 374"/>
                <a:gd name="T50" fmla="*/ 89 w 646"/>
                <a:gd name="T51" fmla="*/ 185 h 374"/>
                <a:gd name="T52" fmla="*/ 352 w 646"/>
                <a:gd name="T53" fmla="*/ 71 h 374"/>
                <a:gd name="T54" fmla="*/ 114 w 646"/>
                <a:gd name="T55" fmla="*/ 199 h 374"/>
                <a:gd name="T56" fmla="*/ 281 w 646"/>
                <a:gd name="T57" fmla="*/ 296 h 374"/>
                <a:gd name="T58" fmla="*/ 504 w 646"/>
                <a:gd name="T59" fmla="*/ 159 h 374"/>
                <a:gd name="T60" fmla="*/ 281 w 646"/>
                <a:gd name="T61" fmla="*/ 296 h 374"/>
                <a:gd name="T62" fmla="*/ 490 w 646"/>
                <a:gd name="T63" fmla="*/ 151 h 374"/>
                <a:gd name="T64" fmla="*/ 252 w 646"/>
                <a:gd name="T65" fmla="*/ 279 h 374"/>
                <a:gd name="T66" fmla="*/ 237 w 646"/>
                <a:gd name="T67" fmla="*/ 270 h 374"/>
                <a:gd name="T68" fmla="*/ 459 w 646"/>
                <a:gd name="T69" fmla="*/ 133 h 374"/>
                <a:gd name="T70" fmla="*/ 237 w 646"/>
                <a:gd name="T71" fmla="*/ 270 h 374"/>
                <a:gd name="T72" fmla="*/ 596 w 646"/>
                <a:gd name="T73" fmla="*/ 212 h 374"/>
                <a:gd name="T74" fmla="*/ 499 w 646"/>
                <a:gd name="T75" fmla="*/ 181 h 374"/>
                <a:gd name="T76" fmla="*/ 526 w 646"/>
                <a:gd name="T77" fmla="*/ 252 h 374"/>
                <a:gd name="T78" fmla="*/ 491 w 646"/>
                <a:gd name="T79" fmla="*/ 207 h 374"/>
                <a:gd name="T80" fmla="*/ 526 w 646"/>
                <a:gd name="T81" fmla="*/ 252 h 374"/>
                <a:gd name="T82" fmla="*/ 572 w 646"/>
                <a:gd name="T83" fmla="*/ 226 h 374"/>
                <a:gd name="T84" fmla="*/ 512 w 646"/>
                <a:gd name="T85" fmla="*/ 216 h 374"/>
                <a:gd name="T86" fmla="*/ 342 w 646"/>
                <a:gd name="T87" fmla="*/ 318 h 374"/>
                <a:gd name="T88" fmla="*/ 443 w 646"/>
                <a:gd name="T89" fmla="*/ 251 h 374"/>
                <a:gd name="T90" fmla="*/ 342 w 646"/>
                <a:gd name="T91" fmla="*/ 318 h 374"/>
                <a:gd name="T92" fmla="*/ 432 w 646"/>
                <a:gd name="T93" fmla="*/ 245 h 374"/>
                <a:gd name="T94" fmla="*/ 317 w 646"/>
                <a:gd name="T95" fmla="*/ 303 h 374"/>
                <a:gd name="T96" fmla="*/ 360 w 646"/>
                <a:gd name="T97" fmla="*/ 328 h 374"/>
                <a:gd name="T98" fmla="*/ 461 w 646"/>
                <a:gd name="T99" fmla="*/ 262 h 374"/>
                <a:gd name="T100" fmla="*/ 360 w 646"/>
                <a:gd name="T101" fmla="*/ 328 h 374"/>
                <a:gd name="T102" fmla="*/ 484 w 646"/>
                <a:gd name="T103" fmla="*/ 275 h 374"/>
                <a:gd name="T104" fmla="*/ 368 w 646"/>
                <a:gd name="T105" fmla="*/ 333 h 374"/>
                <a:gd name="T106" fmla="*/ 502 w 646"/>
                <a:gd name="T107" fmla="*/ 266 h 374"/>
                <a:gd name="T108" fmla="*/ 495 w 646"/>
                <a:gd name="T109" fmla="*/ 237 h 374"/>
                <a:gd name="T110" fmla="*/ 502 w 646"/>
                <a:gd name="T111" fmla="*/ 26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6" h="374">
                  <a:moveTo>
                    <a:pt x="646" y="219"/>
                  </a:moveTo>
                  <a:cubicBezTo>
                    <a:pt x="378" y="374"/>
                    <a:pt x="378" y="374"/>
                    <a:pt x="378" y="37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646" y="219"/>
                    <a:pt x="646" y="219"/>
                    <a:pt x="646" y="219"/>
                  </a:cubicBezTo>
                  <a:moveTo>
                    <a:pt x="323" y="149"/>
                  </a:moveTo>
                  <a:cubicBezTo>
                    <a:pt x="314" y="143"/>
                    <a:pt x="302" y="141"/>
                    <a:pt x="290" y="141"/>
                  </a:cubicBezTo>
                  <a:cubicBezTo>
                    <a:pt x="277" y="141"/>
                    <a:pt x="265" y="143"/>
                    <a:pt x="257" y="149"/>
                  </a:cubicBezTo>
                  <a:cubicBezTo>
                    <a:pt x="248" y="154"/>
                    <a:pt x="243" y="160"/>
                    <a:pt x="243" y="167"/>
                  </a:cubicBezTo>
                  <a:cubicBezTo>
                    <a:pt x="242" y="174"/>
                    <a:pt x="247" y="182"/>
                    <a:pt x="256" y="187"/>
                  </a:cubicBezTo>
                  <a:cubicBezTo>
                    <a:pt x="265" y="192"/>
                    <a:pt x="277" y="195"/>
                    <a:pt x="289" y="195"/>
                  </a:cubicBezTo>
                  <a:cubicBezTo>
                    <a:pt x="302" y="195"/>
                    <a:pt x="314" y="192"/>
                    <a:pt x="322" y="187"/>
                  </a:cubicBezTo>
                  <a:cubicBezTo>
                    <a:pt x="331" y="182"/>
                    <a:pt x="336" y="175"/>
                    <a:pt x="336" y="168"/>
                  </a:cubicBezTo>
                  <a:cubicBezTo>
                    <a:pt x="336" y="160"/>
                    <a:pt x="331" y="154"/>
                    <a:pt x="323" y="149"/>
                  </a:cubicBezTo>
                  <a:moveTo>
                    <a:pt x="245" y="193"/>
                  </a:moveTo>
                  <a:cubicBezTo>
                    <a:pt x="236" y="188"/>
                    <a:pt x="224" y="186"/>
                    <a:pt x="212" y="186"/>
                  </a:cubicBezTo>
                  <a:cubicBezTo>
                    <a:pt x="200" y="186"/>
                    <a:pt x="188" y="188"/>
                    <a:pt x="179" y="193"/>
                  </a:cubicBezTo>
                  <a:cubicBezTo>
                    <a:pt x="170" y="198"/>
                    <a:pt x="166" y="205"/>
                    <a:pt x="165" y="212"/>
                  </a:cubicBezTo>
                  <a:cubicBezTo>
                    <a:pt x="165" y="219"/>
                    <a:pt x="170" y="226"/>
                    <a:pt x="179" y="232"/>
                  </a:cubicBezTo>
                  <a:cubicBezTo>
                    <a:pt x="187" y="237"/>
                    <a:pt x="199" y="240"/>
                    <a:pt x="212" y="240"/>
                  </a:cubicBezTo>
                  <a:cubicBezTo>
                    <a:pt x="224" y="240"/>
                    <a:pt x="236" y="237"/>
                    <a:pt x="245" y="232"/>
                  </a:cubicBezTo>
                  <a:cubicBezTo>
                    <a:pt x="254" y="227"/>
                    <a:pt x="258" y="220"/>
                    <a:pt x="258" y="213"/>
                  </a:cubicBezTo>
                  <a:cubicBezTo>
                    <a:pt x="259" y="205"/>
                    <a:pt x="254" y="199"/>
                    <a:pt x="245" y="193"/>
                  </a:cubicBezTo>
                  <a:moveTo>
                    <a:pt x="400" y="104"/>
                  </a:moveTo>
                  <a:cubicBezTo>
                    <a:pt x="391" y="99"/>
                    <a:pt x="380" y="96"/>
                    <a:pt x="367" y="96"/>
                  </a:cubicBezTo>
                  <a:cubicBezTo>
                    <a:pt x="355" y="96"/>
                    <a:pt x="343" y="99"/>
                    <a:pt x="334" y="104"/>
                  </a:cubicBezTo>
                  <a:cubicBezTo>
                    <a:pt x="326" y="109"/>
                    <a:pt x="321" y="115"/>
                    <a:pt x="320" y="122"/>
                  </a:cubicBezTo>
                  <a:cubicBezTo>
                    <a:pt x="320" y="130"/>
                    <a:pt x="325" y="137"/>
                    <a:pt x="334" y="142"/>
                  </a:cubicBezTo>
                  <a:cubicBezTo>
                    <a:pt x="343" y="147"/>
                    <a:pt x="355" y="150"/>
                    <a:pt x="367" y="150"/>
                  </a:cubicBezTo>
                  <a:cubicBezTo>
                    <a:pt x="379" y="150"/>
                    <a:pt x="391" y="147"/>
                    <a:pt x="400" y="142"/>
                  </a:cubicBezTo>
                  <a:cubicBezTo>
                    <a:pt x="409" y="137"/>
                    <a:pt x="414" y="130"/>
                    <a:pt x="414" y="123"/>
                  </a:cubicBezTo>
                  <a:cubicBezTo>
                    <a:pt x="414" y="116"/>
                    <a:pt x="409" y="109"/>
                    <a:pt x="400" y="104"/>
                  </a:cubicBezTo>
                  <a:moveTo>
                    <a:pt x="52" y="163"/>
                  </a:moveTo>
                  <a:cubicBezTo>
                    <a:pt x="281" y="30"/>
                    <a:pt x="281" y="30"/>
                    <a:pt x="281" y="30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52" y="163"/>
                    <a:pt x="52" y="163"/>
                    <a:pt x="52" y="163"/>
                  </a:cubicBezTo>
                  <a:moveTo>
                    <a:pt x="105" y="194"/>
                  </a:moveTo>
                  <a:cubicBezTo>
                    <a:pt x="335" y="61"/>
                    <a:pt x="335" y="61"/>
                    <a:pt x="335" y="61"/>
                  </a:cubicBezTo>
                  <a:cubicBezTo>
                    <a:pt x="328" y="57"/>
                    <a:pt x="328" y="57"/>
                    <a:pt x="328" y="57"/>
                  </a:cubicBezTo>
                  <a:cubicBezTo>
                    <a:pt x="98" y="190"/>
                    <a:pt x="98" y="190"/>
                    <a:pt x="98" y="190"/>
                  </a:cubicBezTo>
                  <a:cubicBezTo>
                    <a:pt x="105" y="194"/>
                    <a:pt x="105" y="194"/>
                    <a:pt x="105" y="194"/>
                  </a:cubicBezTo>
                  <a:moveTo>
                    <a:pt x="73" y="175"/>
                  </a:moveTo>
                  <a:cubicBezTo>
                    <a:pt x="303" y="42"/>
                    <a:pt x="303" y="42"/>
                    <a:pt x="303" y="42"/>
                  </a:cubicBezTo>
                  <a:cubicBezTo>
                    <a:pt x="295" y="38"/>
                    <a:pt x="295" y="38"/>
                    <a:pt x="295" y="38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73" y="175"/>
                    <a:pt x="73" y="175"/>
                    <a:pt x="73" y="175"/>
                  </a:cubicBezTo>
                  <a:moveTo>
                    <a:pt x="89" y="185"/>
                  </a:moveTo>
                  <a:cubicBezTo>
                    <a:pt x="319" y="52"/>
                    <a:pt x="319" y="52"/>
                    <a:pt x="319" y="52"/>
                  </a:cubicBezTo>
                  <a:cubicBezTo>
                    <a:pt x="311" y="47"/>
                    <a:pt x="311" y="47"/>
                    <a:pt x="311" y="47"/>
                  </a:cubicBezTo>
                  <a:cubicBezTo>
                    <a:pt x="82" y="180"/>
                    <a:pt x="82" y="180"/>
                    <a:pt x="82" y="180"/>
                  </a:cubicBezTo>
                  <a:cubicBezTo>
                    <a:pt x="89" y="185"/>
                    <a:pt x="89" y="185"/>
                    <a:pt x="89" y="185"/>
                  </a:cubicBezTo>
                  <a:moveTo>
                    <a:pt x="122" y="204"/>
                  </a:moveTo>
                  <a:cubicBezTo>
                    <a:pt x="352" y="71"/>
                    <a:pt x="352" y="71"/>
                    <a:pt x="352" y="71"/>
                  </a:cubicBezTo>
                  <a:cubicBezTo>
                    <a:pt x="344" y="66"/>
                    <a:pt x="344" y="66"/>
                    <a:pt x="344" y="66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122" y="204"/>
                    <a:pt x="122" y="204"/>
                    <a:pt x="122" y="204"/>
                  </a:cubicBezTo>
                  <a:moveTo>
                    <a:pt x="281" y="296"/>
                  </a:moveTo>
                  <a:cubicBezTo>
                    <a:pt x="511" y="164"/>
                    <a:pt x="511" y="164"/>
                    <a:pt x="511" y="164"/>
                  </a:cubicBezTo>
                  <a:cubicBezTo>
                    <a:pt x="504" y="159"/>
                    <a:pt x="504" y="159"/>
                    <a:pt x="504" y="159"/>
                  </a:cubicBezTo>
                  <a:cubicBezTo>
                    <a:pt x="274" y="292"/>
                    <a:pt x="274" y="292"/>
                    <a:pt x="274" y="292"/>
                  </a:cubicBezTo>
                  <a:cubicBezTo>
                    <a:pt x="281" y="296"/>
                    <a:pt x="281" y="296"/>
                    <a:pt x="281" y="296"/>
                  </a:cubicBezTo>
                  <a:moveTo>
                    <a:pt x="260" y="284"/>
                  </a:moveTo>
                  <a:cubicBezTo>
                    <a:pt x="490" y="151"/>
                    <a:pt x="490" y="151"/>
                    <a:pt x="490" y="151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252" y="279"/>
                    <a:pt x="252" y="279"/>
                    <a:pt x="252" y="279"/>
                  </a:cubicBezTo>
                  <a:cubicBezTo>
                    <a:pt x="260" y="284"/>
                    <a:pt x="260" y="284"/>
                    <a:pt x="260" y="284"/>
                  </a:cubicBezTo>
                  <a:moveTo>
                    <a:pt x="237" y="270"/>
                  </a:moveTo>
                  <a:cubicBezTo>
                    <a:pt x="467" y="138"/>
                    <a:pt x="467" y="138"/>
                    <a:pt x="467" y="138"/>
                  </a:cubicBezTo>
                  <a:cubicBezTo>
                    <a:pt x="459" y="133"/>
                    <a:pt x="459" y="133"/>
                    <a:pt x="459" y="133"/>
                  </a:cubicBezTo>
                  <a:cubicBezTo>
                    <a:pt x="229" y="266"/>
                    <a:pt x="229" y="266"/>
                    <a:pt x="229" y="266"/>
                  </a:cubicBezTo>
                  <a:cubicBezTo>
                    <a:pt x="237" y="270"/>
                    <a:pt x="237" y="270"/>
                    <a:pt x="237" y="270"/>
                  </a:cubicBezTo>
                  <a:moveTo>
                    <a:pt x="574" y="225"/>
                  </a:moveTo>
                  <a:cubicBezTo>
                    <a:pt x="596" y="212"/>
                    <a:pt x="596" y="212"/>
                    <a:pt x="596" y="212"/>
                  </a:cubicBezTo>
                  <a:cubicBezTo>
                    <a:pt x="520" y="168"/>
                    <a:pt x="520" y="168"/>
                    <a:pt x="520" y="168"/>
                  </a:cubicBezTo>
                  <a:cubicBezTo>
                    <a:pt x="499" y="181"/>
                    <a:pt x="499" y="181"/>
                    <a:pt x="499" y="181"/>
                  </a:cubicBezTo>
                  <a:cubicBezTo>
                    <a:pt x="574" y="225"/>
                    <a:pt x="574" y="225"/>
                    <a:pt x="574" y="225"/>
                  </a:cubicBezTo>
                  <a:moveTo>
                    <a:pt x="526" y="252"/>
                  </a:moveTo>
                  <a:cubicBezTo>
                    <a:pt x="548" y="240"/>
                    <a:pt x="548" y="240"/>
                    <a:pt x="548" y="240"/>
                  </a:cubicBezTo>
                  <a:cubicBezTo>
                    <a:pt x="491" y="207"/>
                    <a:pt x="491" y="207"/>
                    <a:pt x="491" y="207"/>
                  </a:cubicBezTo>
                  <a:cubicBezTo>
                    <a:pt x="469" y="219"/>
                    <a:pt x="469" y="219"/>
                    <a:pt x="469" y="219"/>
                  </a:cubicBezTo>
                  <a:cubicBezTo>
                    <a:pt x="526" y="252"/>
                    <a:pt x="526" y="252"/>
                    <a:pt x="526" y="252"/>
                  </a:cubicBezTo>
                  <a:moveTo>
                    <a:pt x="550" y="239"/>
                  </a:moveTo>
                  <a:cubicBezTo>
                    <a:pt x="572" y="226"/>
                    <a:pt x="572" y="226"/>
                    <a:pt x="572" y="226"/>
                  </a:cubicBezTo>
                  <a:cubicBezTo>
                    <a:pt x="533" y="204"/>
                    <a:pt x="533" y="204"/>
                    <a:pt x="533" y="204"/>
                  </a:cubicBezTo>
                  <a:cubicBezTo>
                    <a:pt x="512" y="216"/>
                    <a:pt x="512" y="216"/>
                    <a:pt x="512" y="216"/>
                  </a:cubicBezTo>
                  <a:cubicBezTo>
                    <a:pt x="550" y="239"/>
                    <a:pt x="550" y="239"/>
                    <a:pt x="550" y="239"/>
                  </a:cubicBezTo>
                  <a:moveTo>
                    <a:pt x="342" y="318"/>
                  </a:moveTo>
                  <a:cubicBezTo>
                    <a:pt x="450" y="255"/>
                    <a:pt x="450" y="255"/>
                    <a:pt x="450" y="255"/>
                  </a:cubicBezTo>
                  <a:cubicBezTo>
                    <a:pt x="443" y="251"/>
                    <a:pt x="443" y="251"/>
                    <a:pt x="443" y="251"/>
                  </a:cubicBezTo>
                  <a:cubicBezTo>
                    <a:pt x="335" y="313"/>
                    <a:pt x="335" y="313"/>
                    <a:pt x="335" y="313"/>
                  </a:cubicBezTo>
                  <a:cubicBezTo>
                    <a:pt x="342" y="318"/>
                    <a:pt x="342" y="318"/>
                    <a:pt x="342" y="318"/>
                  </a:cubicBezTo>
                  <a:moveTo>
                    <a:pt x="324" y="307"/>
                  </a:moveTo>
                  <a:cubicBezTo>
                    <a:pt x="432" y="245"/>
                    <a:pt x="432" y="245"/>
                    <a:pt x="432" y="245"/>
                  </a:cubicBezTo>
                  <a:cubicBezTo>
                    <a:pt x="425" y="241"/>
                    <a:pt x="425" y="241"/>
                    <a:pt x="425" y="241"/>
                  </a:cubicBezTo>
                  <a:cubicBezTo>
                    <a:pt x="317" y="303"/>
                    <a:pt x="317" y="303"/>
                    <a:pt x="317" y="303"/>
                  </a:cubicBezTo>
                  <a:cubicBezTo>
                    <a:pt x="324" y="307"/>
                    <a:pt x="324" y="307"/>
                    <a:pt x="324" y="307"/>
                  </a:cubicBezTo>
                  <a:moveTo>
                    <a:pt x="360" y="328"/>
                  </a:moveTo>
                  <a:cubicBezTo>
                    <a:pt x="468" y="266"/>
                    <a:pt x="468" y="266"/>
                    <a:pt x="468" y="266"/>
                  </a:cubicBezTo>
                  <a:cubicBezTo>
                    <a:pt x="461" y="262"/>
                    <a:pt x="461" y="262"/>
                    <a:pt x="461" y="262"/>
                  </a:cubicBezTo>
                  <a:cubicBezTo>
                    <a:pt x="353" y="324"/>
                    <a:pt x="353" y="324"/>
                    <a:pt x="353" y="324"/>
                  </a:cubicBezTo>
                  <a:cubicBezTo>
                    <a:pt x="360" y="328"/>
                    <a:pt x="360" y="328"/>
                    <a:pt x="360" y="328"/>
                  </a:cubicBezTo>
                  <a:moveTo>
                    <a:pt x="376" y="337"/>
                  </a:moveTo>
                  <a:cubicBezTo>
                    <a:pt x="484" y="275"/>
                    <a:pt x="484" y="275"/>
                    <a:pt x="484" y="275"/>
                  </a:cubicBezTo>
                  <a:cubicBezTo>
                    <a:pt x="476" y="270"/>
                    <a:pt x="476" y="270"/>
                    <a:pt x="476" y="270"/>
                  </a:cubicBezTo>
                  <a:cubicBezTo>
                    <a:pt x="368" y="333"/>
                    <a:pt x="368" y="333"/>
                    <a:pt x="368" y="333"/>
                  </a:cubicBezTo>
                  <a:cubicBezTo>
                    <a:pt x="376" y="337"/>
                    <a:pt x="376" y="337"/>
                    <a:pt x="376" y="337"/>
                  </a:cubicBezTo>
                  <a:moveTo>
                    <a:pt x="502" y="266"/>
                  </a:moveTo>
                  <a:cubicBezTo>
                    <a:pt x="524" y="254"/>
                    <a:pt x="524" y="254"/>
                    <a:pt x="524" y="254"/>
                  </a:cubicBezTo>
                  <a:cubicBezTo>
                    <a:pt x="495" y="237"/>
                    <a:pt x="495" y="237"/>
                    <a:pt x="495" y="237"/>
                  </a:cubicBezTo>
                  <a:cubicBezTo>
                    <a:pt x="473" y="249"/>
                    <a:pt x="473" y="249"/>
                    <a:pt x="473" y="249"/>
                  </a:cubicBezTo>
                  <a:cubicBezTo>
                    <a:pt x="502" y="266"/>
                    <a:pt x="502" y="266"/>
                    <a:pt x="502" y="266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2" name="iśḷíḋe">
              <a:extLst>
                <a:ext uri="{FF2B5EF4-FFF2-40B4-BE49-F238E27FC236}">
                  <a16:creationId xmlns:a16="http://schemas.microsoft.com/office/drawing/2014/main" xmlns="" id="{16AD1EB4-ADEA-431E-B007-04566F996865}"/>
                </a:ext>
              </a:extLst>
            </p:cNvPr>
            <p:cNvSpPr/>
            <p:nvPr userDrawn="1"/>
          </p:nvSpPr>
          <p:spPr bwMode="auto">
            <a:xfrm>
              <a:off x="1829706" y="4402138"/>
              <a:ext cx="69850" cy="123825"/>
            </a:xfrm>
            <a:custGeom>
              <a:avLst/>
              <a:gdLst>
                <a:gd name="T0" fmla="*/ 14 w 21"/>
                <a:gd name="T1" fmla="*/ 0 h 38"/>
                <a:gd name="T2" fmla="*/ 0 w 21"/>
                <a:gd name="T3" fmla="*/ 18 h 38"/>
                <a:gd name="T4" fmla="*/ 14 w 21"/>
                <a:gd name="T5" fmla="*/ 38 h 38"/>
                <a:gd name="T6" fmla="*/ 20 w 21"/>
                <a:gd name="T7" fmla="*/ 34 h 38"/>
                <a:gd name="T8" fmla="*/ 9 w 21"/>
                <a:gd name="T9" fmla="*/ 18 h 38"/>
                <a:gd name="T10" fmla="*/ 21 w 21"/>
                <a:gd name="T11" fmla="*/ 3 h 38"/>
                <a:gd name="T12" fmla="*/ 14 w 21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8">
                  <a:moveTo>
                    <a:pt x="14" y="0"/>
                  </a:moveTo>
                  <a:cubicBezTo>
                    <a:pt x="6" y="5"/>
                    <a:pt x="1" y="11"/>
                    <a:pt x="0" y="18"/>
                  </a:cubicBezTo>
                  <a:cubicBezTo>
                    <a:pt x="0" y="26"/>
                    <a:pt x="5" y="33"/>
                    <a:pt x="14" y="38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3" y="30"/>
                    <a:pt x="9" y="24"/>
                    <a:pt x="9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3" name="îŝḷíḍe">
              <a:extLst>
                <a:ext uri="{FF2B5EF4-FFF2-40B4-BE49-F238E27FC236}">
                  <a16:creationId xmlns:a16="http://schemas.microsoft.com/office/drawing/2014/main" xmlns="" id="{C72FA68D-6282-44AF-922F-E7528F394C6D}"/>
                </a:ext>
              </a:extLst>
            </p:cNvPr>
            <p:cNvSpPr/>
            <p:nvPr userDrawn="1"/>
          </p:nvSpPr>
          <p:spPr bwMode="auto">
            <a:xfrm>
              <a:off x="1859868" y="4391025"/>
              <a:ext cx="250825" cy="146050"/>
            </a:xfrm>
            <a:custGeom>
              <a:avLst/>
              <a:gdLst>
                <a:gd name="T0" fmla="*/ 76 w 76"/>
                <a:gd name="T1" fmla="*/ 22 h 44"/>
                <a:gd name="T2" fmla="*/ 65 w 76"/>
                <a:gd name="T3" fmla="*/ 6 h 44"/>
                <a:gd name="T4" fmla="*/ 38 w 76"/>
                <a:gd name="T5" fmla="*/ 0 h 44"/>
                <a:gd name="T6" fmla="*/ 12 w 76"/>
                <a:gd name="T7" fmla="*/ 6 h 44"/>
                <a:gd name="T8" fmla="*/ 0 w 76"/>
                <a:gd name="T9" fmla="*/ 21 h 44"/>
                <a:gd name="T10" fmla="*/ 11 w 76"/>
                <a:gd name="T11" fmla="*/ 37 h 44"/>
                <a:gd name="T12" fmla="*/ 38 w 76"/>
                <a:gd name="T13" fmla="*/ 44 h 44"/>
                <a:gd name="T14" fmla="*/ 65 w 76"/>
                <a:gd name="T15" fmla="*/ 37 h 44"/>
                <a:gd name="T16" fmla="*/ 76 w 76"/>
                <a:gd name="T17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76" y="22"/>
                  </a:moveTo>
                  <a:cubicBezTo>
                    <a:pt x="76" y="16"/>
                    <a:pt x="72" y="11"/>
                    <a:pt x="65" y="6"/>
                  </a:cubicBezTo>
                  <a:cubicBezTo>
                    <a:pt x="58" y="2"/>
                    <a:pt x="48" y="0"/>
                    <a:pt x="38" y="0"/>
                  </a:cubicBezTo>
                  <a:cubicBezTo>
                    <a:pt x="28" y="0"/>
                    <a:pt x="19" y="2"/>
                    <a:pt x="12" y="6"/>
                  </a:cubicBezTo>
                  <a:cubicBezTo>
                    <a:pt x="5" y="10"/>
                    <a:pt x="1" y="16"/>
                    <a:pt x="0" y="21"/>
                  </a:cubicBezTo>
                  <a:cubicBezTo>
                    <a:pt x="0" y="27"/>
                    <a:pt x="4" y="33"/>
                    <a:pt x="11" y="37"/>
                  </a:cubicBezTo>
                  <a:cubicBezTo>
                    <a:pt x="18" y="41"/>
                    <a:pt x="28" y="44"/>
                    <a:pt x="38" y="44"/>
                  </a:cubicBezTo>
                  <a:cubicBezTo>
                    <a:pt x="48" y="44"/>
                    <a:pt x="58" y="41"/>
                    <a:pt x="65" y="37"/>
                  </a:cubicBezTo>
                  <a:cubicBezTo>
                    <a:pt x="72" y="33"/>
                    <a:pt x="76" y="28"/>
                    <a:pt x="76" y="22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4" name="ïs1îḋé">
              <a:extLst>
                <a:ext uri="{FF2B5EF4-FFF2-40B4-BE49-F238E27FC236}">
                  <a16:creationId xmlns:a16="http://schemas.microsoft.com/office/drawing/2014/main" xmlns="" id="{AE6E7B74-89EA-4663-B271-FD5BFF64E6FA}"/>
                </a:ext>
              </a:extLst>
            </p:cNvPr>
            <p:cNvSpPr/>
            <p:nvPr userDrawn="1"/>
          </p:nvSpPr>
          <p:spPr bwMode="auto">
            <a:xfrm>
              <a:off x="988331" y="4183063"/>
              <a:ext cx="785813" cy="452438"/>
            </a:xfrm>
            <a:custGeom>
              <a:avLst/>
              <a:gdLst>
                <a:gd name="T0" fmla="*/ 0 w 495"/>
                <a:gd name="T1" fmla="*/ 277 h 285"/>
                <a:gd name="T2" fmla="*/ 17 w 495"/>
                <a:gd name="T3" fmla="*/ 285 h 285"/>
                <a:gd name="T4" fmla="*/ 495 w 495"/>
                <a:gd name="T5" fmla="*/ 9 h 285"/>
                <a:gd name="T6" fmla="*/ 478 w 495"/>
                <a:gd name="T7" fmla="*/ 0 h 285"/>
                <a:gd name="T8" fmla="*/ 0 w 495"/>
                <a:gd name="T9" fmla="*/ 27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5">
                  <a:moveTo>
                    <a:pt x="0" y="277"/>
                  </a:moveTo>
                  <a:lnTo>
                    <a:pt x="17" y="285"/>
                  </a:lnTo>
                  <a:lnTo>
                    <a:pt x="495" y="9"/>
                  </a:lnTo>
                  <a:lnTo>
                    <a:pt x="478" y="0"/>
                  </a:lnTo>
                  <a:lnTo>
                    <a:pt x="0" y="27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5" name="íṣľídè">
              <a:extLst>
                <a:ext uri="{FF2B5EF4-FFF2-40B4-BE49-F238E27FC236}">
                  <a16:creationId xmlns:a16="http://schemas.microsoft.com/office/drawing/2014/main" xmlns="" id="{D9087482-A264-4311-ADCC-A37B974DC28B}"/>
                </a:ext>
              </a:extLst>
            </p:cNvPr>
            <p:cNvSpPr/>
            <p:nvPr userDrawn="1"/>
          </p:nvSpPr>
          <p:spPr bwMode="auto">
            <a:xfrm>
              <a:off x="1318531" y="4694238"/>
              <a:ext cx="311150" cy="155575"/>
            </a:xfrm>
            <a:custGeom>
              <a:avLst/>
              <a:gdLst>
                <a:gd name="T0" fmla="*/ 14 w 94"/>
                <a:gd name="T1" fmla="*/ 0 h 47"/>
                <a:gd name="T2" fmla="*/ 0 w 94"/>
                <a:gd name="T3" fmla="*/ 19 h 47"/>
                <a:gd name="T4" fmla="*/ 14 w 94"/>
                <a:gd name="T5" fmla="*/ 39 h 47"/>
                <a:gd name="T6" fmla="*/ 47 w 94"/>
                <a:gd name="T7" fmla="*/ 47 h 47"/>
                <a:gd name="T8" fmla="*/ 80 w 94"/>
                <a:gd name="T9" fmla="*/ 39 h 47"/>
                <a:gd name="T10" fmla="*/ 93 w 94"/>
                <a:gd name="T11" fmla="*/ 20 h 47"/>
                <a:gd name="T12" fmla="*/ 80 w 94"/>
                <a:gd name="T13" fmla="*/ 0 h 47"/>
                <a:gd name="T14" fmla="*/ 74 w 94"/>
                <a:gd name="T15" fmla="*/ 4 h 47"/>
                <a:gd name="T16" fmla="*/ 85 w 94"/>
                <a:gd name="T17" fmla="*/ 20 h 47"/>
                <a:gd name="T18" fmla="*/ 73 w 94"/>
                <a:gd name="T19" fmla="*/ 35 h 47"/>
                <a:gd name="T20" fmla="*/ 47 w 94"/>
                <a:gd name="T21" fmla="*/ 41 h 47"/>
                <a:gd name="T22" fmla="*/ 20 w 94"/>
                <a:gd name="T23" fmla="*/ 35 h 47"/>
                <a:gd name="T24" fmla="*/ 9 w 94"/>
                <a:gd name="T25" fmla="*/ 19 h 47"/>
                <a:gd name="T26" fmla="*/ 20 w 94"/>
                <a:gd name="T27" fmla="*/ 4 h 47"/>
                <a:gd name="T28" fmla="*/ 14 w 94"/>
                <a:gd name="T2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47">
                  <a:moveTo>
                    <a:pt x="14" y="0"/>
                  </a:moveTo>
                  <a:cubicBezTo>
                    <a:pt x="5" y="5"/>
                    <a:pt x="1" y="12"/>
                    <a:pt x="0" y="19"/>
                  </a:cubicBezTo>
                  <a:cubicBezTo>
                    <a:pt x="0" y="26"/>
                    <a:pt x="5" y="33"/>
                    <a:pt x="14" y="39"/>
                  </a:cubicBezTo>
                  <a:cubicBezTo>
                    <a:pt x="22" y="44"/>
                    <a:pt x="34" y="47"/>
                    <a:pt x="47" y="47"/>
                  </a:cubicBezTo>
                  <a:cubicBezTo>
                    <a:pt x="59" y="47"/>
                    <a:pt x="71" y="44"/>
                    <a:pt x="80" y="39"/>
                  </a:cubicBezTo>
                  <a:cubicBezTo>
                    <a:pt x="89" y="34"/>
                    <a:pt x="93" y="27"/>
                    <a:pt x="93" y="20"/>
                  </a:cubicBezTo>
                  <a:cubicBezTo>
                    <a:pt x="94" y="12"/>
                    <a:pt x="89" y="6"/>
                    <a:pt x="80" y="0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81" y="8"/>
                    <a:pt x="85" y="14"/>
                    <a:pt x="85" y="20"/>
                  </a:cubicBezTo>
                  <a:cubicBezTo>
                    <a:pt x="85" y="25"/>
                    <a:pt x="81" y="31"/>
                    <a:pt x="73" y="35"/>
                  </a:cubicBezTo>
                  <a:cubicBezTo>
                    <a:pt x="66" y="39"/>
                    <a:pt x="57" y="41"/>
                    <a:pt x="47" y="41"/>
                  </a:cubicBezTo>
                  <a:cubicBezTo>
                    <a:pt x="37" y="41"/>
                    <a:pt x="27" y="39"/>
                    <a:pt x="20" y="35"/>
                  </a:cubicBezTo>
                  <a:cubicBezTo>
                    <a:pt x="13" y="31"/>
                    <a:pt x="9" y="25"/>
                    <a:pt x="9" y="19"/>
                  </a:cubicBezTo>
                  <a:cubicBezTo>
                    <a:pt x="9" y="13"/>
                    <a:pt x="13" y="8"/>
                    <a:pt x="20" y="4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6" name="iṥļïḑé">
              <a:extLst>
                <a:ext uri="{FF2B5EF4-FFF2-40B4-BE49-F238E27FC236}">
                  <a16:creationId xmlns:a16="http://schemas.microsoft.com/office/drawing/2014/main" xmlns="" id="{9028E693-A12E-4659-985A-2090EB611B8A}"/>
                </a:ext>
              </a:extLst>
            </p:cNvPr>
            <p:cNvSpPr/>
            <p:nvPr userDrawn="1"/>
          </p:nvSpPr>
          <p:spPr bwMode="auto">
            <a:xfrm>
              <a:off x="2321831" y="4740275"/>
              <a:ext cx="260350" cy="149225"/>
            </a:xfrm>
            <a:custGeom>
              <a:avLst/>
              <a:gdLst>
                <a:gd name="T0" fmla="*/ 0 w 164"/>
                <a:gd name="T1" fmla="*/ 25 h 94"/>
                <a:gd name="T2" fmla="*/ 119 w 164"/>
                <a:gd name="T3" fmla="*/ 94 h 94"/>
                <a:gd name="T4" fmla="*/ 164 w 164"/>
                <a:gd name="T5" fmla="*/ 69 h 94"/>
                <a:gd name="T6" fmla="*/ 46 w 164"/>
                <a:gd name="T7" fmla="*/ 0 h 94"/>
                <a:gd name="T8" fmla="*/ 0 w 164"/>
                <a:gd name="T9" fmla="*/ 2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94">
                  <a:moveTo>
                    <a:pt x="0" y="25"/>
                  </a:moveTo>
                  <a:lnTo>
                    <a:pt x="119" y="94"/>
                  </a:lnTo>
                  <a:lnTo>
                    <a:pt x="164" y="69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7" name="işḷîḓê">
              <a:extLst>
                <a:ext uri="{FF2B5EF4-FFF2-40B4-BE49-F238E27FC236}">
                  <a16:creationId xmlns:a16="http://schemas.microsoft.com/office/drawing/2014/main" xmlns="" id="{ED4F16E1-1913-4A1D-AE2F-6312792C7EC9}"/>
                </a:ext>
              </a:extLst>
            </p:cNvPr>
            <p:cNvSpPr/>
            <p:nvPr userDrawn="1"/>
          </p:nvSpPr>
          <p:spPr bwMode="auto">
            <a:xfrm>
              <a:off x="1529668" y="4497388"/>
              <a:ext cx="785813" cy="450850"/>
            </a:xfrm>
            <a:custGeom>
              <a:avLst/>
              <a:gdLst>
                <a:gd name="T0" fmla="*/ 0 w 495"/>
                <a:gd name="T1" fmla="*/ 276 h 284"/>
                <a:gd name="T2" fmla="*/ 17 w 495"/>
                <a:gd name="T3" fmla="*/ 284 h 284"/>
                <a:gd name="T4" fmla="*/ 495 w 495"/>
                <a:gd name="T5" fmla="*/ 10 h 284"/>
                <a:gd name="T6" fmla="*/ 478 w 495"/>
                <a:gd name="T7" fmla="*/ 0 h 284"/>
                <a:gd name="T8" fmla="*/ 0 w 495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6"/>
                  </a:moveTo>
                  <a:lnTo>
                    <a:pt x="17" y="284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8" name="íṣ1íḓe">
              <a:extLst>
                <a:ext uri="{FF2B5EF4-FFF2-40B4-BE49-F238E27FC236}">
                  <a16:creationId xmlns:a16="http://schemas.microsoft.com/office/drawing/2014/main" xmlns="" id="{A55DBA50-3F45-4C4A-AD51-3A641E9BB7AA}"/>
                </a:ext>
              </a:extLst>
            </p:cNvPr>
            <p:cNvSpPr/>
            <p:nvPr userDrawn="1"/>
          </p:nvSpPr>
          <p:spPr bwMode="auto">
            <a:xfrm>
              <a:off x="1728106" y="3419475"/>
              <a:ext cx="1122363" cy="800100"/>
            </a:xfrm>
            <a:custGeom>
              <a:avLst/>
              <a:gdLst>
                <a:gd name="T0" fmla="*/ 82 w 340"/>
                <a:gd name="T1" fmla="*/ 0 h 243"/>
                <a:gd name="T2" fmla="*/ 0 w 340"/>
                <a:gd name="T3" fmla="*/ 45 h 243"/>
                <a:gd name="T4" fmla="*/ 32 w 340"/>
                <a:gd name="T5" fmla="*/ 79 h 243"/>
                <a:gd name="T6" fmla="*/ 18 w 340"/>
                <a:gd name="T7" fmla="*/ 102 h 243"/>
                <a:gd name="T8" fmla="*/ 340 w 340"/>
                <a:gd name="T9" fmla="*/ 243 h 243"/>
                <a:gd name="T10" fmla="*/ 89 w 340"/>
                <a:gd name="T11" fmla="*/ 98 h 243"/>
                <a:gd name="T12" fmla="*/ 83 w 340"/>
                <a:gd name="T13" fmla="*/ 87 h 243"/>
                <a:gd name="T14" fmla="*/ 82 w 340"/>
                <a:gd name="T1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0" h="243">
                  <a:moveTo>
                    <a:pt x="82" y="0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20" y="54"/>
                    <a:pt x="32" y="66"/>
                    <a:pt x="32" y="79"/>
                  </a:cubicBezTo>
                  <a:cubicBezTo>
                    <a:pt x="32" y="87"/>
                    <a:pt x="27" y="95"/>
                    <a:pt x="18" y="102"/>
                  </a:cubicBezTo>
                  <a:cubicBezTo>
                    <a:pt x="340" y="243"/>
                    <a:pt x="340" y="243"/>
                    <a:pt x="340" y="243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5" y="95"/>
                    <a:pt x="83" y="91"/>
                    <a:pt x="83" y="87"/>
                  </a:cubicBezTo>
                  <a:cubicBezTo>
                    <a:pt x="82" y="0"/>
                    <a:pt x="82" y="0"/>
                    <a:pt x="82" y="0"/>
                  </a:cubicBezTo>
                </a:path>
              </a:pathLst>
            </a:custGeom>
            <a:solidFill>
              <a:srgbClr val="1A7CE8">
                <a:alpha val="54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9" name="îṡľíḑè">
              <a:extLst>
                <a:ext uri="{FF2B5EF4-FFF2-40B4-BE49-F238E27FC236}">
                  <a16:creationId xmlns:a16="http://schemas.microsoft.com/office/drawing/2014/main" xmlns="" id="{6A4D12EF-A3C3-48D2-A2A8-951C0E27672F}"/>
                </a:ext>
              </a:extLst>
            </p:cNvPr>
            <p:cNvSpPr/>
            <p:nvPr userDrawn="1"/>
          </p:nvSpPr>
          <p:spPr bwMode="auto">
            <a:xfrm>
              <a:off x="3817256" y="2690813"/>
              <a:ext cx="709613" cy="288925"/>
            </a:xfrm>
            <a:custGeom>
              <a:avLst/>
              <a:gdLst>
                <a:gd name="T0" fmla="*/ 107 w 215"/>
                <a:gd name="T1" fmla="*/ 0 h 88"/>
                <a:gd name="T2" fmla="*/ 0 w 215"/>
                <a:gd name="T3" fmla="*/ 44 h 88"/>
                <a:gd name="T4" fmla="*/ 0 w 215"/>
                <a:gd name="T5" fmla="*/ 49 h 88"/>
                <a:gd name="T6" fmla="*/ 60 w 215"/>
                <a:gd name="T7" fmla="*/ 83 h 88"/>
                <a:gd name="T8" fmla="*/ 107 w 215"/>
                <a:gd name="T9" fmla="*/ 88 h 88"/>
                <a:gd name="T10" fmla="*/ 215 w 215"/>
                <a:gd name="T11" fmla="*/ 44 h 88"/>
                <a:gd name="T12" fmla="*/ 107 w 215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88">
                  <a:moveTo>
                    <a:pt x="107" y="0"/>
                  </a:moveTo>
                  <a:cubicBezTo>
                    <a:pt x="48" y="0"/>
                    <a:pt x="0" y="19"/>
                    <a:pt x="0" y="44"/>
                  </a:cubicBezTo>
                  <a:cubicBezTo>
                    <a:pt x="0" y="45"/>
                    <a:pt x="0" y="47"/>
                    <a:pt x="0" y="49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74" y="86"/>
                    <a:pt x="90" y="88"/>
                    <a:pt x="107" y="88"/>
                  </a:cubicBezTo>
                  <a:cubicBezTo>
                    <a:pt x="166" y="88"/>
                    <a:pt x="215" y="68"/>
                    <a:pt x="215" y="44"/>
                  </a:cubicBezTo>
                  <a:cubicBezTo>
                    <a:pt x="215" y="19"/>
                    <a:pt x="166" y="0"/>
                    <a:pt x="107" y="0"/>
                  </a:cubicBezTo>
                </a:path>
              </a:pathLst>
            </a:custGeom>
            <a:solidFill>
              <a:srgbClr val="1A7CE8">
                <a:alpha val="54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0" name="íŝľiḓê">
              <a:extLst>
                <a:ext uri="{FF2B5EF4-FFF2-40B4-BE49-F238E27FC236}">
                  <a16:creationId xmlns:a16="http://schemas.microsoft.com/office/drawing/2014/main" xmlns="" id="{65D755AB-2408-4AB0-8C15-2032679B6FCB}"/>
                </a:ext>
              </a:extLst>
            </p:cNvPr>
            <p:cNvSpPr/>
            <p:nvPr userDrawn="1"/>
          </p:nvSpPr>
          <p:spPr bwMode="auto">
            <a:xfrm>
              <a:off x="1031193" y="3514725"/>
              <a:ext cx="755650" cy="328613"/>
            </a:xfrm>
            <a:custGeom>
              <a:avLst/>
              <a:gdLst>
                <a:gd name="T0" fmla="*/ 122 w 229"/>
                <a:gd name="T1" fmla="*/ 0 h 100"/>
                <a:gd name="T2" fmla="*/ 0 w 229"/>
                <a:gd name="T3" fmla="*/ 50 h 100"/>
                <a:gd name="T4" fmla="*/ 122 w 229"/>
                <a:gd name="T5" fmla="*/ 100 h 100"/>
                <a:gd name="T6" fmla="*/ 229 w 229"/>
                <a:gd name="T7" fmla="*/ 73 h 100"/>
                <a:gd name="T8" fmla="*/ 161 w 229"/>
                <a:gd name="T9" fmla="*/ 44 h 100"/>
                <a:gd name="T10" fmla="*/ 211 w 229"/>
                <a:gd name="T11" fmla="*/ 16 h 100"/>
                <a:gd name="T12" fmla="*/ 122 w 229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0">
                  <a:moveTo>
                    <a:pt x="122" y="0"/>
                  </a:moveTo>
                  <a:cubicBezTo>
                    <a:pt x="54" y="0"/>
                    <a:pt x="0" y="22"/>
                    <a:pt x="0" y="50"/>
                  </a:cubicBezTo>
                  <a:cubicBezTo>
                    <a:pt x="0" y="77"/>
                    <a:pt x="54" y="100"/>
                    <a:pt x="122" y="100"/>
                  </a:cubicBezTo>
                  <a:cubicBezTo>
                    <a:pt x="168" y="100"/>
                    <a:pt x="208" y="89"/>
                    <a:pt x="229" y="73"/>
                  </a:cubicBezTo>
                  <a:cubicBezTo>
                    <a:pt x="161" y="44"/>
                    <a:pt x="161" y="44"/>
                    <a:pt x="161" y="44"/>
                  </a:cubicBezTo>
                  <a:cubicBezTo>
                    <a:pt x="211" y="16"/>
                    <a:pt x="211" y="16"/>
                    <a:pt x="211" y="16"/>
                  </a:cubicBezTo>
                  <a:cubicBezTo>
                    <a:pt x="189" y="6"/>
                    <a:pt x="157" y="0"/>
                    <a:pt x="122" y="0"/>
                  </a:cubicBezTo>
                </a:path>
              </a:pathLst>
            </a:custGeom>
            <a:solidFill>
              <a:srgbClr val="1A7CE8">
                <a:alpha val="54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1" name="íṧlíḋé">
              <a:extLst>
                <a:ext uri="{FF2B5EF4-FFF2-40B4-BE49-F238E27FC236}">
                  <a16:creationId xmlns:a16="http://schemas.microsoft.com/office/drawing/2014/main" xmlns="" id="{579CC49D-E50F-4832-8E0B-8E53792C3F86}"/>
                </a:ext>
              </a:extLst>
            </p:cNvPr>
            <p:cNvSpPr/>
            <p:nvPr userDrawn="1"/>
          </p:nvSpPr>
          <p:spPr bwMode="auto">
            <a:xfrm>
              <a:off x="1563006" y="3567113"/>
              <a:ext cx="269875" cy="187325"/>
            </a:xfrm>
            <a:custGeom>
              <a:avLst/>
              <a:gdLst>
                <a:gd name="T0" fmla="*/ 50 w 82"/>
                <a:gd name="T1" fmla="*/ 0 h 57"/>
                <a:gd name="T2" fmla="*/ 0 w 82"/>
                <a:gd name="T3" fmla="*/ 28 h 57"/>
                <a:gd name="T4" fmla="*/ 68 w 82"/>
                <a:gd name="T5" fmla="*/ 57 h 57"/>
                <a:gd name="T6" fmla="*/ 82 w 82"/>
                <a:gd name="T7" fmla="*/ 34 h 57"/>
                <a:gd name="T8" fmla="*/ 50 w 82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7">
                  <a:moveTo>
                    <a:pt x="5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77" y="50"/>
                    <a:pt x="82" y="42"/>
                    <a:pt x="82" y="34"/>
                  </a:cubicBezTo>
                  <a:cubicBezTo>
                    <a:pt x="82" y="21"/>
                    <a:pt x="70" y="9"/>
                    <a:pt x="50" y="0"/>
                  </a:cubicBezTo>
                </a:path>
              </a:pathLst>
            </a:custGeom>
            <a:solidFill>
              <a:srgbClr val="8A9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2" name="íš1iḍè">
              <a:extLst>
                <a:ext uri="{FF2B5EF4-FFF2-40B4-BE49-F238E27FC236}">
                  <a16:creationId xmlns:a16="http://schemas.microsoft.com/office/drawing/2014/main" xmlns="" id="{A71658AB-45F7-4EFC-A572-4D6ED2CF94B9}"/>
                </a:ext>
              </a:extLst>
            </p:cNvPr>
            <p:cNvSpPr/>
            <p:nvPr userDrawn="1"/>
          </p:nvSpPr>
          <p:spPr bwMode="auto">
            <a:xfrm>
              <a:off x="1321706" y="3141663"/>
              <a:ext cx="495300" cy="673100"/>
            </a:xfrm>
            <a:custGeom>
              <a:avLst/>
              <a:gdLst>
                <a:gd name="T0" fmla="*/ 99 w 150"/>
                <a:gd name="T1" fmla="*/ 0 h 204"/>
                <a:gd name="T2" fmla="*/ 0 w 150"/>
                <a:gd name="T3" fmla="*/ 33 h 204"/>
                <a:gd name="T4" fmla="*/ 0 w 150"/>
                <a:gd name="T5" fmla="*/ 158 h 204"/>
                <a:gd name="T6" fmla="*/ 75 w 150"/>
                <a:gd name="T7" fmla="*/ 204 h 204"/>
                <a:gd name="T8" fmla="*/ 150 w 150"/>
                <a:gd name="T9" fmla="*/ 158 h 204"/>
                <a:gd name="T10" fmla="*/ 150 w 150"/>
                <a:gd name="T11" fmla="*/ 33 h 204"/>
                <a:gd name="T12" fmla="*/ 99 w 150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4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3" y="204"/>
                    <a:pt x="75" y="204"/>
                  </a:cubicBezTo>
                  <a:cubicBezTo>
                    <a:pt x="116" y="204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3" name="i$lídé">
              <a:extLst>
                <a:ext uri="{FF2B5EF4-FFF2-40B4-BE49-F238E27FC236}">
                  <a16:creationId xmlns:a16="http://schemas.microsoft.com/office/drawing/2014/main" xmlns="" id="{A753D9C5-97C5-4F53-B1EF-3C569AF59060}"/>
                </a:ext>
              </a:extLst>
            </p:cNvPr>
            <p:cNvSpPr/>
            <p:nvPr userDrawn="1"/>
          </p:nvSpPr>
          <p:spPr bwMode="auto">
            <a:xfrm>
              <a:off x="1321706" y="3101975"/>
              <a:ext cx="495300" cy="300038"/>
            </a:xfrm>
            <a:prstGeom prst="ellipse">
              <a:avLst/>
            </a:prstGeom>
            <a:solidFill>
              <a:srgbClr val="D3B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4" name="îsḻíḓé">
              <a:extLst>
                <a:ext uri="{FF2B5EF4-FFF2-40B4-BE49-F238E27FC236}">
                  <a16:creationId xmlns:a16="http://schemas.microsoft.com/office/drawing/2014/main" xmlns="" id="{3A3ADB74-7A3E-4516-9330-53ABA43CF3AC}"/>
                </a:ext>
              </a:extLst>
            </p:cNvPr>
            <p:cNvSpPr/>
            <p:nvPr userDrawn="1"/>
          </p:nvSpPr>
          <p:spPr bwMode="auto">
            <a:xfrm>
              <a:off x="1351868" y="3171825"/>
              <a:ext cx="431800" cy="230188"/>
            </a:xfrm>
            <a:custGeom>
              <a:avLst/>
              <a:gdLst>
                <a:gd name="T0" fmla="*/ 2 w 131"/>
                <a:gd name="T1" fmla="*/ 48 h 70"/>
                <a:gd name="T2" fmla="*/ 66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6 w 131"/>
                <a:gd name="T9" fmla="*/ 0 h 70"/>
                <a:gd name="T10" fmla="*/ 0 w 131"/>
                <a:gd name="T11" fmla="*/ 40 h 70"/>
                <a:gd name="T12" fmla="*/ 2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2" y="48"/>
                  </a:moveTo>
                  <a:cubicBezTo>
                    <a:pt x="15" y="61"/>
                    <a:pt x="39" y="70"/>
                    <a:pt x="66" y="70"/>
                  </a:cubicBezTo>
                  <a:cubicBezTo>
                    <a:pt x="93" y="70"/>
                    <a:pt x="116" y="61"/>
                    <a:pt x="129" y="48"/>
                  </a:cubicBezTo>
                  <a:cubicBezTo>
                    <a:pt x="130" y="46"/>
                    <a:pt x="131" y="43"/>
                    <a:pt x="131" y="40"/>
                  </a:cubicBezTo>
                  <a:cubicBezTo>
                    <a:pt x="131" y="18"/>
                    <a:pt x="102" y="0"/>
                    <a:pt x="66" y="0"/>
                  </a:cubicBezTo>
                  <a:cubicBezTo>
                    <a:pt x="30" y="0"/>
                    <a:pt x="0" y="18"/>
                    <a:pt x="0" y="40"/>
                  </a:cubicBezTo>
                  <a:cubicBezTo>
                    <a:pt x="0" y="43"/>
                    <a:pt x="1" y="46"/>
                    <a:pt x="2" y="48"/>
                  </a:cubicBezTo>
                  <a:close/>
                </a:path>
              </a:pathLst>
            </a:custGeom>
            <a:solidFill>
              <a:srgbClr val="752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5" name="ïŝḻiḍê">
              <a:extLst>
                <a:ext uri="{FF2B5EF4-FFF2-40B4-BE49-F238E27FC236}">
                  <a16:creationId xmlns:a16="http://schemas.microsoft.com/office/drawing/2014/main" xmlns="" id="{2C1A2F72-096E-4002-8926-9AF0B206F8EA}"/>
                </a:ext>
              </a:extLst>
            </p:cNvPr>
            <p:cNvSpPr/>
            <p:nvPr userDrawn="1"/>
          </p:nvSpPr>
          <p:spPr bwMode="auto">
            <a:xfrm>
              <a:off x="1321706" y="3101975"/>
              <a:ext cx="495300" cy="300038"/>
            </a:xfrm>
            <a:custGeom>
              <a:avLst/>
              <a:gdLst>
                <a:gd name="T0" fmla="*/ 75 w 150"/>
                <a:gd name="T1" fmla="*/ 5 h 91"/>
                <a:gd name="T2" fmla="*/ 144 w 150"/>
                <a:gd name="T3" fmla="*/ 45 h 91"/>
                <a:gd name="T4" fmla="*/ 75 w 150"/>
                <a:gd name="T5" fmla="*/ 86 h 91"/>
                <a:gd name="T6" fmla="*/ 5 w 150"/>
                <a:gd name="T7" fmla="*/ 45 h 91"/>
                <a:gd name="T8" fmla="*/ 75 w 150"/>
                <a:gd name="T9" fmla="*/ 5 h 91"/>
                <a:gd name="T10" fmla="*/ 75 w 150"/>
                <a:gd name="T11" fmla="*/ 0 h 91"/>
                <a:gd name="T12" fmla="*/ 0 w 150"/>
                <a:gd name="T13" fmla="*/ 45 h 91"/>
                <a:gd name="T14" fmla="*/ 75 w 150"/>
                <a:gd name="T15" fmla="*/ 91 h 91"/>
                <a:gd name="T16" fmla="*/ 150 w 150"/>
                <a:gd name="T17" fmla="*/ 45 h 91"/>
                <a:gd name="T18" fmla="*/ 75 w 15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1">
                  <a:moveTo>
                    <a:pt x="75" y="5"/>
                  </a:moveTo>
                  <a:cubicBezTo>
                    <a:pt x="112" y="5"/>
                    <a:pt x="144" y="23"/>
                    <a:pt x="144" y="45"/>
                  </a:cubicBezTo>
                  <a:cubicBezTo>
                    <a:pt x="144" y="67"/>
                    <a:pt x="112" y="86"/>
                    <a:pt x="75" y="86"/>
                  </a:cubicBezTo>
                  <a:cubicBezTo>
                    <a:pt x="37" y="86"/>
                    <a:pt x="5" y="67"/>
                    <a:pt x="5" y="45"/>
                  </a:cubicBezTo>
                  <a:cubicBezTo>
                    <a:pt x="5" y="23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3" y="0"/>
                    <a:pt x="0" y="20"/>
                    <a:pt x="0" y="45"/>
                  </a:cubicBezTo>
                  <a:cubicBezTo>
                    <a:pt x="0" y="71"/>
                    <a:pt x="33" y="91"/>
                    <a:pt x="75" y="91"/>
                  </a:cubicBezTo>
                  <a:cubicBezTo>
                    <a:pt x="116" y="91"/>
                    <a:pt x="150" y="71"/>
                    <a:pt x="150" y="45"/>
                  </a:cubicBezTo>
                  <a:cubicBezTo>
                    <a:pt x="150" y="20"/>
                    <a:pt x="116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6" name="išlïde">
              <a:extLst>
                <a:ext uri="{FF2B5EF4-FFF2-40B4-BE49-F238E27FC236}">
                  <a16:creationId xmlns:a16="http://schemas.microsoft.com/office/drawing/2014/main" xmlns="" id="{C16BA0E0-9C17-4C4B-9A5E-27D34823B034}"/>
                </a:ext>
              </a:extLst>
            </p:cNvPr>
            <p:cNvSpPr/>
            <p:nvPr userDrawn="1"/>
          </p:nvSpPr>
          <p:spPr bwMode="auto">
            <a:xfrm>
              <a:off x="1453468" y="2557463"/>
              <a:ext cx="323850" cy="657225"/>
            </a:xfrm>
            <a:custGeom>
              <a:avLst/>
              <a:gdLst>
                <a:gd name="T0" fmla="*/ 98 w 98"/>
                <a:gd name="T1" fmla="*/ 0 h 199"/>
                <a:gd name="T2" fmla="*/ 92 w 98"/>
                <a:gd name="T3" fmla="*/ 43 h 199"/>
                <a:gd name="T4" fmla="*/ 92 w 98"/>
                <a:gd name="T5" fmla="*/ 93 h 199"/>
                <a:gd name="T6" fmla="*/ 87 w 98"/>
                <a:gd name="T7" fmla="*/ 149 h 199"/>
                <a:gd name="T8" fmla="*/ 54 w 98"/>
                <a:gd name="T9" fmla="*/ 193 h 199"/>
                <a:gd name="T10" fmla="*/ 27 w 98"/>
                <a:gd name="T11" fmla="*/ 194 h 199"/>
                <a:gd name="T12" fmla="*/ 19 w 98"/>
                <a:gd name="T13" fmla="*/ 185 h 199"/>
                <a:gd name="T14" fmla="*/ 31 w 98"/>
                <a:gd name="T15" fmla="*/ 86 h 199"/>
                <a:gd name="T16" fmla="*/ 98 w 98"/>
                <a:gd name="T17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199">
                  <a:moveTo>
                    <a:pt x="98" y="0"/>
                  </a:moveTo>
                  <a:cubicBezTo>
                    <a:pt x="92" y="13"/>
                    <a:pt x="92" y="29"/>
                    <a:pt x="92" y="43"/>
                  </a:cubicBezTo>
                  <a:cubicBezTo>
                    <a:pt x="92" y="60"/>
                    <a:pt x="92" y="76"/>
                    <a:pt x="92" y="93"/>
                  </a:cubicBezTo>
                  <a:cubicBezTo>
                    <a:pt x="92" y="112"/>
                    <a:pt x="92" y="131"/>
                    <a:pt x="87" y="149"/>
                  </a:cubicBezTo>
                  <a:cubicBezTo>
                    <a:pt x="82" y="167"/>
                    <a:pt x="71" y="185"/>
                    <a:pt x="54" y="193"/>
                  </a:cubicBezTo>
                  <a:cubicBezTo>
                    <a:pt x="46" y="197"/>
                    <a:pt x="35" y="199"/>
                    <a:pt x="27" y="194"/>
                  </a:cubicBezTo>
                  <a:cubicBezTo>
                    <a:pt x="24" y="192"/>
                    <a:pt x="21" y="188"/>
                    <a:pt x="19" y="185"/>
                  </a:cubicBezTo>
                  <a:cubicBezTo>
                    <a:pt x="0" y="155"/>
                    <a:pt x="17" y="115"/>
                    <a:pt x="31" y="86"/>
                  </a:cubicBezTo>
                  <a:cubicBezTo>
                    <a:pt x="47" y="53"/>
                    <a:pt x="70" y="23"/>
                    <a:pt x="98" y="0"/>
                  </a:cubicBezTo>
                  <a:close/>
                </a:path>
              </a:pathLst>
            </a:custGeom>
            <a:solidFill>
              <a:srgbClr val="1A68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7" name="îşlíďê">
              <a:extLst>
                <a:ext uri="{FF2B5EF4-FFF2-40B4-BE49-F238E27FC236}">
                  <a16:creationId xmlns:a16="http://schemas.microsoft.com/office/drawing/2014/main" xmlns="" id="{1B756473-8A0A-4846-9E50-1A3766F95E03}"/>
                </a:ext>
              </a:extLst>
            </p:cNvPr>
            <p:cNvSpPr/>
            <p:nvPr userDrawn="1"/>
          </p:nvSpPr>
          <p:spPr bwMode="auto">
            <a:xfrm>
              <a:off x="1253443" y="2327275"/>
              <a:ext cx="646113" cy="1049338"/>
            </a:xfrm>
            <a:custGeom>
              <a:avLst/>
              <a:gdLst>
                <a:gd name="T0" fmla="*/ 17 w 196"/>
                <a:gd name="T1" fmla="*/ 206 h 318"/>
                <a:gd name="T2" fmla="*/ 0 w 196"/>
                <a:gd name="T3" fmla="*/ 21 h 318"/>
                <a:gd name="T4" fmla="*/ 55 w 196"/>
                <a:gd name="T5" fmla="*/ 203 h 318"/>
                <a:gd name="T6" fmla="*/ 82 w 196"/>
                <a:gd name="T7" fmla="*/ 72 h 318"/>
                <a:gd name="T8" fmla="*/ 95 w 196"/>
                <a:gd name="T9" fmla="*/ 0 h 318"/>
                <a:gd name="T10" fmla="*/ 110 w 196"/>
                <a:gd name="T11" fmla="*/ 72 h 318"/>
                <a:gd name="T12" fmla="*/ 117 w 196"/>
                <a:gd name="T13" fmla="*/ 122 h 318"/>
                <a:gd name="T14" fmla="*/ 121 w 196"/>
                <a:gd name="T15" fmla="*/ 195 h 318"/>
                <a:gd name="T16" fmla="*/ 196 w 196"/>
                <a:gd name="T17" fmla="*/ 49 h 318"/>
                <a:gd name="T18" fmla="*/ 165 w 196"/>
                <a:gd name="T19" fmla="*/ 247 h 318"/>
                <a:gd name="T20" fmla="*/ 69 w 196"/>
                <a:gd name="T21" fmla="*/ 308 h 318"/>
                <a:gd name="T22" fmla="*/ 17 w 196"/>
                <a:gd name="T23" fmla="*/ 206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318">
                  <a:moveTo>
                    <a:pt x="17" y="206"/>
                  </a:moveTo>
                  <a:cubicBezTo>
                    <a:pt x="12" y="144"/>
                    <a:pt x="15" y="81"/>
                    <a:pt x="0" y="21"/>
                  </a:cubicBezTo>
                  <a:cubicBezTo>
                    <a:pt x="42" y="71"/>
                    <a:pt x="62" y="139"/>
                    <a:pt x="55" y="203"/>
                  </a:cubicBezTo>
                  <a:cubicBezTo>
                    <a:pt x="69" y="161"/>
                    <a:pt x="82" y="117"/>
                    <a:pt x="82" y="72"/>
                  </a:cubicBezTo>
                  <a:cubicBezTo>
                    <a:pt x="82" y="51"/>
                    <a:pt x="95" y="0"/>
                    <a:pt x="95" y="0"/>
                  </a:cubicBezTo>
                  <a:cubicBezTo>
                    <a:pt x="95" y="0"/>
                    <a:pt x="103" y="48"/>
                    <a:pt x="110" y="72"/>
                  </a:cubicBezTo>
                  <a:cubicBezTo>
                    <a:pt x="115" y="88"/>
                    <a:pt x="116" y="105"/>
                    <a:pt x="117" y="122"/>
                  </a:cubicBezTo>
                  <a:cubicBezTo>
                    <a:pt x="118" y="146"/>
                    <a:pt x="120" y="171"/>
                    <a:pt x="121" y="195"/>
                  </a:cubicBezTo>
                  <a:cubicBezTo>
                    <a:pt x="142" y="134"/>
                    <a:pt x="196" y="49"/>
                    <a:pt x="196" y="49"/>
                  </a:cubicBezTo>
                  <a:cubicBezTo>
                    <a:pt x="196" y="49"/>
                    <a:pt x="176" y="210"/>
                    <a:pt x="165" y="247"/>
                  </a:cubicBezTo>
                  <a:cubicBezTo>
                    <a:pt x="153" y="289"/>
                    <a:pt x="114" y="318"/>
                    <a:pt x="69" y="308"/>
                  </a:cubicBezTo>
                  <a:cubicBezTo>
                    <a:pt x="28" y="299"/>
                    <a:pt x="20" y="240"/>
                    <a:pt x="17" y="206"/>
                  </a:cubicBezTo>
                  <a:close/>
                </a:path>
              </a:pathLst>
            </a:custGeom>
            <a:solidFill>
              <a:srgbClr val="409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8" name="ïṣḻiḋè">
              <a:extLst>
                <a:ext uri="{FF2B5EF4-FFF2-40B4-BE49-F238E27FC236}">
                  <a16:creationId xmlns:a16="http://schemas.microsoft.com/office/drawing/2014/main" xmlns="" id="{82914E17-B0C2-4487-8D7A-76A7CC2EF1D8}"/>
                </a:ext>
              </a:extLst>
            </p:cNvPr>
            <p:cNvSpPr/>
            <p:nvPr userDrawn="1"/>
          </p:nvSpPr>
          <p:spPr bwMode="auto">
            <a:xfrm>
              <a:off x="1385206" y="2673350"/>
              <a:ext cx="266700" cy="692150"/>
            </a:xfrm>
            <a:custGeom>
              <a:avLst/>
              <a:gdLst>
                <a:gd name="T0" fmla="*/ 9 w 81"/>
                <a:gd name="T1" fmla="*/ 162 h 210"/>
                <a:gd name="T2" fmla="*/ 14 w 81"/>
                <a:gd name="T3" fmla="*/ 88 h 210"/>
                <a:gd name="T4" fmla="*/ 16 w 81"/>
                <a:gd name="T5" fmla="*/ 0 h 210"/>
                <a:gd name="T6" fmla="*/ 73 w 81"/>
                <a:gd name="T7" fmla="*/ 139 h 210"/>
                <a:gd name="T8" fmla="*/ 77 w 81"/>
                <a:gd name="T9" fmla="*/ 177 h 210"/>
                <a:gd name="T10" fmla="*/ 38 w 81"/>
                <a:gd name="T11" fmla="*/ 206 h 210"/>
                <a:gd name="T12" fmla="*/ 9 w 81"/>
                <a:gd name="T13" fmla="*/ 1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210">
                  <a:moveTo>
                    <a:pt x="9" y="162"/>
                  </a:moveTo>
                  <a:cubicBezTo>
                    <a:pt x="0" y="139"/>
                    <a:pt x="8" y="113"/>
                    <a:pt x="14" y="88"/>
                  </a:cubicBezTo>
                  <a:cubicBezTo>
                    <a:pt x="20" y="59"/>
                    <a:pt x="22" y="29"/>
                    <a:pt x="16" y="0"/>
                  </a:cubicBezTo>
                  <a:cubicBezTo>
                    <a:pt x="38" y="45"/>
                    <a:pt x="56" y="92"/>
                    <a:pt x="73" y="139"/>
                  </a:cubicBezTo>
                  <a:cubicBezTo>
                    <a:pt x="77" y="152"/>
                    <a:pt x="81" y="165"/>
                    <a:pt x="77" y="177"/>
                  </a:cubicBezTo>
                  <a:cubicBezTo>
                    <a:pt x="73" y="189"/>
                    <a:pt x="52" y="210"/>
                    <a:pt x="38" y="206"/>
                  </a:cubicBezTo>
                  <a:cubicBezTo>
                    <a:pt x="27" y="203"/>
                    <a:pt x="13" y="172"/>
                    <a:pt x="9" y="162"/>
                  </a:cubicBezTo>
                  <a:close/>
                </a:path>
              </a:pathLst>
            </a:custGeom>
            <a:solidFill>
              <a:srgbClr val="4EAF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9" name="iSļïḍé">
              <a:extLst>
                <a:ext uri="{FF2B5EF4-FFF2-40B4-BE49-F238E27FC236}">
                  <a16:creationId xmlns:a16="http://schemas.microsoft.com/office/drawing/2014/main" xmlns="" id="{59BA0C1F-2E38-4F5E-9240-D58CF54B6259}"/>
                </a:ext>
              </a:extLst>
            </p:cNvPr>
            <p:cNvSpPr/>
            <p:nvPr userDrawn="1"/>
          </p:nvSpPr>
          <p:spPr bwMode="auto">
            <a:xfrm>
              <a:off x="4034743" y="2262188"/>
              <a:ext cx="495300" cy="668338"/>
            </a:xfrm>
            <a:custGeom>
              <a:avLst/>
              <a:gdLst>
                <a:gd name="T0" fmla="*/ 99 w 150"/>
                <a:gd name="T1" fmla="*/ 0 h 203"/>
                <a:gd name="T2" fmla="*/ 0 w 150"/>
                <a:gd name="T3" fmla="*/ 33 h 203"/>
                <a:gd name="T4" fmla="*/ 0 w 150"/>
                <a:gd name="T5" fmla="*/ 158 h 203"/>
                <a:gd name="T6" fmla="*/ 75 w 150"/>
                <a:gd name="T7" fmla="*/ 203 h 203"/>
                <a:gd name="T8" fmla="*/ 150 w 150"/>
                <a:gd name="T9" fmla="*/ 158 h 203"/>
                <a:gd name="T10" fmla="*/ 150 w 150"/>
                <a:gd name="T11" fmla="*/ 33 h 203"/>
                <a:gd name="T12" fmla="*/ 99 w 150"/>
                <a:gd name="T13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3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4" y="203"/>
                    <a:pt x="75" y="203"/>
                  </a:cubicBezTo>
                  <a:cubicBezTo>
                    <a:pt x="117" y="203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0" name="ïS1îḑé">
              <a:extLst>
                <a:ext uri="{FF2B5EF4-FFF2-40B4-BE49-F238E27FC236}">
                  <a16:creationId xmlns:a16="http://schemas.microsoft.com/office/drawing/2014/main" xmlns="" id="{C712C409-F4D8-43DA-ADAD-E982492C7356}"/>
                </a:ext>
              </a:extLst>
            </p:cNvPr>
            <p:cNvSpPr/>
            <p:nvPr userDrawn="1"/>
          </p:nvSpPr>
          <p:spPr bwMode="auto">
            <a:xfrm>
              <a:off x="4034743" y="2219325"/>
              <a:ext cx="495300" cy="303213"/>
            </a:xfrm>
            <a:prstGeom prst="ellipse">
              <a:avLst/>
            </a:pr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1" name="ï$ľíďé">
              <a:extLst>
                <a:ext uri="{FF2B5EF4-FFF2-40B4-BE49-F238E27FC236}">
                  <a16:creationId xmlns:a16="http://schemas.microsoft.com/office/drawing/2014/main" xmlns="" id="{6C772227-57EF-4498-BDB8-911F9B963112}"/>
                </a:ext>
              </a:extLst>
            </p:cNvPr>
            <p:cNvSpPr/>
            <p:nvPr userDrawn="1"/>
          </p:nvSpPr>
          <p:spPr bwMode="auto">
            <a:xfrm>
              <a:off x="4068081" y="2290763"/>
              <a:ext cx="431800" cy="231775"/>
            </a:xfrm>
            <a:custGeom>
              <a:avLst/>
              <a:gdLst>
                <a:gd name="T0" fmla="*/ 1 w 131"/>
                <a:gd name="T1" fmla="*/ 48 h 70"/>
                <a:gd name="T2" fmla="*/ 65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5 w 131"/>
                <a:gd name="T9" fmla="*/ 0 h 70"/>
                <a:gd name="T10" fmla="*/ 0 w 131"/>
                <a:gd name="T11" fmla="*/ 40 h 70"/>
                <a:gd name="T12" fmla="*/ 1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1" y="48"/>
                  </a:moveTo>
                  <a:cubicBezTo>
                    <a:pt x="15" y="61"/>
                    <a:pt x="38" y="70"/>
                    <a:pt x="65" y="70"/>
                  </a:cubicBezTo>
                  <a:cubicBezTo>
                    <a:pt x="92" y="70"/>
                    <a:pt x="116" y="61"/>
                    <a:pt x="129" y="48"/>
                  </a:cubicBezTo>
                  <a:cubicBezTo>
                    <a:pt x="130" y="45"/>
                    <a:pt x="131" y="42"/>
                    <a:pt x="131" y="40"/>
                  </a:cubicBezTo>
                  <a:cubicBezTo>
                    <a:pt x="131" y="18"/>
                    <a:pt x="101" y="0"/>
                    <a:pt x="65" y="0"/>
                  </a:cubicBezTo>
                  <a:cubicBezTo>
                    <a:pt x="29" y="0"/>
                    <a:pt x="0" y="18"/>
                    <a:pt x="0" y="40"/>
                  </a:cubicBezTo>
                  <a:cubicBezTo>
                    <a:pt x="0" y="42"/>
                    <a:pt x="0" y="45"/>
                    <a:pt x="1" y="48"/>
                  </a:cubicBezTo>
                  <a:close/>
                </a:path>
              </a:pathLst>
            </a:custGeom>
            <a:solidFill>
              <a:srgbClr val="A04A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2" name="i$1íḓe">
              <a:extLst>
                <a:ext uri="{FF2B5EF4-FFF2-40B4-BE49-F238E27FC236}">
                  <a16:creationId xmlns:a16="http://schemas.microsoft.com/office/drawing/2014/main" xmlns="" id="{73713242-E59E-4FC7-9DEC-B99218E24384}"/>
                </a:ext>
              </a:extLst>
            </p:cNvPr>
            <p:cNvSpPr/>
            <p:nvPr userDrawn="1"/>
          </p:nvSpPr>
          <p:spPr bwMode="auto">
            <a:xfrm>
              <a:off x="4034743" y="2219325"/>
              <a:ext cx="495300" cy="303213"/>
            </a:xfrm>
            <a:custGeom>
              <a:avLst/>
              <a:gdLst>
                <a:gd name="T0" fmla="*/ 75 w 150"/>
                <a:gd name="T1" fmla="*/ 5 h 92"/>
                <a:gd name="T2" fmla="*/ 145 w 150"/>
                <a:gd name="T3" fmla="*/ 46 h 92"/>
                <a:gd name="T4" fmla="*/ 75 w 150"/>
                <a:gd name="T5" fmla="*/ 86 h 92"/>
                <a:gd name="T6" fmla="*/ 5 w 150"/>
                <a:gd name="T7" fmla="*/ 46 h 92"/>
                <a:gd name="T8" fmla="*/ 75 w 150"/>
                <a:gd name="T9" fmla="*/ 5 h 92"/>
                <a:gd name="T10" fmla="*/ 75 w 150"/>
                <a:gd name="T11" fmla="*/ 0 h 92"/>
                <a:gd name="T12" fmla="*/ 0 w 150"/>
                <a:gd name="T13" fmla="*/ 46 h 92"/>
                <a:gd name="T14" fmla="*/ 75 w 150"/>
                <a:gd name="T15" fmla="*/ 92 h 92"/>
                <a:gd name="T16" fmla="*/ 150 w 150"/>
                <a:gd name="T17" fmla="*/ 46 h 92"/>
                <a:gd name="T18" fmla="*/ 75 w 150"/>
                <a:gd name="T1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2">
                  <a:moveTo>
                    <a:pt x="75" y="5"/>
                  </a:moveTo>
                  <a:cubicBezTo>
                    <a:pt x="113" y="5"/>
                    <a:pt x="145" y="24"/>
                    <a:pt x="145" y="46"/>
                  </a:cubicBezTo>
                  <a:cubicBezTo>
                    <a:pt x="145" y="68"/>
                    <a:pt x="113" y="86"/>
                    <a:pt x="75" y="86"/>
                  </a:cubicBezTo>
                  <a:cubicBezTo>
                    <a:pt x="37" y="86"/>
                    <a:pt x="5" y="68"/>
                    <a:pt x="5" y="46"/>
                  </a:cubicBezTo>
                  <a:cubicBezTo>
                    <a:pt x="5" y="24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4" y="0"/>
                    <a:pt x="0" y="21"/>
                    <a:pt x="0" y="46"/>
                  </a:cubicBezTo>
                  <a:cubicBezTo>
                    <a:pt x="0" y="71"/>
                    <a:pt x="34" y="92"/>
                    <a:pt x="75" y="92"/>
                  </a:cubicBezTo>
                  <a:cubicBezTo>
                    <a:pt x="117" y="92"/>
                    <a:pt x="150" y="71"/>
                    <a:pt x="150" y="46"/>
                  </a:cubicBezTo>
                  <a:cubicBezTo>
                    <a:pt x="150" y="21"/>
                    <a:pt x="117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5" name="iṡľîdê">
              <a:extLst>
                <a:ext uri="{FF2B5EF4-FFF2-40B4-BE49-F238E27FC236}">
                  <a16:creationId xmlns:a16="http://schemas.microsoft.com/office/drawing/2014/main" xmlns="" id="{2DA1D48A-E380-4B7E-96CB-3DD0DF01E012}"/>
                </a:ext>
              </a:extLst>
            </p:cNvPr>
            <p:cNvSpPr/>
            <p:nvPr userDrawn="1"/>
          </p:nvSpPr>
          <p:spPr bwMode="auto">
            <a:xfrm>
              <a:off x="1997981" y="1374775"/>
              <a:ext cx="2847975" cy="3079750"/>
            </a:xfrm>
            <a:custGeom>
              <a:avLst/>
              <a:gdLst>
                <a:gd name="T0" fmla="*/ 20 w 863"/>
                <a:gd name="T1" fmla="*/ 255 h 934"/>
                <a:gd name="T2" fmla="*/ 454 w 863"/>
                <a:gd name="T3" fmla="*/ 6 h 934"/>
                <a:gd name="T4" fmla="*/ 481 w 863"/>
                <a:gd name="T5" fmla="*/ 2 h 934"/>
                <a:gd name="T6" fmla="*/ 505 w 863"/>
                <a:gd name="T7" fmla="*/ 19 h 934"/>
                <a:gd name="T8" fmla="*/ 506 w 863"/>
                <a:gd name="T9" fmla="*/ 423 h 934"/>
                <a:gd name="T10" fmla="*/ 467 w 863"/>
                <a:gd name="T11" fmla="*/ 445 h 934"/>
                <a:gd name="T12" fmla="*/ 862 w 863"/>
                <a:gd name="T13" fmla="*/ 637 h 934"/>
                <a:gd name="T14" fmla="*/ 863 w 863"/>
                <a:gd name="T15" fmla="*/ 653 h 934"/>
                <a:gd name="T16" fmla="*/ 853 w 863"/>
                <a:gd name="T17" fmla="*/ 669 h 934"/>
                <a:gd name="T18" fmla="*/ 408 w 863"/>
                <a:gd name="T19" fmla="*/ 926 h 934"/>
                <a:gd name="T20" fmla="*/ 368 w 863"/>
                <a:gd name="T21" fmla="*/ 926 h 934"/>
                <a:gd name="T22" fmla="*/ 7 w 863"/>
                <a:gd name="T23" fmla="*/ 718 h 934"/>
                <a:gd name="T24" fmla="*/ 1 w 863"/>
                <a:gd name="T25" fmla="*/ 707 h 934"/>
                <a:gd name="T26" fmla="*/ 0 w 863"/>
                <a:gd name="T27" fmla="*/ 290 h 934"/>
                <a:gd name="T28" fmla="*/ 20 w 863"/>
                <a:gd name="T29" fmla="*/ 255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3" h="934">
                  <a:moveTo>
                    <a:pt x="20" y="255"/>
                  </a:moveTo>
                  <a:cubicBezTo>
                    <a:pt x="454" y="6"/>
                    <a:pt x="454" y="6"/>
                    <a:pt x="454" y="6"/>
                  </a:cubicBezTo>
                  <a:cubicBezTo>
                    <a:pt x="462" y="2"/>
                    <a:pt x="472" y="0"/>
                    <a:pt x="481" y="2"/>
                  </a:cubicBezTo>
                  <a:cubicBezTo>
                    <a:pt x="493" y="5"/>
                    <a:pt x="505" y="8"/>
                    <a:pt x="505" y="19"/>
                  </a:cubicBezTo>
                  <a:cubicBezTo>
                    <a:pt x="506" y="423"/>
                    <a:pt x="506" y="423"/>
                    <a:pt x="506" y="423"/>
                  </a:cubicBezTo>
                  <a:cubicBezTo>
                    <a:pt x="467" y="445"/>
                    <a:pt x="467" y="445"/>
                    <a:pt x="467" y="445"/>
                  </a:cubicBezTo>
                  <a:cubicBezTo>
                    <a:pt x="480" y="451"/>
                    <a:pt x="861" y="637"/>
                    <a:pt x="862" y="637"/>
                  </a:cubicBezTo>
                  <a:cubicBezTo>
                    <a:pt x="863" y="653"/>
                    <a:pt x="863" y="653"/>
                    <a:pt x="863" y="653"/>
                  </a:cubicBezTo>
                  <a:cubicBezTo>
                    <a:pt x="863" y="660"/>
                    <a:pt x="859" y="666"/>
                    <a:pt x="853" y="669"/>
                  </a:cubicBezTo>
                  <a:cubicBezTo>
                    <a:pt x="788" y="707"/>
                    <a:pt x="408" y="926"/>
                    <a:pt x="408" y="926"/>
                  </a:cubicBezTo>
                  <a:cubicBezTo>
                    <a:pt x="396" y="934"/>
                    <a:pt x="380" y="934"/>
                    <a:pt x="368" y="926"/>
                  </a:cubicBezTo>
                  <a:cubicBezTo>
                    <a:pt x="7" y="718"/>
                    <a:pt x="7" y="718"/>
                    <a:pt x="7" y="718"/>
                  </a:cubicBezTo>
                  <a:cubicBezTo>
                    <a:pt x="3" y="715"/>
                    <a:pt x="1" y="711"/>
                    <a:pt x="1" y="707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0" y="276"/>
                    <a:pt x="8" y="262"/>
                    <a:pt x="20" y="255"/>
                  </a:cubicBezTo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6" name="ïSľîḑé">
              <a:extLst>
                <a:ext uri="{FF2B5EF4-FFF2-40B4-BE49-F238E27FC236}">
                  <a16:creationId xmlns:a16="http://schemas.microsoft.com/office/drawing/2014/main" xmlns="" id="{9C3C3E10-795A-4E12-82D8-B4EDD450DD6C}"/>
                </a:ext>
              </a:extLst>
            </p:cNvPr>
            <p:cNvSpPr/>
            <p:nvPr userDrawn="1"/>
          </p:nvSpPr>
          <p:spPr bwMode="auto">
            <a:xfrm>
              <a:off x="2040843" y="1384300"/>
              <a:ext cx="1630363" cy="2317750"/>
            </a:xfrm>
            <a:custGeom>
              <a:avLst/>
              <a:gdLst>
                <a:gd name="T0" fmla="*/ 0 w 494"/>
                <a:gd name="T1" fmla="*/ 703 h 703"/>
                <a:gd name="T2" fmla="*/ 493 w 494"/>
                <a:gd name="T3" fmla="*/ 421 h 703"/>
                <a:gd name="T4" fmla="*/ 494 w 494"/>
                <a:gd name="T5" fmla="*/ 19 h 703"/>
                <a:gd name="T6" fmla="*/ 471 w 494"/>
                <a:gd name="T7" fmla="*/ 6 h 703"/>
                <a:gd name="T8" fmla="*/ 17 w 494"/>
                <a:gd name="T9" fmla="*/ 266 h 703"/>
                <a:gd name="T10" fmla="*/ 1 w 494"/>
                <a:gd name="T11" fmla="*/ 294 h 703"/>
                <a:gd name="T12" fmla="*/ 0 w 494"/>
                <a:gd name="T13" fmla="*/ 703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4" h="703">
                  <a:moveTo>
                    <a:pt x="0" y="703"/>
                  </a:moveTo>
                  <a:cubicBezTo>
                    <a:pt x="493" y="421"/>
                    <a:pt x="493" y="421"/>
                    <a:pt x="493" y="421"/>
                  </a:cubicBezTo>
                  <a:cubicBezTo>
                    <a:pt x="494" y="19"/>
                    <a:pt x="494" y="19"/>
                    <a:pt x="494" y="19"/>
                  </a:cubicBezTo>
                  <a:cubicBezTo>
                    <a:pt x="494" y="7"/>
                    <a:pt x="481" y="0"/>
                    <a:pt x="471" y="6"/>
                  </a:cubicBezTo>
                  <a:cubicBezTo>
                    <a:pt x="17" y="266"/>
                    <a:pt x="17" y="266"/>
                    <a:pt x="17" y="266"/>
                  </a:cubicBezTo>
                  <a:cubicBezTo>
                    <a:pt x="7" y="272"/>
                    <a:pt x="1" y="282"/>
                    <a:pt x="1" y="294"/>
                  </a:cubicBezTo>
                  <a:cubicBezTo>
                    <a:pt x="0" y="703"/>
                    <a:pt x="0" y="703"/>
                    <a:pt x="0" y="703"/>
                  </a:cubicBezTo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7" name="íṣļíďê">
              <a:extLst>
                <a:ext uri="{FF2B5EF4-FFF2-40B4-BE49-F238E27FC236}">
                  <a16:creationId xmlns:a16="http://schemas.microsoft.com/office/drawing/2014/main" xmlns="" id="{E2574749-1204-4C51-924F-33B90213A6D8}"/>
                </a:ext>
              </a:extLst>
            </p:cNvPr>
            <p:cNvSpPr/>
            <p:nvPr userDrawn="1"/>
          </p:nvSpPr>
          <p:spPr bwMode="auto">
            <a:xfrm>
              <a:off x="2110693" y="1479550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8" name="išľíḍe">
              <a:extLst>
                <a:ext uri="{FF2B5EF4-FFF2-40B4-BE49-F238E27FC236}">
                  <a16:creationId xmlns:a16="http://schemas.microsoft.com/office/drawing/2014/main" xmlns="" id="{D99373F3-FEF3-4ACD-81D8-C5CCA6FE1ECD}"/>
                </a:ext>
              </a:extLst>
            </p:cNvPr>
            <p:cNvSpPr/>
            <p:nvPr userDrawn="1"/>
          </p:nvSpPr>
          <p:spPr bwMode="auto">
            <a:xfrm>
              <a:off x="2110693" y="1479550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9" name="íšļïḓé">
              <a:extLst>
                <a:ext uri="{FF2B5EF4-FFF2-40B4-BE49-F238E27FC236}">
                  <a16:creationId xmlns:a16="http://schemas.microsoft.com/office/drawing/2014/main" xmlns="" id="{92CAFAA4-6BA1-4F3B-8C72-AEEDE70DDD83}"/>
                </a:ext>
              </a:extLst>
            </p:cNvPr>
            <p:cNvSpPr/>
            <p:nvPr userDrawn="1"/>
          </p:nvSpPr>
          <p:spPr bwMode="auto">
            <a:xfrm>
              <a:off x="2040843" y="2762250"/>
              <a:ext cx="2811463" cy="1635125"/>
            </a:xfrm>
            <a:custGeom>
              <a:avLst/>
              <a:gdLst>
                <a:gd name="T0" fmla="*/ 0 w 852"/>
                <a:gd name="T1" fmla="*/ 285 h 496"/>
                <a:gd name="T2" fmla="*/ 493 w 852"/>
                <a:gd name="T3" fmla="*/ 0 h 496"/>
                <a:gd name="T4" fmla="*/ 842 w 852"/>
                <a:gd name="T5" fmla="*/ 202 h 496"/>
                <a:gd name="T6" fmla="*/ 842 w 852"/>
                <a:gd name="T7" fmla="*/ 228 h 496"/>
                <a:gd name="T8" fmla="*/ 388 w 852"/>
                <a:gd name="T9" fmla="*/ 490 h 496"/>
                <a:gd name="T10" fmla="*/ 356 w 852"/>
                <a:gd name="T11" fmla="*/ 490 h 496"/>
                <a:gd name="T12" fmla="*/ 0 w 852"/>
                <a:gd name="T13" fmla="*/ 28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2" h="496">
                  <a:moveTo>
                    <a:pt x="0" y="285"/>
                  </a:moveTo>
                  <a:cubicBezTo>
                    <a:pt x="493" y="0"/>
                    <a:pt x="493" y="0"/>
                    <a:pt x="493" y="0"/>
                  </a:cubicBezTo>
                  <a:cubicBezTo>
                    <a:pt x="842" y="202"/>
                    <a:pt x="842" y="202"/>
                    <a:pt x="842" y="202"/>
                  </a:cubicBezTo>
                  <a:cubicBezTo>
                    <a:pt x="852" y="208"/>
                    <a:pt x="852" y="222"/>
                    <a:pt x="842" y="228"/>
                  </a:cubicBezTo>
                  <a:cubicBezTo>
                    <a:pt x="388" y="490"/>
                    <a:pt x="388" y="490"/>
                    <a:pt x="388" y="490"/>
                  </a:cubicBezTo>
                  <a:cubicBezTo>
                    <a:pt x="378" y="496"/>
                    <a:pt x="366" y="496"/>
                    <a:pt x="356" y="490"/>
                  </a:cubicBezTo>
                  <a:cubicBezTo>
                    <a:pt x="0" y="285"/>
                    <a:pt x="0" y="285"/>
                    <a:pt x="0" y="285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0" name="islidé">
              <a:extLst>
                <a:ext uri="{FF2B5EF4-FFF2-40B4-BE49-F238E27FC236}">
                  <a16:creationId xmlns:a16="http://schemas.microsoft.com/office/drawing/2014/main" xmlns="" id="{DD00CB4E-A57F-4096-B9DE-1B50784A989C}"/>
                </a:ext>
              </a:extLst>
            </p:cNvPr>
            <p:cNvSpPr/>
            <p:nvPr userDrawn="1"/>
          </p:nvSpPr>
          <p:spPr bwMode="auto">
            <a:xfrm>
              <a:off x="2328181" y="3683000"/>
              <a:ext cx="161925" cy="95250"/>
            </a:xfrm>
            <a:custGeom>
              <a:avLst/>
              <a:gdLst>
                <a:gd name="T0" fmla="*/ 49 w 49"/>
                <a:gd name="T1" fmla="*/ 14 h 29"/>
                <a:gd name="T2" fmla="*/ 25 w 49"/>
                <a:gd name="T3" fmla="*/ 29 h 29"/>
                <a:gd name="T4" fmla="*/ 0 w 49"/>
                <a:gd name="T5" fmla="*/ 15 h 29"/>
                <a:gd name="T6" fmla="*/ 25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1" name="iṩliḋé">
              <a:extLst>
                <a:ext uri="{FF2B5EF4-FFF2-40B4-BE49-F238E27FC236}">
                  <a16:creationId xmlns:a16="http://schemas.microsoft.com/office/drawing/2014/main" xmlns="" id="{128D3324-E74E-44D5-AEAC-820406C2C698}"/>
                </a:ext>
              </a:extLst>
            </p:cNvPr>
            <p:cNvSpPr/>
            <p:nvPr userDrawn="1"/>
          </p:nvSpPr>
          <p:spPr bwMode="auto">
            <a:xfrm>
              <a:off x="2447243" y="3616325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2" name="îṣḷîḓê">
              <a:extLst>
                <a:ext uri="{FF2B5EF4-FFF2-40B4-BE49-F238E27FC236}">
                  <a16:creationId xmlns:a16="http://schemas.microsoft.com/office/drawing/2014/main" xmlns="" id="{267FD6A0-6836-4F06-9773-2FED642392CB}"/>
                </a:ext>
              </a:extLst>
            </p:cNvPr>
            <p:cNvSpPr/>
            <p:nvPr userDrawn="1"/>
          </p:nvSpPr>
          <p:spPr bwMode="auto">
            <a:xfrm>
              <a:off x="2569481" y="35480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10" y="20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3" name="íṩ1îḍe">
              <a:extLst>
                <a:ext uri="{FF2B5EF4-FFF2-40B4-BE49-F238E27FC236}">
                  <a16:creationId xmlns:a16="http://schemas.microsoft.com/office/drawing/2014/main" xmlns="" id="{E867EF68-0BA7-44F6-A5A7-47E27C823290}"/>
                </a:ext>
              </a:extLst>
            </p:cNvPr>
            <p:cNvSpPr/>
            <p:nvPr userDrawn="1"/>
          </p:nvSpPr>
          <p:spPr bwMode="auto">
            <a:xfrm>
              <a:off x="2688543" y="347821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4" name="ïṧḻiḍe">
              <a:extLst>
                <a:ext uri="{FF2B5EF4-FFF2-40B4-BE49-F238E27FC236}">
                  <a16:creationId xmlns:a16="http://schemas.microsoft.com/office/drawing/2014/main" xmlns="" id="{7E4AE1BF-7E42-43AB-8213-4DCB0B706C93}"/>
                </a:ext>
              </a:extLst>
            </p:cNvPr>
            <p:cNvSpPr/>
            <p:nvPr userDrawn="1"/>
          </p:nvSpPr>
          <p:spPr bwMode="auto">
            <a:xfrm>
              <a:off x="2807606" y="3408363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5" name="íşlïḑè">
              <a:extLst>
                <a:ext uri="{FF2B5EF4-FFF2-40B4-BE49-F238E27FC236}">
                  <a16:creationId xmlns:a16="http://schemas.microsoft.com/office/drawing/2014/main" xmlns="" id="{2D66E887-A5E1-44DE-906C-D6BC093C81FC}"/>
                </a:ext>
              </a:extLst>
            </p:cNvPr>
            <p:cNvSpPr/>
            <p:nvPr userDrawn="1"/>
          </p:nvSpPr>
          <p:spPr bwMode="auto">
            <a:xfrm>
              <a:off x="2925081" y="3340100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6" name="íśļiḋè">
              <a:extLst>
                <a:ext uri="{FF2B5EF4-FFF2-40B4-BE49-F238E27FC236}">
                  <a16:creationId xmlns:a16="http://schemas.microsoft.com/office/drawing/2014/main" xmlns="" id="{7DBFC5F9-F20C-413F-95C0-D9DBED2C41E9}"/>
                </a:ext>
              </a:extLst>
            </p:cNvPr>
            <p:cNvSpPr/>
            <p:nvPr userDrawn="1"/>
          </p:nvSpPr>
          <p:spPr bwMode="auto">
            <a:xfrm>
              <a:off x="3044143" y="3273425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7" name="îSļîḓê">
              <a:extLst>
                <a:ext uri="{FF2B5EF4-FFF2-40B4-BE49-F238E27FC236}">
                  <a16:creationId xmlns:a16="http://schemas.microsoft.com/office/drawing/2014/main" xmlns="" id="{FB4DCBC2-6227-49FA-9E21-507358DB357B}"/>
                </a:ext>
              </a:extLst>
            </p:cNvPr>
            <p:cNvSpPr/>
            <p:nvPr userDrawn="1"/>
          </p:nvSpPr>
          <p:spPr bwMode="auto">
            <a:xfrm>
              <a:off x="3166381" y="32051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8" name="íṧ1îḑè">
              <a:extLst>
                <a:ext uri="{FF2B5EF4-FFF2-40B4-BE49-F238E27FC236}">
                  <a16:creationId xmlns:a16="http://schemas.microsoft.com/office/drawing/2014/main" xmlns="" id="{A39271E0-3413-4ADC-B24E-1D9E0578AFE9}"/>
                </a:ext>
              </a:extLst>
            </p:cNvPr>
            <p:cNvSpPr/>
            <p:nvPr userDrawn="1"/>
          </p:nvSpPr>
          <p:spPr bwMode="auto">
            <a:xfrm>
              <a:off x="3285443" y="313531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9" name="îṥḷide">
              <a:extLst>
                <a:ext uri="{FF2B5EF4-FFF2-40B4-BE49-F238E27FC236}">
                  <a16:creationId xmlns:a16="http://schemas.microsoft.com/office/drawing/2014/main" xmlns="" id="{B196654D-A160-4A01-8F0D-6CB813038DA4}"/>
                </a:ext>
              </a:extLst>
            </p:cNvPr>
            <p:cNvSpPr/>
            <p:nvPr userDrawn="1"/>
          </p:nvSpPr>
          <p:spPr bwMode="auto">
            <a:xfrm>
              <a:off x="3404506" y="30654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0" name="îş1iḓè">
              <a:extLst>
                <a:ext uri="{FF2B5EF4-FFF2-40B4-BE49-F238E27FC236}">
                  <a16:creationId xmlns:a16="http://schemas.microsoft.com/office/drawing/2014/main" xmlns="" id="{886841F7-DF6A-4E13-85F1-FA127766D54D}"/>
                </a:ext>
              </a:extLst>
            </p:cNvPr>
            <p:cNvSpPr/>
            <p:nvPr userDrawn="1"/>
          </p:nvSpPr>
          <p:spPr bwMode="auto">
            <a:xfrm>
              <a:off x="3523568" y="2997200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1" name="íšḻidè">
              <a:extLst>
                <a:ext uri="{FF2B5EF4-FFF2-40B4-BE49-F238E27FC236}">
                  <a16:creationId xmlns:a16="http://schemas.microsoft.com/office/drawing/2014/main" xmlns="" id="{CBE932F1-BFCB-4069-9D79-A82858465DAB}"/>
                </a:ext>
              </a:extLst>
            </p:cNvPr>
            <p:cNvSpPr/>
            <p:nvPr userDrawn="1"/>
          </p:nvSpPr>
          <p:spPr bwMode="auto">
            <a:xfrm>
              <a:off x="3645806" y="2930525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2" name="íślîḓè">
              <a:extLst>
                <a:ext uri="{FF2B5EF4-FFF2-40B4-BE49-F238E27FC236}">
                  <a16:creationId xmlns:a16="http://schemas.microsoft.com/office/drawing/2014/main" xmlns="" id="{BCE7B0AA-7299-45A5-A78B-CACC140EE6AA}"/>
                </a:ext>
              </a:extLst>
            </p:cNvPr>
            <p:cNvSpPr/>
            <p:nvPr userDrawn="1"/>
          </p:nvSpPr>
          <p:spPr bwMode="auto">
            <a:xfrm>
              <a:off x="2444068" y="37480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3" name="î$1iḓé">
              <a:extLst>
                <a:ext uri="{FF2B5EF4-FFF2-40B4-BE49-F238E27FC236}">
                  <a16:creationId xmlns:a16="http://schemas.microsoft.com/office/drawing/2014/main" xmlns="" id="{0E04D928-6BF4-4F27-BB5E-F50BC30B1ABE}"/>
                </a:ext>
              </a:extLst>
            </p:cNvPr>
            <p:cNvSpPr/>
            <p:nvPr userDrawn="1"/>
          </p:nvSpPr>
          <p:spPr bwMode="auto">
            <a:xfrm>
              <a:off x="2563131" y="3679825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4" name="išľïḋe">
              <a:extLst>
                <a:ext uri="{FF2B5EF4-FFF2-40B4-BE49-F238E27FC236}">
                  <a16:creationId xmlns:a16="http://schemas.microsoft.com/office/drawing/2014/main" xmlns="" id="{031AA8D5-E13D-4C41-83C0-58D78F49F4B4}"/>
                </a:ext>
              </a:extLst>
            </p:cNvPr>
            <p:cNvSpPr/>
            <p:nvPr userDrawn="1"/>
          </p:nvSpPr>
          <p:spPr bwMode="auto">
            <a:xfrm>
              <a:off x="2682193" y="3613150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5" name="îṡlíḍè">
              <a:extLst>
                <a:ext uri="{FF2B5EF4-FFF2-40B4-BE49-F238E27FC236}">
                  <a16:creationId xmlns:a16="http://schemas.microsoft.com/office/drawing/2014/main" xmlns="" id="{DBAF0029-EE03-4563-A86B-D399E0D67E67}"/>
                </a:ext>
              </a:extLst>
            </p:cNvPr>
            <p:cNvSpPr/>
            <p:nvPr userDrawn="1"/>
          </p:nvSpPr>
          <p:spPr bwMode="auto">
            <a:xfrm>
              <a:off x="2804431" y="3543300"/>
              <a:ext cx="160338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6" name="íŝľíḋê">
              <a:extLst>
                <a:ext uri="{FF2B5EF4-FFF2-40B4-BE49-F238E27FC236}">
                  <a16:creationId xmlns:a16="http://schemas.microsoft.com/office/drawing/2014/main" xmlns="" id="{C8EDD0DC-D645-44AA-B854-E4CCF1A2F8A8}"/>
                </a:ext>
              </a:extLst>
            </p:cNvPr>
            <p:cNvSpPr/>
            <p:nvPr userDrawn="1"/>
          </p:nvSpPr>
          <p:spPr bwMode="auto">
            <a:xfrm>
              <a:off x="2921906" y="347503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7" name="ïśḷîḋè">
              <a:extLst>
                <a:ext uri="{FF2B5EF4-FFF2-40B4-BE49-F238E27FC236}">
                  <a16:creationId xmlns:a16="http://schemas.microsoft.com/office/drawing/2014/main" xmlns="" id="{AE7BA111-8F61-4565-A5E7-DBDC3505BF63}"/>
                </a:ext>
              </a:extLst>
            </p:cNvPr>
            <p:cNvSpPr/>
            <p:nvPr userDrawn="1"/>
          </p:nvSpPr>
          <p:spPr bwMode="auto">
            <a:xfrm>
              <a:off x="3040968" y="34051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8" name="iSḷíḍê">
              <a:extLst>
                <a:ext uri="{FF2B5EF4-FFF2-40B4-BE49-F238E27FC236}">
                  <a16:creationId xmlns:a16="http://schemas.microsoft.com/office/drawing/2014/main" xmlns="" id="{EA4DB33E-3C21-497F-91BC-CBBC54D3596A}"/>
                </a:ext>
              </a:extLst>
            </p:cNvPr>
            <p:cNvSpPr/>
            <p:nvPr userDrawn="1"/>
          </p:nvSpPr>
          <p:spPr bwMode="auto">
            <a:xfrm>
              <a:off x="3160031" y="3336925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9" name="iŝlîďê">
              <a:extLst>
                <a:ext uri="{FF2B5EF4-FFF2-40B4-BE49-F238E27FC236}">
                  <a16:creationId xmlns:a16="http://schemas.microsoft.com/office/drawing/2014/main" xmlns="" id="{65A00103-D748-4E67-A4E0-94657CE17CC7}"/>
                </a:ext>
              </a:extLst>
            </p:cNvPr>
            <p:cNvSpPr/>
            <p:nvPr userDrawn="1"/>
          </p:nvSpPr>
          <p:spPr bwMode="auto">
            <a:xfrm>
              <a:off x="3282268" y="3270250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9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0" name="ïṥḷïḑé">
              <a:extLst>
                <a:ext uri="{FF2B5EF4-FFF2-40B4-BE49-F238E27FC236}">
                  <a16:creationId xmlns:a16="http://schemas.microsoft.com/office/drawing/2014/main" xmlns="" id="{9C625C8F-449C-4A2B-8A0E-A6159DCB4228}"/>
                </a:ext>
              </a:extLst>
            </p:cNvPr>
            <p:cNvSpPr/>
            <p:nvPr userDrawn="1"/>
          </p:nvSpPr>
          <p:spPr bwMode="auto">
            <a:xfrm>
              <a:off x="3401331" y="3200400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1" name="íSḻïḋe">
              <a:extLst>
                <a:ext uri="{FF2B5EF4-FFF2-40B4-BE49-F238E27FC236}">
                  <a16:creationId xmlns:a16="http://schemas.microsoft.com/office/drawing/2014/main" xmlns="" id="{F4D13833-DB9A-4A4F-8848-947885486BAB}"/>
                </a:ext>
              </a:extLst>
            </p:cNvPr>
            <p:cNvSpPr/>
            <p:nvPr userDrawn="1"/>
          </p:nvSpPr>
          <p:spPr bwMode="auto">
            <a:xfrm>
              <a:off x="3520393" y="3132138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2" name="iśḻídè">
              <a:extLst>
                <a:ext uri="{FF2B5EF4-FFF2-40B4-BE49-F238E27FC236}">
                  <a16:creationId xmlns:a16="http://schemas.microsoft.com/office/drawing/2014/main" xmlns="" id="{A914FFBF-AC2B-4A38-BF81-603708EE6183}"/>
                </a:ext>
              </a:extLst>
            </p:cNvPr>
            <p:cNvSpPr/>
            <p:nvPr userDrawn="1"/>
          </p:nvSpPr>
          <p:spPr bwMode="auto">
            <a:xfrm>
              <a:off x="3637868" y="30622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3" name="ïṥḷiḓe">
              <a:extLst>
                <a:ext uri="{FF2B5EF4-FFF2-40B4-BE49-F238E27FC236}">
                  <a16:creationId xmlns:a16="http://schemas.microsoft.com/office/drawing/2014/main" xmlns="" id="{AFA4B1D7-B8B6-4EE6-9EF4-EEC2F1A2D374}"/>
                </a:ext>
              </a:extLst>
            </p:cNvPr>
            <p:cNvSpPr/>
            <p:nvPr userDrawn="1"/>
          </p:nvSpPr>
          <p:spPr bwMode="auto">
            <a:xfrm>
              <a:off x="3704543" y="2994025"/>
              <a:ext cx="217488" cy="125413"/>
            </a:xfrm>
            <a:custGeom>
              <a:avLst/>
              <a:gdLst>
                <a:gd name="T0" fmla="*/ 66 w 66"/>
                <a:gd name="T1" fmla="*/ 14 h 38"/>
                <a:gd name="T2" fmla="*/ 25 w 66"/>
                <a:gd name="T3" fmla="*/ 38 h 38"/>
                <a:gd name="T4" fmla="*/ 0 w 66"/>
                <a:gd name="T5" fmla="*/ 24 h 38"/>
                <a:gd name="T6" fmla="*/ 41 w 66"/>
                <a:gd name="T7" fmla="*/ 0 h 38"/>
                <a:gd name="T8" fmla="*/ 66 w 66"/>
                <a:gd name="T9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8">
                  <a:moveTo>
                    <a:pt x="66" y="14"/>
                  </a:moveTo>
                  <a:cubicBezTo>
                    <a:pt x="49" y="24"/>
                    <a:pt x="41" y="29"/>
                    <a:pt x="25" y="38"/>
                  </a:cubicBezTo>
                  <a:cubicBezTo>
                    <a:pt x="15" y="32"/>
                    <a:pt x="10" y="30"/>
                    <a:pt x="0" y="24"/>
                  </a:cubicBezTo>
                  <a:cubicBezTo>
                    <a:pt x="16" y="14"/>
                    <a:pt x="25" y="10"/>
                    <a:pt x="41" y="0"/>
                  </a:cubicBezTo>
                  <a:cubicBezTo>
                    <a:pt x="51" y="6"/>
                    <a:pt x="56" y="9"/>
                    <a:pt x="66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4" name="íśḻíḋé">
              <a:extLst>
                <a:ext uri="{FF2B5EF4-FFF2-40B4-BE49-F238E27FC236}">
                  <a16:creationId xmlns:a16="http://schemas.microsoft.com/office/drawing/2014/main" xmlns="" id="{F9F0B388-B105-467D-9DD5-BF3BADCA6983}"/>
                </a:ext>
              </a:extLst>
            </p:cNvPr>
            <p:cNvSpPr/>
            <p:nvPr userDrawn="1"/>
          </p:nvSpPr>
          <p:spPr bwMode="auto">
            <a:xfrm>
              <a:off x="2559956" y="3784600"/>
              <a:ext cx="214313" cy="122238"/>
            </a:xfrm>
            <a:custGeom>
              <a:avLst/>
              <a:gdLst>
                <a:gd name="T0" fmla="*/ 65 w 65"/>
                <a:gd name="T1" fmla="*/ 14 h 37"/>
                <a:gd name="T2" fmla="*/ 25 w 65"/>
                <a:gd name="T3" fmla="*/ 37 h 37"/>
                <a:gd name="T4" fmla="*/ 0 w 65"/>
                <a:gd name="T5" fmla="*/ 23 h 37"/>
                <a:gd name="T6" fmla="*/ 41 w 65"/>
                <a:gd name="T7" fmla="*/ 0 h 37"/>
                <a:gd name="T8" fmla="*/ 65 w 65"/>
                <a:gd name="T9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7">
                  <a:moveTo>
                    <a:pt x="65" y="14"/>
                  </a:moveTo>
                  <a:cubicBezTo>
                    <a:pt x="49" y="23"/>
                    <a:pt x="41" y="28"/>
                    <a:pt x="25" y="37"/>
                  </a:cubicBezTo>
                  <a:cubicBezTo>
                    <a:pt x="15" y="31"/>
                    <a:pt x="10" y="29"/>
                    <a:pt x="0" y="23"/>
                  </a:cubicBezTo>
                  <a:cubicBezTo>
                    <a:pt x="16" y="14"/>
                    <a:pt x="24" y="9"/>
                    <a:pt x="41" y="0"/>
                  </a:cubicBezTo>
                  <a:cubicBezTo>
                    <a:pt x="50" y="5"/>
                    <a:pt x="55" y="8"/>
                    <a:pt x="65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5" name="iṧḷîḍê">
              <a:extLst>
                <a:ext uri="{FF2B5EF4-FFF2-40B4-BE49-F238E27FC236}">
                  <a16:creationId xmlns:a16="http://schemas.microsoft.com/office/drawing/2014/main" xmlns="" id="{40B6A503-6660-49C5-9BF6-B8EF48F43D11}"/>
                </a:ext>
              </a:extLst>
            </p:cNvPr>
            <p:cNvSpPr/>
            <p:nvPr userDrawn="1"/>
          </p:nvSpPr>
          <p:spPr bwMode="auto">
            <a:xfrm>
              <a:off x="2679018" y="3744913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6" name="iSḷiḋe">
              <a:extLst>
                <a:ext uri="{FF2B5EF4-FFF2-40B4-BE49-F238E27FC236}">
                  <a16:creationId xmlns:a16="http://schemas.microsoft.com/office/drawing/2014/main" xmlns="" id="{31A0B82F-C1ED-44B5-8E44-1EE529B828AD}"/>
                </a:ext>
              </a:extLst>
            </p:cNvPr>
            <p:cNvSpPr/>
            <p:nvPr userDrawn="1"/>
          </p:nvSpPr>
          <p:spPr bwMode="auto">
            <a:xfrm>
              <a:off x="2796493" y="3676650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7" name="í$ḷîḍe">
              <a:extLst>
                <a:ext uri="{FF2B5EF4-FFF2-40B4-BE49-F238E27FC236}">
                  <a16:creationId xmlns:a16="http://schemas.microsoft.com/office/drawing/2014/main" xmlns="" id="{3575373C-208F-46D3-B1AB-0BDB0F246209}"/>
                </a:ext>
              </a:extLst>
            </p:cNvPr>
            <p:cNvSpPr/>
            <p:nvPr userDrawn="1"/>
          </p:nvSpPr>
          <p:spPr bwMode="auto">
            <a:xfrm>
              <a:off x="2915556" y="3606800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8" name="ïṧļîḑè">
              <a:extLst>
                <a:ext uri="{FF2B5EF4-FFF2-40B4-BE49-F238E27FC236}">
                  <a16:creationId xmlns:a16="http://schemas.microsoft.com/office/drawing/2014/main" xmlns="" id="{B82AD7A8-8D7F-4015-9273-EF9056075CC2}"/>
                </a:ext>
              </a:extLst>
            </p:cNvPr>
            <p:cNvSpPr/>
            <p:nvPr userDrawn="1"/>
          </p:nvSpPr>
          <p:spPr bwMode="auto">
            <a:xfrm>
              <a:off x="3037793" y="3540125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9" name="iṧḷîḑè">
              <a:extLst>
                <a:ext uri="{FF2B5EF4-FFF2-40B4-BE49-F238E27FC236}">
                  <a16:creationId xmlns:a16="http://schemas.microsoft.com/office/drawing/2014/main" xmlns="" id="{5CB43041-08EC-4D97-9640-7E106AA72EED}"/>
                </a:ext>
              </a:extLst>
            </p:cNvPr>
            <p:cNvSpPr/>
            <p:nvPr userDrawn="1"/>
          </p:nvSpPr>
          <p:spPr bwMode="auto">
            <a:xfrm>
              <a:off x="3156856" y="34718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0" name="îSḷíďè">
              <a:extLst>
                <a:ext uri="{FF2B5EF4-FFF2-40B4-BE49-F238E27FC236}">
                  <a16:creationId xmlns:a16="http://schemas.microsoft.com/office/drawing/2014/main" xmlns="" id="{8251293D-FE11-4327-8053-1A15C0715C4E}"/>
                </a:ext>
              </a:extLst>
            </p:cNvPr>
            <p:cNvSpPr/>
            <p:nvPr userDrawn="1"/>
          </p:nvSpPr>
          <p:spPr bwMode="auto">
            <a:xfrm>
              <a:off x="3275918" y="340201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1" name="íṩḻiḋe">
              <a:extLst>
                <a:ext uri="{FF2B5EF4-FFF2-40B4-BE49-F238E27FC236}">
                  <a16:creationId xmlns:a16="http://schemas.microsoft.com/office/drawing/2014/main" xmlns="" id="{04AD4F57-3BFB-4823-9C84-4C96A7CB134A}"/>
                </a:ext>
              </a:extLst>
            </p:cNvPr>
            <p:cNvSpPr/>
            <p:nvPr userDrawn="1"/>
          </p:nvSpPr>
          <p:spPr bwMode="auto">
            <a:xfrm>
              <a:off x="3394981" y="3333750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2" name="ïšlîďé">
              <a:extLst>
                <a:ext uri="{FF2B5EF4-FFF2-40B4-BE49-F238E27FC236}">
                  <a16:creationId xmlns:a16="http://schemas.microsoft.com/office/drawing/2014/main" xmlns="" id="{F30EF4F8-00DE-44B5-9A9C-9BF5DAE25CE1}"/>
                </a:ext>
              </a:extLst>
            </p:cNvPr>
            <p:cNvSpPr/>
            <p:nvPr userDrawn="1"/>
          </p:nvSpPr>
          <p:spPr bwMode="auto">
            <a:xfrm>
              <a:off x="3517218" y="3263900"/>
              <a:ext cx="160338" cy="95250"/>
            </a:xfrm>
            <a:custGeom>
              <a:avLst/>
              <a:gdLst>
                <a:gd name="T0" fmla="*/ 49 w 49"/>
                <a:gd name="T1" fmla="*/ 14 h 29"/>
                <a:gd name="T2" fmla="*/ 24 w 49"/>
                <a:gd name="T3" fmla="*/ 29 h 29"/>
                <a:gd name="T4" fmla="*/ 0 w 49"/>
                <a:gd name="T5" fmla="*/ 14 h 29"/>
                <a:gd name="T6" fmla="*/ 24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39" y="20"/>
                    <a:pt x="34" y="23"/>
                    <a:pt x="24" y="29"/>
                  </a:cubicBezTo>
                  <a:cubicBezTo>
                    <a:pt x="14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3" name="íŝḻïḍè">
              <a:extLst>
                <a:ext uri="{FF2B5EF4-FFF2-40B4-BE49-F238E27FC236}">
                  <a16:creationId xmlns:a16="http://schemas.microsoft.com/office/drawing/2014/main" xmlns="" id="{82DB9277-828C-4574-A883-0FAD24DFDD03}"/>
                </a:ext>
              </a:extLst>
            </p:cNvPr>
            <p:cNvSpPr/>
            <p:nvPr userDrawn="1"/>
          </p:nvSpPr>
          <p:spPr bwMode="auto">
            <a:xfrm>
              <a:off x="3634693" y="3197225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4" name="iṡlíḍé">
              <a:extLst>
                <a:ext uri="{FF2B5EF4-FFF2-40B4-BE49-F238E27FC236}">
                  <a16:creationId xmlns:a16="http://schemas.microsoft.com/office/drawing/2014/main" xmlns="" id="{E63EDFEF-0FD3-453B-8AD8-25C6BC1ADDCB}"/>
                </a:ext>
              </a:extLst>
            </p:cNvPr>
            <p:cNvSpPr/>
            <p:nvPr userDrawn="1"/>
          </p:nvSpPr>
          <p:spPr bwMode="auto">
            <a:xfrm>
              <a:off x="3753756" y="31289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5" name="ïṥļíḋe">
              <a:extLst>
                <a:ext uri="{FF2B5EF4-FFF2-40B4-BE49-F238E27FC236}">
                  <a16:creationId xmlns:a16="http://schemas.microsoft.com/office/drawing/2014/main" xmlns="" id="{94BED78E-FC4E-46D1-8B68-F8CDDB4A8428}"/>
                </a:ext>
              </a:extLst>
            </p:cNvPr>
            <p:cNvSpPr/>
            <p:nvPr userDrawn="1"/>
          </p:nvSpPr>
          <p:spPr bwMode="auto">
            <a:xfrm>
              <a:off x="3872818" y="305911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6" name="íşlíḋê">
              <a:extLst>
                <a:ext uri="{FF2B5EF4-FFF2-40B4-BE49-F238E27FC236}">
                  <a16:creationId xmlns:a16="http://schemas.microsoft.com/office/drawing/2014/main" xmlns="" id="{1E6AB73E-9DEF-4C9B-B938-33634CEC1416}"/>
                </a:ext>
              </a:extLst>
            </p:cNvPr>
            <p:cNvSpPr/>
            <p:nvPr userDrawn="1"/>
          </p:nvSpPr>
          <p:spPr bwMode="auto">
            <a:xfrm>
              <a:off x="2674256" y="3879850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7" name="iṧļíďê">
              <a:extLst>
                <a:ext uri="{FF2B5EF4-FFF2-40B4-BE49-F238E27FC236}">
                  <a16:creationId xmlns:a16="http://schemas.microsoft.com/office/drawing/2014/main" xmlns="" id="{35500064-2969-4A8B-935C-682DDFE8D83A}"/>
                </a:ext>
              </a:extLst>
            </p:cNvPr>
            <p:cNvSpPr/>
            <p:nvPr userDrawn="1"/>
          </p:nvSpPr>
          <p:spPr bwMode="auto">
            <a:xfrm>
              <a:off x="2793318" y="38115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8" name="iṩḻídê">
              <a:extLst>
                <a:ext uri="{FF2B5EF4-FFF2-40B4-BE49-F238E27FC236}">
                  <a16:creationId xmlns:a16="http://schemas.microsoft.com/office/drawing/2014/main" xmlns="" id="{30F066E6-D3B6-4A7E-915B-AA8A9F9EEF66}"/>
                </a:ext>
              </a:extLst>
            </p:cNvPr>
            <p:cNvSpPr/>
            <p:nvPr userDrawn="1"/>
          </p:nvSpPr>
          <p:spPr bwMode="auto">
            <a:xfrm>
              <a:off x="2912381" y="374173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9" name="íşḷíḋé">
              <a:extLst>
                <a:ext uri="{FF2B5EF4-FFF2-40B4-BE49-F238E27FC236}">
                  <a16:creationId xmlns:a16="http://schemas.microsoft.com/office/drawing/2014/main" xmlns="" id="{43885054-AAD7-437D-AEDF-F0EC86E091CB}"/>
                </a:ext>
              </a:extLst>
            </p:cNvPr>
            <p:cNvSpPr/>
            <p:nvPr userDrawn="1"/>
          </p:nvSpPr>
          <p:spPr bwMode="auto">
            <a:xfrm>
              <a:off x="3031443" y="3671888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0" name="íşḻíḋé">
              <a:extLst>
                <a:ext uri="{FF2B5EF4-FFF2-40B4-BE49-F238E27FC236}">
                  <a16:creationId xmlns:a16="http://schemas.microsoft.com/office/drawing/2014/main" xmlns="" id="{C061AFF0-53B1-4650-9727-7B2DC3E77E02}"/>
                </a:ext>
              </a:extLst>
            </p:cNvPr>
            <p:cNvSpPr/>
            <p:nvPr userDrawn="1"/>
          </p:nvSpPr>
          <p:spPr bwMode="auto">
            <a:xfrm>
              <a:off x="3153681" y="3603625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4" y="23"/>
                    <a:pt x="9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1" name="îśļiḋê">
              <a:extLst>
                <a:ext uri="{FF2B5EF4-FFF2-40B4-BE49-F238E27FC236}">
                  <a16:creationId xmlns:a16="http://schemas.microsoft.com/office/drawing/2014/main" xmlns="" id="{9025A250-C3F1-4CF7-B610-C8868B89B05D}"/>
                </a:ext>
              </a:extLst>
            </p:cNvPr>
            <p:cNvSpPr/>
            <p:nvPr userDrawn="1"/>
          </p:nvSpPr>
          <p:spPr bwMode="auto">
            <a:xfrm>
              <a:off x="3272743" y="3533775"/>
              <a:ext cx="161925" cy="95250"/>
            </a:xfrm>
            <a:custGeom>
              <a:avLst/>
              <a:gdLst>
                <a:gd name="T0" fmla="*/ 49 w 49"/>
                <a:gd name="T1" fmla="*/ 15 h 29"/>
                <a:gd name="T2" fmla="*/ 25 w 49"/>
                <a:gd name="T3" fmla="*/ 29 h 29"/>
                <a:gd name="T4" fmla="*/ 0 w 49"/>
                <a:gd name="T5" fmla="*/ 15 h 29"/>
                <a:gd name="T6" fmla="*/ 24 w 49"/>
                <a:gd name="T7" fmla="*/ 0 h 29"/>
                <a:gd name="T8" fmla="*/ 49 w 49"/>
                <a:gd name="T9" fmla="*/ 1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5"/>
                  </a:moveTo>
                  <a:cubicBezTo>
                    <a:pt x="39" y="20"/>
                    <a:pt x="34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2" name="ísľïḑé">
              <a:extLst>
                <a:ext uri="{FF2B5EF4-FFF2-40B4-BE49-F238E27FC236}">
                  <a16:creationId xmlns:a16="http://schemas.microsoft.com/office/drawing/2014/main" xmlns="" id="{1948F16C-C9DE-498B-B5BC-1AD3F280C28C}"/>
                </a:ext>
              </a:extLst>
            </p:cNvPr>
            <p:cNvSpPr/>
            <p:nvPr userDrawn="1"/>
          </p:nvSpPr>
          <p:spPr bwMode="auto">
            <a:xfrm>
              <a:off x="3391806" y="3468688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3" name="ïṣľíḋe">
              <a:extLst>
                <a:ext uri="{FF2B5EF4-FFF2-40B4-BE49-F238E27FC236}">
                  <a16:creationId xmlns:a16="http://schemas.microsoft.com/office/drawing/2014/main" xmlns="" id="{E264DC8B-631F-4A70-BC0A-8480ED132847}"/>
                </a:ext>
              </a:extLst>
            </p:cNvPr>
            <p:cNvSpPr/>
            <p:nvPr userDrawn="1"/>
          </p:nvSpPr>
          <p:spPr bwMode="auto">
            <a:xfrm>
              <a:off x="3509281" y="339883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4" name="îṣľîdè">
              <a:extLst>
                <a:ext uri="{FF2B5EF4-FFF2-40B4-BE49-F238E27FC236}">
                  <a16:creationId xmlns:a16="http://schemas.microsoft.com/office/drawing/2014/main" xmlns="" id="{E63E7573-8EE7-4AB5-BF2A-7DF4D8DEFFBB}"/>
                </a:ext>
              </a:extLst>
            </p:cNvPr>
            <p:cNvSpPr/>
            <p:nvPr userDrawn="1"/>
          </p:nvSpPr>
          <p:spPr bwMode="auto">
            <a:xfrm>
              <a:off x="3628343" y="3328988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5" name="îşḷîdè">
              <a:extLst>
                <a:ext uri="{FF2B5EF4-FFF2-40B4-BE49-F238E27FC236}">
                  <a16:creationId xmlns:a16="http://schemas.microsoft.com/office/drawing/2014/main" xmlns="" id="{575EC150-3F11-488A-B125-108D9B7D809D}"/>
                </a:ext>
              </a:extLst>
            </p:cNvPr>
            <p:cNvSpPr/>
            <p:nvPr userDrawn="1"/>
          </p:nvSpPr>
          <p:spPr bwMode="auto">
            <a:xfrm>
              <a:off x="3750581" y="3260725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6" name="iŝļïďé">
              <a:extLst>
                <a:ext uri="{FF2B5EF4-FFF2-40B4-BE49-F238E27FC236}">
                  <a16:creationId xmlns:a16="http://schemas.microsoft.com/office/drawing/2014/main" xmlns="" id="{E1C555F0-851F-444E-8CD1-0D32130F67C7}"/>
                </a:ext>
              </a:extLst>
            </p:cNvPr>
            <p:cNvSpPr/>
            <p:nvPr userDrawn="1"/>
          </p:nvSpPr>
          <p:spPr bwMode="auto">
            <a:xfrm>
              <a:off x="3869643" y="3162300"/>
              <a:ext cx="214313" cy="123825"/>
            </a:xfrm>
            <a:custGeom>
              <a:avLst/>
              <a:gdLst>
                <a:gd name="T0" fmla="*/ 65 w 65"/>
                <a:gd name="T1" fmla="*/ 15 h 38"/>
                <a:gd name="T2" fmla="*/ 25 w 65"/>
                <a:gd name="T3" fmla="*/ 38 h 38"/>
                <a:gd name="T4" fmla="*/ 0 w 65"/>
                <a:gd name="T5" fmla="*/ 24 h 38"/>
                <a:gd name="T6" fmla="*/ 40 w 65"/>
                <a:gd name="T7" fmla="*/ 0 h 38"/>
                <a:gd name="T8" fmla="*/ 65 w 65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8">
                  <a:moveTo>
                    <a:pt x="65" y="15"/>
                  </a:moveTo>
                  <a:cubicBezTo>
                    <a:pt x="49" y="24"/>
                    <a:pt x="41" y="28"/>
                    <a:pt x="25" y="38"/>
                  </a:cubicBezTo>
                  <a:cubicBezTo>
                    <a:pt x="15" y="32"/>
                    <a:pt x="10" y="29"/>
                    <a:pt x="0" y="24"/>
                  </a:cubicBezTo>
                  <a:cubicBezTo>
                    <a:pt x="16" y="14"/>
                    <a:pt x="24" y="10"/>
                    <a:pt x="40" y="0"/>
                  </a:cubicBezTo>
                  <a:cubicBezTo>
                    <a:pt x="50" y="6"/>
                    <a:pt x="55" y="9"/>
                    <a:pt x="65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7" name="isliďê">
              <a:extLst>
                <a:ext uri="{FF2B5EF4-FFF2-40B4-BE49-F238E27FC236}">
                  <a16:creationId xmlns:a16="http://schemas.microsoft.com/office/drawing/2014/main" xmlns="" id="{6445EA84-0CF3-45B1-96D3-2BB703383E67}"/>
                </a:ext>
              </a:extLst>
            </p:cNvPr>
            <p:cNvSpPr/>
            <p:nvPr userDrawn="1"/>
          </p:nvSpPr>
          <p:spPr bwMode="auto">
            <a:xfrm>
              <a:off x="3988706" y="31257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8" name="íṩliḍé">
              <a:extLst>
                <a:ext uri="{FF2B5EF4-FFF2-40B4-BE49-F238E27FC236}">
                  <a16:creationId xmlns:a16="http://schemas.microsoft.com/office/drawing/2014/main" xmlns="" id="{38C12D8B-015F-446E-93DD-E101E2590130}"/>
                </a:ext>
              </a:extLst>
            </p:cNvPr>
            <p:cNvSpPr/>
            <p:nvPr userDrawn="1"/>
          </p:nvSpPr>
          <p:spPr bwMode="auto">
            <a:xfrm>
              <a:off x="2804431" y="3952875"/>
              <a:ext cx="163513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9" name="išḷïḓé">
              <a:extLst>
                <a:ext uri="{FF2B5EF4-FFF2-40B4-BE49-F238E27FC236}">
                  <a16:creationId xmlns:a16="http://schemas.microsoft.com/office/drawing/2014/main" xmlns="" id="{E5F7991A-7A27-4577-BB93-E3AD0DE4D309}"/>
                </a:ext>
              </a:extLst>
            </p:cNvPr>
            <p:cNvSpPr/>
            <p:nvPr userDrawn="1"/>
          </p:nvSpPr>
          <p:spPr bwMode="auto">
            <a:xfrm>
              <a:off x="2921906" y="3883025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0" name="íšliḍè">
              <a:extLst>
                <a:ext uri="{FF2B5EF4-FFF2-40B4-BE49-F238E27FC236}">
                  <a16:creationId xmlns:a16="http://schemas.microsoft.com/office/drawing/2014/main" xmlns="" id="{30774154-BF00-4F9E-9330-BFAA97630553}"/>
                </a:ext>
              </a:extLst>
            </p:cNvPr>
            <p:cNvSpPr/>
            <p:nvPr userDrawn="1"/>
          </p:nvSpPr>
          <p:spPr bwMode="auto">
            <a:xfrm>
              <a:off x="3044143" y="38147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1" name="iṥ1iďê">
              <a:extLst>
                <a:ext uri="{FF2B5EF4-FFF2-40B4-BE49-F238E27FC236}">
                  <a16:creationId xmlns:a16="http://schemas.microsoft.com/office/drawing/2014/main" xmlns="" id="{D7D56A1B-C83F-4A82-AE9B-6F9FC08747A4}"/>
                </a:ext>
              </a:extLst>
            </p:cNvPr>
            <p:cNvSpPr/>
            <p:nvPr userDrawn="1"/>
          </p:nvSpPr>
          <p:spPr bwMode="auto">
            <a:xfrm>
              <a:off x="3163206" y="3402013"/>
              <a:ext cx="758825" cy="438150"/>
            </a:xfrm>
            <a:custGeom>
              <a:avLst/>
              <a:gdLst>
                <a:gd name="T0" fmla="*/ 230 w 230"/>
                <a:gd name="T1" fmla="*/ 15 h 133"/>
                <a:gd name="T2" fmla="*/ 25 w 230"/>
                <a:gd name="T3" fmla="*/ 133 h 133"/>
                <a:gd name="T4" fmla="*/ 0 w 230"/>
                <a:gd name="T5" fmla="*/ 119 h 133"/>
                <a:gd name="T6" fmla="*/ 206 w 230"/>
                <a:gd name="T7" fmla="*/ 0 h 133"/>
                <a:gd name="T8" fmla="*/ 230 w 230"/>
                <a:gd name="T9" fmla="*/ 1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133">
                  <a:moveTo>
                    <a:pt x="230" y="15"/>
                  </a:moveTo>
                  <a:cubicBezTo>
                    <a:pt x="162" y="54"/>
                    <a:pt x="93" y="93"/>
                    <a:pt x="25" y="133"/>
                  </a:cubicBezTo>
                  <a:cubicBezTo>
                    <a:pt x="15" y="127"/>
                    <a:pt x="10" y="124"/>
                    <a:pt x="0" y="119"/>
                  </a:cubicBezTo>
                  <a:cubicBezTo>
                    <a:pt x="68" y="79"/>
                    <a:pt x="137" y="40"/>
                    <a:pt x="206" y="0"/>
                  </a:cubicBezTo>
                  <a:cubicBezTo>
                    <a:pt x="216" y="6"/>
                    <a:pt x="221" y="9"/>
                    <a:pt x="230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2" name="iSḷîḋe">
              <a:extLst>
                <a:ext uri="{FF2B5EF4-FFF2-40B4-BE49-F238E27FC236}">
                  <a16:creationId xmlns:a16="http://schemas.microsoft.com/office/drawing/2014/main" xmlns="" id="{D3802C82-C123-4497-AF2E-9BB51D859CF9}"/>
                </a:ext>
              </a:extLst>
            </p:cNvPr>
            <p:cNvSpPr/>
            <p:nvPr userDrawn="1"/>
          </p:nvSpPr>
          <p:spPr bwMode="auto">
            <a:xfrm>
              <a:off x="3879168" y="3336925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3" name="ïṥḷíḍé">
              <a:extLst>
                <a:ext uri="{FF2B5EF4-FFF2-40B4-BE49-F238E27FC236}">
                  <a16:creationId xmlns:a16="http://schemas.microsoft.com/office/drawing/2014/main" xmlns="" id="{1EC464A0-3871-43D1-B21A-689427D85938}"/>
                </a:ext>
              </a:extLst>
            </p:cNvPr>
            <p:cNvSpPr/>
            <p:nvPr userDrawn="1"/>
          </p:nvSpPr>
          <p:spPr bwMode="auto">
            <a:xfrm>
              <a:off x="4001406" y="3267075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2"/>
                    <a:pt x="24" y="28"/>
                  </a:cubicBezTo>
                  <a:cubicBezTo>
                    <a:pt x="14" y="22"/>
                    <a:pt x="9" y="20"/>
                    <a:pt x="0" y="14"/>
                  </a:cubicBezTo>
                  <a:cubicBezTo>
                    <a:pt x="9" y="8"/>
                    <a:pt x="14" y="6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4" name="iṩļiḑe">
              <a:extLst>
                <a:ext uri="{FF2B5EF4-FFF2-40B4-BE49-F238E27FC236}">
                  <a16:creationId xmlns:a16="http://schemas.microsoft.com/office/drawing/2014/main" xmlns="" id="{D3A0CA8F-5595-4F46-971A-99A5F372D05F}"/>
                </a:ext>
              </a:extLst>
            </p:cNvPr>
            <p:cNvSpPr/>
            <p:nvPr userDrawn="1"/>
          </p:nvSpPr>
          <p:spPr bwMode="auto">
            <a:xfrm>
              <a:off x="4120468" y="3197225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5" name="ísḻïḑe">
              <a:extLst>
                <a:ext uri="{FF2B5EF4-FFF2-40B4-BE49-F238E27FC236}">
                  <a16:creationId xmlns:a16="http://schemas.microsoft.com/office/drawing/2014/main" xmlns="" id="{769EB3F9-9C97-4529-8E4A-23B8210F0DEB}"/>
                </a:ext>
              </a:extLst>
            </p:cNvPr>
            <p:cNvSpPr/>
            <p:nvPr userDrawn="1"/>
          </p:nvSpPr>
          <p:spPr bwMode="auto">
            <a:xfrm>
              <a:off x="3367993" y="3551238"/>
              <a:ext cx="877888" cy="517525"/>
            </a:xfrm>
            <a:custGeom>
              <a:avLst/>
              <a:gdLst>
                <a:gd name="T0" fmla="*/ 0 w 553"/>
                <a:gd name="T1" fmla="*/ 203 h 326"/>
                <a:gd name="T2" fmla="*/ 353 w 553"/>
                <a:gd name="T3" fmla="*/ 0 h 326"/>
                <a:gd name="T4" fmla="*/ 553 w 553"/>
                <a:gd name="T5" fmla="*/ 124 h 326"/>
                <a:gd name="T6" fmla="*/ 202 w 553"/>
                <a:gd name="T7" fmla="*/ 326 h 326"/>
                <a:gd name="T8" fmla="*/ 0 w 553"/>
                <a:gd name="T9" fmla="*/ 20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3" h="326">
                  <a:moveTo>
                    <a:pt x="0" y="203"/>
                  </a:moveTo>
                  <a:lnTo>
                    <a:pt x="353" y="0"/>
                  </a:lnTo>
                  <a:lnTo>
                    <a:pt x="553" y="124"/>
                  </a:lnTo>
                  <a:lnTo>
                    <a:pt x="202" y="326"/>
                  </a:lnTo>
                  <a:lnTo>
                    <a:pt x="0" y="203"/>
                  </a:ln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6" name="îşļïdè">
              <a:extLst>
                <a:ext uri="{FF2B5EF4-FFF2-40B4-BE49-F238E27FC236}">
                  <a16:creationId xmlns:a16="http://schemas.microsoft.com/office/drawing/2014/main" xmlns="" id="{03CCC757-E984-4ABA-B87D-6F0764CC1D91}"/>
                </a:ext>
              </a:extLst>
            </p:cNvPr>
            <p:cNvSpPr/>
            <p:nvPr userDrawn="1"/>
          </p:nvSpPr>
          <p:spPr bwMode="auto">
            <a:xfrm>
              <a:off x="3374343" y="2235200"/>
              <a:ext cx="95250" cy="58738"/>
            </a:xfrm>
            <a:custGeom>
              <a:avLst/>
              <a:gdLst>
                <a:gd name="T0" fmla="*/ 0 w 60"/>
                <a:gd name="T1" fmla="*/ 35 h 37"/>
                <a:gd name="T2" fmla="*/ 60 w 60"/>
                <a:gd name="T3" fmla="*/ 0 h 37"/>
                <a:gd name="T4" fmla="*/ 60 w 60"/>
                <a:gd name="T5" fmla="*/ 2 h 37"/>
                <a:gd name="T6" fmla="*/ 0 w 60"/>
                <a:gd name="T7" fmla="*/ 37 h 37"/>
                <a:gd name="T8" fmla="*/ 0 w 60"/>
                <a:gd name="T9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37">
                  <a:moveTo>
                    <a:pt x="0" y="35"/>
                  </a:moveTo>
                  <a:lnTo>
                    <a:pt x="60" y="0"/>
                  </a:lnTo>
                  <a:lnTo>
                    <a:pt x="60" y="2"/>
                  </a:lnTo>
                  <a:lnTo>
                    <a:pt x="0" y="37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7" name="ïsļídè">
              <a:extLst>
                <a:ext uri="{FF2B5EF4-FFF2-40B4-BE49-F238E27FC236}">
                  <a16:creationId xmlns:a16="http://schemas.microsoft.com/office/drawing/2014/main" xmlns="" id="{59E1B2ED-67AB-4640-865A-BA10859F09EE}"/>
                </a:ext>
              </a:extLst>
            </p:cNvPr>
            <p:cNvSpPr/>
            <p:nvPr userDrawn="1"/>
          </p:nvSpPr>
          <p:spPr bwMode="auto">
            <a:xfrm>
              <a:off x="3298143" y="2311400"/>
              <a:ext cx="36513" cy="25400"/>
            </a:xfrm>
            <a:custGeom>
              <a:avLst/>
              <a:gdLst>
                <a:gd name="T0" fmla="*/ 0 w 23"/>
                <a:gd name="T1" fmla="*/ 16 h 16"/>
                <a:gd name="T2" fmla="*/ 0 w 23"/>
                <a:gd name="T3" fmla="*/ 14 h 16"/>
                <a:gd name="T4" fmla="*/ 23 w 23"/>
                <a:gd name="T5" fmla="*/ 0 h 16"/>
                <a:gd name="T6" fmla="*/ 21 w 23"/>
                <a:gd name="T7" fmla="*/ 4 h 16"/>
                <a:gd name="T8" fmla="*/ 0 w 2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6">
                  <a:moveTo>
                    <a:pt x="0" y="16"/>
                  </a:moveTo>
                  <a:lnTo>
                    <a:pt x="0" y="14"/>
                  </a:lnTo>
                  <a:lnTo>
                    <a:pt x="23" y="0"/>
                  </a:lnTo>
                  <a:lnTo>
                    <a:pt x="21" y="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8" name="ïṩļîdè">
              <a:extLst>
                <a:ext uri="{FF2B5EF4-FFF2-40B4-BE49-F238E27FC236}">
                  <a16:creationId xmlns:a16="http://schemas.microsoft.com/office/drawing/2014/main" xmlns="" id="{7ED7E0B4-7622-4AAC-B70C-786119F3B993}"/>
                </a:ext>
              </a:extLst>
            </p:cNvPr>
            <p:cNvSpPr/>
            <p:nvPr userDrawn="1"/>
          </p:nvSpPr>
          <p:spPr bwMode="auto">
            <a:xfrm>
              <a:off x="3417206" y="2339975"/>
              <a:ext cx="52388" cy="36513"/>
            </a:xfrm>
            <a:custGeom>
              <a:avLst/>
              <a:gdLst>
                <a:gd name="T0" fmla="*/ 0 w 33"/>
                <a:gd name="T1" fmla="*/ 21 h 23"/>
                <a:gd name="T2" fmla="*/ 33 w 33"/>
                <a:gd name="T3" fmla="*/ 0 h 23"/>
                <a:gd name="T4" fmla="*/ 33 w 33"/>
                <a:gd name="T5" fmla="*/ 5 h 23"/>
                <a:gd name="T6" fmla="*/ 2 w 33"/>
                <a:gd name="T7" fmla="*/ 23 h 23"/>
                <a:gd name="T8" fmla="*/ 0 w 3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0" y="21"/>
                  </a:moveTo>
                  <a:lnTo>
                    <a:pt x="33" y="0"/>
                  </a:lnTo>
                  <a:lnTo>
                    <a:pt x="33" y="5"/>
                  </a:lnTo>
                  <a:lnTo>
                    <a:pt x="2" y="23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9" name="ïṧľîḋe">
              <a:extLst>
                <a:ext uri="{FF2B5EF4-FFF2-40B4-BE49-F238E27FC236}">
                  <a16:creationId xmlns:a16="http://schemas.microsoft.com/office/drawing/2014/main" xmlns="" id="{EF9FF9C5-C0C3-4463-803E-F1ABA534C854}"/>
                </a:ext>
              </a:extLst>
            </p:cNvPr>
            <p:cNvSpPr/>
            <p:nvPr userDrawn="1"/>
          </p:nvSpPr>
          <p:spPr bwMode="auto">
            <a:xfrm>
              <a:off x="3229881" y="2254250"/>
              <a:ext cx="239713" cy="357188"/>
            </a:xfrm>
            <a:custGeom>
              <a:avLst/>
              <a:gdLst>
                <a:gd name="T0" fmla="*/ 120 w 151"/>
                <a:gd name="T1" fmla="*/ 77 h 225"/>
                <a:gd name="T2" fmla="*/ 151 w 151"/>
                <a:gd name="T3" fmla="*/ 137 h 225"/>
                <a:gd name="T4" fmla="*/ 112 w 151"/>
                <a:gd name="T5" fmla="*/ 160 h 225"/>
                <a:gd name="T6" fmla="*/ 0 w 151"/>
                <a:gd name="T7" fmla="*/ 225 h 225"/>
                <a:gd name="T8" fmla="*/ 54 w 151"/>
                <a:gd name="T9" fmla="*/ 69 h 225"/>
                <a:gd name="T10" fmla="*/ 64 w 151"/>
                <a:gd name="T11" fmla="*/ 40 h 225"/>
                <a:gd name="T12" fmla="*/ 66 w 151"/>
                <a:gd name="T13" fmla="*/ 36 h 225"/>
                <a:gd name="T14" fmla="*/ 79 w 151"/>
                <a:gd name="T15" fmla="*/ 0 h 225"/>
                <a:gd name="T16" fmla="*/ 91 w 151"/>
                <a:gd name="T17" fmla="*/ 23 h 225"/>
                <a:gd name="T18" fmla="*/ 91 w 151"/>
                <a:gd name="T19" fmla="*/ 25 h 225"/>
                <a:gd name="T20" fmla="*/ 118 w 151"/>
                <a:gd name="T21" fmla="*/ 75 h 225"/>
                <a:gd name="T22" fmla="*/ 120 w 151"/>
                <a:gd name="T23" fmla="*/ 7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1" h="225">
                  <a:moveTo>
                    <a:pt x="120" y="77"/>
                  </a:moveTo>
                  <a:lnTo>
                    <a:pt x="151" y="137"/>
                  </a:lnTo>
                  <a:lnTo>
                    <a:pt x="112" y="160"/>
                  </a:lnTo>
                  <a:lnTo>
                    <a:pt x="0" y="225"/>
                  </a:lnTo>
                  <a:lnTo>
                    <a:pt x="54" y="69"/>
                  </a:lnTo>
                  <a:lnTo>
                    <a:pt x="64" y="40"/>
                  </a:lnTo>
                  <a:lnTo>
                    <a:pt x="66" y="36"/>
                  </a:lnTo>
                  <a:lnTo>
                    <a:pt x="79" y="0"/>
                  </a:lnTo>
                  <a:lnTo>
                    <a:pt x="91" y="23"/>
                  </a:lnTo>
                  <a:lnTo>
                    <a:pt x="91" y="25"/>
                  </a:lnTo>
                  <a:lnTo>
                    <a:pt x="118" y="75"/>
                  </a:lnTo>
                  <a:lnTo>
                    <a:pt x="120" y="7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0" name="îş1iḓê">
              <a:extLst>
                <a:ext uri="{FF2B5EF4-FFF2-40B4-BE49-F238E27FC236}">
                  <a16:creationId xmlns:a16="http://schemas.microsoft.com/office/drawing/2014/main" xmlns="" id="{A5D93AA5-4067-46D6-B2FD-E15D25E32DD3}"/>
                </a:ext>
              </a:extLst>
            </p:cNvPr>
            <p:cNvSpPr/>
            <p:nvPr userDrawn="1"/>
          </p:nvSpPr>
          <p:spPr bwMode="auto">
            <a:xfrm>
              <a:off x="3163206" y="2297113"/>
              <a:ext cx="152400" cy="314325"/>
            </a:xfrm>
            <a:custGeom>
              <a:avLst/>
              <a:gdLst>
                <a:gd name="T0" fmla="*/ 85 w 96"/>
                <a:gd name="T1" fmla="*/ 25 h 198"/>
                <a:gd name="T2" fmla="*/ 96 w 96"/>
                <a:gd name="T3" fmla="*/ 42 h 198"/>
                <a:gd name="T4" fmla="*/ 42 w 96"/>
                <a:gd name="T5" fmla="*/ 198 h 198"/>
                <a:gd name="T6" fmla="*/ 0 w 96"/>
                <a:gd name="T7" fmla="*/ 181 h 198"/>
                <a:gd name="T8" fmla="*/ 21 w 96"/>
                <a:gd name="T9" fmla="*/ 131 h 198"/>
                <a:gd name="T10" fmla="*/ 21 w 96"/>
                <a:gd name="T11" fmla="*/ 127 h 198"/>
                <a:gd name="T12" fmla="*/ 54 w 96"/>
                <a:gd name="T13" fmla="*/ 44 h 198"/>
                <a:gd name="T14" fmla="*/ 54 w 96"/>
                <a:gd name="T15" fmla="*/ 40 h 198"/>
                <a:gd name="T16" fmla="*/ 71 w 96"/>
                <a:gd name="T17" fmla="*/ 0 h 198"/>
                <a:gd name="T18" fmla="*/ 85 w 96"/>
                <a:gd name="T19" fmla="*/ 23 h 198"/>
                <a:gd name="T20" fmla="*/ 85 w 96"/>
                <a:gd name="T21" fmla="*/ 25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198">
                  <a:moveTo>
                    <a:pt x="85" y="25"/>
                  </a:moveTo>
                  <a:lnTo>
                    <a:pt x="96" y="42"/>
                  </a:lnTo>
                  <a:lnTo>
                    <a:pt x="42" y="198"/>
                  </a:lnTo>
                  <a:lnTo>
                    <a:pt x="0" y="181"/>
                  </a:lnTo>
                  <a:lnTo>
                    <a:pt x="21" y="131"/>
                  </a:lnTo>
                  <a:lnTo>
                    <a:pt x="21" y="127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71" y="0"/>
                  </a:lnTo>
                  <a:lnTo>
                    <a:pt x="85" y="23"/>
                  </a:lnTo>
                  <a:lnTo>
                    <a:pt x="85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1" name="ïSľîḋe">
              <a:extLst>
                <a:ext uri="{FF2B5EF4-FFF2-40B4-BE49-F238E27FC236}">
                  <a16:creationId xmlns:a16="http://schemas.microsoft.com/office/drawing/2014/main" xmlns="" id="{5F4C3055-70AF-41BC-B4DC-0A0661A70D89}"/>
                </a:ext>
              </a:extLst>
            </p:cNvPr>
            <p:cNvSpPr/>
            <p:nvPr userDrawn="1"/>
          </p:nvSpPr>
          <p:spPr bwMode="auto">
            <a:xfrm>
              <a:off x="2967943" y="2562225"/>
              <a:ext cx="261938" cy="200025"/>
            </a:xfrm>
            <a:custGeom>
              <a:avLst/>
              <a:gdLst>
                <a:gd name="T0" fmla="*/ 82 w 165"/>
                <a:gd name="T1" fmla="*/ 0 h 126"/>
                <a:gd name="T2" fmla="*/ 123 w 165"/>
                <a:gd name="T3" fmla="*/ 14 h 126"/>
                <a:gd name="T4" fmla="*/ 165 w 165"/>
                <a:gd name="T5" fmla="*/ 31 h 126"/>
                <a:gd name="T6" fmla="*/ 104 w 165"/>
                <a:gd name="T7" fmla="*/ 66 h 126"/>
                <a:gd name="T8" fmla="*/ 0 w 165"/>
                <a:gd name="T9" fmla="*/ 126 h 126"/>
                <a:gd name="T10" fmla="*/ 67 w 165"/>
                <a:gd name="T11" fmla="*/ 18 h 126"/>
                <a:gd name="T12" fmla="*/ 79 w 165"/>
                <a:gd name="T13" fmla="*/ 0 h 126"/>
                <a:gd name="T14" fmla="*/ 82 w 165"/>
                <a:gd name="T15" fmla="*/ 0 h 126"/>
                <a:gd name="T16" fmla="*/ 82 w 165"/>
                <a:gd name="T1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26">
                  <a:moveTo>
                    <a:pt x="82" y="0"/>
                  </a:moveTo>
                  <a:lnTo>
                    <a:pt x="123" y="14"/>
                  </a:lnTo>
                  <a:lnTo>
                    <a:pt x="165" y="31"/>
                  </a:lnTo>
                  <a:lnTo>
                    <a:pt x="104" y="66"/>
                  </a:lnTo>
                  <a:lnTo>
                    <a:pt x="0" y="126"/>
                  </a:lnTo>
                  <a:lnTo>
                    <a:pt x="67" y="18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2" name="íṧľiḓè">
              <a:extLst>
                <a:ext uri="{FF2B5EF4-FFF2-40B4-BE49-F238E27FC236}">
                  <a16:creationId xmlns:a16="http://schemas.microsoft.com/office/drawing/2014/main" xmlns="" id="{BAB43E20-8E7C-4B8E-B43F-0BA16D746EF7}"/>
                </a:ext>
              </a:extLst>
            </p:cNvPr>
            <p:cNvSpPr/>
            <p:nvPr userDrawn="1"/>
          </p:nvSpPr>
          <p:spPr bwMode="auto">
            <a:xfrm>
              <a:off x="3064781" y="2498725"/>
              <a:ext cx="131763" cy="79375"/>
            </a:xfrm>
            <a:custGeom>
              <a:avLst/>
              <a:gdLst>
                <a:gd name="T0" fmla="*/ 0 w 83"/>
                <a:gd name="T1" fmla="*/ 50 h 50"/>
                <a:gd name="T2" fmla="*/ 0 w 83"/>
                <a:gd name="T3" fmla="*/ 50 h 50"/>
                <a:gd name="T4" fmla="*/ 83 w 83"/>
                <a:gd name="T5" fmla="*/ 0 h 50"/>
                <a:gd name="T6" fmla="*/ 83 w 83"/>
                <a:gd name="T7" fmla="*/ 4 h 50"/>
                <a:gd name="T8" fmla="*/ 21 w 83"/>
                <a:gd name="T9" fmla="*/ 40 h 50"/>
                <a:gd name="T10" fmla="*/ 21 w 83"/>
                <a:gd name="T11" fmla="*/ 40 h 50"/>
                <a:gd name="T12" fmla="*/ 18 w 83"/>
                <a:gd name="T13" fmla="*/ 40 h 50"/>
                <a:gd name="T14" fmla="*/ 0 w 83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50">
                  <a:moveTo>
                    <a:pt x="0" y="50"/>
                  </a:moveTo>
                  <a:lnTo>
                    <a:pt x="0" y="50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8" y="4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3" name="iṥľiḋe">
              <a:extLst>
                <a:ext uri="{FF2B5EF4-FFF2-40B4-BE49-F238E27FC236}">
                  <a16:creationId xmlns:a16="http://schemas.microsoft.com/office/drawing/2014/main" xmlns="" id="{C3B4051E-E88D-4586-A9A9-7EC4AFF98850}"/>
                </a:ext>
              </a:extLst>
            </p:cNvPr>
            <p:cNvSpPr/>
            <p:nvPr userDrawn="1"/>
          </p:nvSpPr>
          <p:spPr bwMode="auto">
            <a:xfrm>
              <a:off x="2942543" y="2522538"/>
              <a:ext cx="131763" cy="239713"/>
            </a:xfrm>
            <a:custGeom>
              <a:avLst/>
              <a:gdLst>
                <a:gd name="T0" fmla="*/ 77 w 83"/>
                <a:gd name="T1" fmla="*/ 35 h 151"/>
                <a:gd name="T2" fmla="*/ 83 w 83"/>
                <a:gd name="T3" fmla="*/ 43 h 151"/>
                <a:gd name="T4" fmla="*/ 16 w 83"/>
                <a:gd name="T5" fmla="*/ 151 h 151"/>
                <a:gd name="T6" fmla="*/ 0 w 83"/>
                <a:gd name="T7" fmla="*/ 120 h 151"/>
                <a:gd name="T8" fmla="*/ 21 w 83"/>
                <a:gd name="T9" fmla="*/ 68 h 151"/>
                <a:gd name="T10" fmla="*/ 23 w 83"/>
                <a:gd name="T11" fmla="*/ 66 h 151"/>
                <a:gd name="T12" fmla="*/ 50 w 83"/>
                <a:gd name="T13" fmla="*/ 0 h 151"/>
                <a:gd name="T14" fmla="*/ 77 w 83"/>
                <a:gd name="T15" fmla="*/ 35 h 151"/>
                <a:gd name="T16" fmla="*/ 77 w 83"/>
                <a:gd name="T17" fmla="*/ 3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51">
                  <a:moveTo>
                    <a:pt x="77" y="35"/>
                  </a:moveTo>
                  <a:lnTo>
                    <a:pt x="83" y="43"/>
                  </a:lnTo>
                  <a:lnTo>
                    <a:pt x="16" y="151"/>
                  </a:lnTo>
                  <a:lnTo>
                    <a:pt x="0" y="120"/>
                  </a:lnTo>
                  <a:lnTo>
                    <a:pt x="21" y="68"/>
                  </a:lnTo>
                  <a:lnTo>
                    <a:pt x="23" y="66"/>
                  </a:lnTo>
                  <a:lnTo>
                    <a:pt x="50" y="0"/>
                  </a:lnTo>
                  <a:lnTo>
                    <a:pt x="77" y="35"/>
                  </a:lnTo>
                  <a:lnTo>
                    <a:pt x="77" y="3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4" name="îṧḻîdê">
              <a:extLst>
                <a:ext uri="{FF2B5EF4-FFF2-40B4-BE49-F238E27FC236}">
                  <a16:creationId xmlns:a16="http://schemas.microsoft.com/office/drawing/2014/main" xmlns="" id="{F92AB470-F261-447D-A721-5F83DE681E1D}"/>
                </a:ext>
              </a:extLst>
            </p:cNvPr>
            <p:cNvSpPr/>
            <p:nvPr userDrawn="1"/>
          </p:nvSpPr>
          <p:spPr bwMode="auto">
            <a:xfrm>
              <a:off x="2915556" y="2627313"/>
              <a:ext cx="63500" cy="36513"/>
            </a:xfrm>
            <a:custGeom>
              <a:avLst/>
              <a:gdLst>
                <a:gd name="T0" fmla="*/ 0 w 40"/>
                <a:gd name="T1" fmla="*/ 23 h 23"/>
                <a:gd name="T2" fmla="*/ 0 w 40"/>
                <a:gd name="T3" fmla="*/ 21 h 23"/>
                <a:gd name="T4" fmla="*/ 40 w 40"/>
                <a:gd name="T5" fmla="*/ 0 h 23"/>
                <a:gd name="T6" fmla="*/ 38 w 40"/>
                <a:gd name="T7" fmla="*/ 2 h 23"/>
                <a:gd name="T8" fmla="*/ 0 w 40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0" y="23"/>
                  </a:moveTo>
                  <a:lnTo>
                    <a:pt x="0" y="21"/>
                  </a:lnTo>
                  <a:lnTo>
                    <a:pt x="40" y="0"/>
                  </a:lnTo>
                  <a:lnTo>
                    <a:pt x="38" y="2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5" name="îşḷîḋe">
              <a:extLst>
                <a:ext uri="{FF2B5EF4-FFF2-40B4-BE49-F238E27FC236}">
                  <a16:creationId xmlns:a16="http://schemas.microsoft.com/office/drawing/2014/main" xmlns="" id="{016AFBB4-642A-4B8D-AE69-107E983F2679}"/>
                </a:ext>
              </a:extLst>
            </p:cNvPr>
            <p:cNvSpPr/>
            <p:nvPr userDrawn="1"/>
          </p:nvSpPr>
          <p:spPr bwMode="auto">
            <a:xfrm>
              <a:off x="2872693" y="2360613"/>
              <a:ext cx="376238" cy="220663"/>
            </a:xfrm>
            <a:custGeom>
              <a:avLst/>
              <a:gdLst>
                <a:gd name="T0" fmla="*/ 2 w 237"/>
                <a:gd name="T1" fmla="*/ 139 h 139"/>
                <a:gd name="T2" fmla="*/ 0 w 237"/>
                <a:gd name="T3" fmla="*/ 137 h 139"/>
                <a:gd name="T4" fmla="*/ 237 w 237"/>
                <a:gd name="T5" fmla="*/ 0 h 139"/>
                <a:gd name="T6" fmla="*/ 237 w 237"/>
                <a:gd name="T7" fmla="*/ 4 h 139"/>
                <a:gd name="T8" fmla="*/ 2 w 237"/>
                <a:gd name="T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39">
                  <a:moveTo>
                    <a:pt x="2" y="139"/>
                  </a:moveTo>
                  <a:lnTo>
                    <a:pt x="0" y="137"/>
                  </a:lnTo>
                  <a:lnTo>
                    <a:pt x="237" y="0"/>
                  </a:lnTo>
                  <a:lnTo>
                    <a:pt x="237" y="4"/>
                  </a:lnTo>
                  <a:lnTo>
                    <a:pt x="2" y="13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6" name="íṧľïḍe">
              <a:extLst>
                <a:ext uri="{FF2B5EF4-FFF2-40B4-BE49-F238E27FC236}">
                  <a16:creationId xmlns:a16="http://schemas.microsoft.com/office/drawing/2014/main" xmlns="" id="{ACDABE15-2ACF-4EA7-8E29-A3F9EB2576D6}"/>
                </a:ext>
              </a:extLst>
            </p:cNvPr>
            <p:cNvSpPr/>
            <p:nvPr userDrawn="1"/>
          </p:nvSpPr>
          <p:spPr bwMode="auto">
            <a:xfrm>
              <a:off x="2747281" y="2544763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7" name="ïślíḋè">
              <a:extLst>
                <a:ext uri="{FF2B5EF4-FFF2-40B4-BE49-F238E27FC236}">
                  <a16:creationId xmlns:a16="http://schemas.microsoft.com/office/drawing/2014/main" xmlns="" id="{9377E741-4149-4E8D-8EBE-578E70182465}"/>
                </a:ext>
              </a:extLst>
            </p:cNvPr>
            <p:cNvSpPr/>
            <p:nvPr userDrawn="1"/>
          </p:nvSpPr>
          <p:spPr bwMode="auto">
            <a:xfrm>
              <a:off x="2747281" y="2544763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8" name="ïṣ1iḍé">
              <a:extLst>
                <a:ext uri="{FF2B5EF4-FFF2-40B4-BE49-F238E27FC236}">
                  <a16:creationId xmlns:a16="http://schemas.microsoft.com/office/drawing/2014/main" xmlns="" id="{342F894C-5039-459B-BB0D-6F05C770778B}"/>
                </a:ext>
              </a:extLst>
            </p:cNvPr>
            <p:cNvSpPr/>
            <p:nvPr userDrawn="1"/>
          </p:nvSpPr>
          <p:spPr bwMode="auto">
            <a:xfrm>
              <a:off x="2799668" y="2597150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9" name="îṩḷïḑê">
              <a:extLst>
                <a:ext uri="{FF2B5EF4-FFF2-40B4-BE49-F238E27FC236}">
                  <a16:creationId xmlns:a16="http://schemas.microsoft.com/office/drawing/2014/main" xmlns="" id="{74D9AA6D-EF85-413D-8B4B-A92D376DC0C6}"/>
                </a:ext>
              </a:extLst>
            </p:cNvPr>
            <p:cNvSpPr/>
            <p:nvPr userDrawn="1"/>
          </p:nvSpPr>
          <p:spPr bwMode="auto">
            <a:xfrm>
              <a:off x="2799668" y="2597150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0" name="ïṡ1îde">
              <a:extLst>
                <a:ext uri="{FF2B5EF4-FFF2-40B4-BE49-F238E27FC236}">
                  <a16:creationId xmlns:a16="http://schemas.microsoft.com/office/drawing/2014/main" xmlns="" id="{06B8A12B-6ABF-4F58-B2F8-08E1F24172A4}"/>
                </a:ext>
              </a:extLst>
            </p:cNvPr>
            <p:cNvSpPr/>
            <p:nvPr userDrawn="1"/>
          </p:nvSpPr>
          <p:spPr bwMode="auto">
            <a:xfrm>
              <a:off x="2750456" y="2119313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1" name="íṧļíďê">
              <a:extLst>
                <a:ext uri="{FF2B5EF4-FFF2-40B4-BE49-F238E27FC236}">
                  <a16:creationId xmlns:a16="http://schemas.microsoft.com/office/drawing/2014/main" xmlns="" id="{ED3178FC-24B0-4D8B-A67B-FC456A60D941}"/>
                </a:ext>
              </a:extLst>
            </p:cNvPr>
            <p:cNvSpPr/>
            <p:nvPr userDrawn="1"/>
          </p:nvSpPr>
          <p:spPr bwMode="auto">
            <a:xfrm>
              <a:off x="2750456" y="2119313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2" name="iś1íḍê">
              <a:extLst>
                <a:ext uri="{FF2B5EF4-FFF2-40B4-BE49-F238E27FC236}">
                  <a16:creationId xmlns:a16="http://schemas.microsoft.com/office/drawing/2014/main" xmlns="" id="{64E47A5B-7732-47AB-B411-B94C6DA45EEC}"/>
                </a:ext>
              </a:extLst>
            </p:cNvPr>
            <p:cNvSpPr/>
            <p:nvPr userDrawn="1"/>
          </p:nvSpPr>
          <p:spPr bwMode="auto">
            <a:xfrm>
              <a:off x="2256743" y="2014538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3" name="îSľîḓè">
              <a:extLst>
                <a:ext uri="{FF2B5EF4-FFF2-40B4-BE49-F238E27FC236}">
                  <a16:creationId xmlns:a16="http://schemas.microsoft.com/office/drawing/2014/main" xmlns="" id="{90C78F13-D185-4676-A008-5007EC752F71}"/>
                </a:ext>
              </a:extLst>
            </p:cNvPr>
            <p:cNvSpPr/>
            <p:nvPr userDrawn="1"/>
          </p:nvSpPr>
          <p:spPr bwMode="auto">
            <a:xfrm>
              <a:off x="2256743" y="2014538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4" name="ïṣľidé">
              <a:extLst>
                <a:ext uri="{FF2B5EF4-FFF2-40B4-BE49-F238E27FC236}">
                  <a16:creationId xmlns:a16="http://schemas.microsoft.com/office/drawing/2014/main" xmlns="" id="{C0E545BE-20F9-4416-95D4-2AB8D89DF800}"/>
                </a:ext>
              </a:extLst>
            </p:cNvPr>
            <p:cNvSpPr/>
            <p:nvPr userDrawn="1"/>
          </p:nvSpPr>
          <p:spPr bwMode="auto">
            <a:xfrm>
              <a:off x="2256743" y="2551113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5" name="íṩlíďe">
              <a:extLst>
                <a:ext uri="{FF2B5EF4-FFF2-40B4-BE49-F238E27FC236}">
                  <a16:creationId xmlns:a16="http://schemas.microsoft.com/office/drawing/2014/main" xmlns="" id="{BDD0C98C-3D19-4D7A-9B28-E1BCB57391A7}"/>
                </a:ext>
              </a:extLst>
            </p:cNvPr>
            <p:cNvSpPr/>
            <p:nvPr userDrawn="1"/>
          </p:nvSpPr>
          <p:spPr bwMode="auto">
            <a:xfrm>
              <a:off x="2256743" y="2551113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6" name="ï$lidè">
              <a:extLst>
                <a:ext uri="{FF2B5EF4-FFF2-40B4-BE49-F238E27FC236}">
                  <a16:creationId xmlns:a16="http://schemas.microsoft.com/office/drawing/2014/main" xmlns="" id="{975D5862-2491-422D-9818-92E52195A7A3}"/>
                </a:ext>
              </a:extLst>
            </p:cNvPr>
            <p:cNvSpPr/>
            <p:nvPr userDrawn="1"/>
          </p:nvSpPr>
          <p:spPr bwMode="auto">
            <a:xfrm>
              <a:off x="2621868" y="2700338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7" name="îṡḷide">
              <a:extLst>
                <a:ext uri="{FF2B5EF4-FFF2-40B4-BE49-F238E27FC236}">
                  <a16:creationId xmlns:a16="http://schemas.microsoft.com/office/drawing/2014/main" xmlns="" id="{1D11B301-814B-4C03-9BA8-F0164D21BC4F}"/>
                </a:ext>
              </a:extLst>
            </p:cNvPr>
            <p:cNvSpPr/>
            <p:nvPr userDrawn="1"/>
          </p:nvSpPr>
          <p:spPr bwMode="auto">
            <a:xfrm>
              <a:off x="2621868" y="2700338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8" name="î$1ïḋè">
              <a:extLst>
                <a:ext uri="{FF2B5EF4-FFF2-40B4-BE49-F238E27FC236}">
                  <a16:creationId xmlns:a16="http://schemas.microsoft.com/office/drawing/2014/main" xmlns="" id="{22C16BBA-8D2F-4A01-BB27-7D70B463C16B}"/>
                </a:ext>
              </a:extLst>
            </p:cNvPr>
            <p:cNvSpPr/>
            <p:nvPr userDrawn="1"/>
          </p:nvSpPr>
          <p:spPr bwMode="auto">
            <a:xfrm>
              <a:off x="2256743" y="2990850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9" name="íśļîďè">
              <a:extLst>
                <a:ext uri="{FF2B5EF4-FFF2-40B4-BE49-F238E27FC236}">
                  <a16:creationId xmlns:a16="http://schemas.microsoft.com/office/drawing/2014/main" xmlns="" id="{76A47D9D-6C62-49B5-95BF-DBD1F3263180}"/>
                </a:ext>
              </a:extLst>
            </p:cNvPr>
            <p:cNvSpPr/>
            <p:nvPr userDrawn="1"/>
          </p:nvSpPr>
          <p:spPr bwMode="auto">
            <a:xfrm>
              <a:off x="2256743" y="2990850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0" name="ïśḷïḋè">
              <a:extLst>
                <a:ext uri="{FF2B5EF4-FFF2-40B4-BE49-F238E27FC236}">
                  <a16:creationId xmlns:a16="http://schemas.microsoft.com/office/drawing/2014/main" xmlns="" id="{84B415B3-2B3A-44D0-AA7D-5AF21E461B49}"/>
                </a:ext>
              </a:extLst>
            </p:cNvPr>
            <p:cNvSpPr/>
            <p:nvPr userDrawn="1"/>
          </p:nvSpPr>
          <p:spPr bwMode="auto">
            <a:xfrm>
              <a:off x="2377393" y="2651125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1" name="îṣľïḍe">
              <a:extLst>
                <a:ext uri="{FF2B5EF4-FFF2-40B4-BE49-F238E27FC236}">
                  <a16:creationId xmlns:a16="http://schemas.microsoft.com/office/drawing/2014/main" xmlns="" id="{89F65B2C-F086-4F8F-9BC2-7E8F30AABD52}"/>
                </a:ext>
              </a:extLst>
            </p:cNvPr>
            <p:cNvSpPr/>
            <p:nvPr userDrawn="1"/>
          </p:nvSpPr>
          <p:spPr bwMode="auto">
            <a:xfrm>
              <a:off x="2377393" y="2651125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2" name="îṣ1iďè">
              <a:extLst>
                <a:ext uri="{FF2B5EF4-FFF2-40B4-BE49-F238E27FC236}">
                  <a16:creationId xmlns:a16="http://schemas.microsoft.com/office/drawing/2014/main" xmlns="" id="{0CB80795-FA34-4694-80D0-389A718336E7}"/>
                </a:ext>
              </a:extLst>
            </p:cNvPr>
            <p:cNvSpPr/>
            <p:nvPr userDrawn="1"/>
          </p:nvSpPr>
          <p:spPr bwMode="auto">
            <a:xfrm>
              <a:off x="2259918" y="2881313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3" name="îṣļíḑê">
              <a:extLst>
                <a:ext uri="{FF2B5EF4-FFF2-40B4-BE49-F238E27FC236}">
                  <a16:creationId xmlns:a16="http://schemas.microsoft.com/office/drawing/2014/main" xmlns="" id="{85717723-BF70-4167-8F7A-B226B4BAA4BC}"/>
                </a:ext>
              </a:extLst>
            </p:cNvPr>
            <p:cNvSpPr/>
            <p:nvPr userDrawn="1"/>
          </p:nvSpPr>
          <p:spPr bwMode="auto">
            <a:xfrm>
              <a:off x="2259918" y="2881313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4" name="îṩlïďé">
              <a:extLst>
                <a:ext uri="{FF2B5EF4-FFF2-40B4-BE49-F238E27FC236}">
                  <a16:creationId xmlns:a16="http://schemas.microsoft.com/office/drawing/2014/main" xmlns="" id="{565AF101-6FD8-4AE9-B12F-1303393CFD72}"/>
                </a:ext>
              </a:extLst>
            </p:cNvPr>
            <p:cNvSpPr/>
            <p:nvPr userDrawn="1"/>
          </p:nvSpPr>
          <p:spPr bwMode="auto">
            <a:xfrm>
              <a:off x="2256743" y="2792413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5" name="îṡlïḋê">
              <a:extLst>
                <a:ext uri="{FF2B5EF4-FFF2-40B4-BE49-F238E27FC236}">
                  <a16:creationId xmlns:a16="http://schemas.microsoft.com/office/drawing/2014/main" xmlns="" id="{FDA046F1-F3EF-4D3C-AFC0-4FFF05640ACF}"/>
                </a:ext>
              </a:extLst>
            </p:cNvPr>
            <p:cNvSpPr/>
            <p:nvPr userDrawn="1"/>
          </p:nvSpPr>
          <p:spPr bwMode="auto">
            <a:xfrm>
              <a:off x="2256743" y="2792413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6" name="îšlíḍè">
              <a:extLst>
                <a:ext uri="{FF2B5EF4-FFF2-40B4-BE49-F238E27FC236}">
                  <a16:creationId xmlns:a16="http://schemas.microsoft.com/office/drawing/2014/main" xmlns="" id="{3E74C97A-D274-4E30-8C3B-F852D2E750EC}"/>
                </a:ext>
              </a:extLst>
            </p:cNvPr>
            <p:cNvSpPr/>
            <p:nvPr userDrawn="1"/>
          </p:nvSpPr>
          <p:spPr bwMode="auto">
            <a:xfrm>
              <a:off x="2642506" y="2511425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7" name="ïṥḷïdé">
              <a:extLst>
                <a:ext uri="{FF2B5EF4-FFF2-40B4-BE49-F238E27FC236}">
                  <a16:creationId xmlns:a16="http://schemas.microsoft.com/office/drawing/2014/main" xmlns="" id="{A4C9A87B-4C5F-40A4-8D11-77BD7C49F86A}"/>
                </a:ext>
              </a:extLst>
            </p:cNvPr>
            <p:cNvSpPr/>
            <p:nvPr userDrawn="1"/>
          </p:nvSpPr>
          <p:spPr bwMode="auto">
            <a:xfrm>
              <a:off x="2642506" y="2511425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8" name="íṩľide">
              <a:extLst>
                <a:ext uri="{FF2B5EF4-FFF2-40B4-BE49-F238E27FC236}">
                  <a16:creationId xmlns:a16="http://schemas.microsoft.com/office/drawing/2014/main" xmlns="" id="{1285C48C-D89A-48AB-B8D4-22F8EDAC730E}"/>
                </a:ext>
              </a:extLst>
            </p:cNvPr>
            <p:cNvSpPr/>
            <p:nvPr userDrawn="1"/>
          </p:nvSpPr>
          <p:spPr bwMode="auto">
            <a:xfrm>
              <a:off x="2251981" y="1892300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9" name="ïṩļïḋé">
              <a:extLst>
                <a:ext uri="{FF2B5EF4-FFF2-40B4-BE49-F238E27FC236}">
                  <a16:creationId xmlns:a16="http://schemas.microsoft.com/office/drawing/2014/main" xmlns="" id="{60E2ABB0-7134-4A04-9F59-B03D2366AA06}"/>
                </a:ext>
              </a:extLst>
            </p:cNvPr>
            <p:cNvSpPr/>
            <p:nvPr userDrawn="1"/>
          </p:nvSpPr>
          <p:spPr bwMode="auto">
            <a:xfrm>
              <a:off x="2251981" y="1892300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0" name="iṧḷïḍe">
              <a:extLst>
                <a:ext uri="{FF2B5EF4-FFF2-40B4-BE49-F238E27FC236}">
                  <a16:creationId xmlns:a16="http://schemas.microsoft.com/office/drawing/2014/main" xmlns="" id="{B8ACD1FE-4EF7-4F9D-8631-E2A6A5A37F1D}"/>
                </a:ext>
              </a:extLst>
            </p:cNvPr>
            <p:cNvSpPr/>
            <p:nvPr userDrawn="1"/>
          </p:nvSpPr>
          <p:spPr bwMode="auto">
            <a:xfrm>
              <a:off x="2251981" y="2468563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1" name="ïšľíḍe">
              <a:extLst>
                <a:ext uri="{FF2B5EF4-FFF2-40B4-BE49-F238E27FC236}">
                  <a16:creationId xmlns:a16="http://schemas.microsoft.com/office/drawing/2014/main" xmlns="" id="{084F313F-E522-40EB-A2B7-36DF3AC9139B}"/>
                </a:ext>
              </a:extLst>
            </p:cNvPr>
            <p:cNvSpPr/>
            <p:nvPr userDrawn="1"/>
          </p:nvSpPr>
          <p:spPr bwMode="auto">
            <a:xfrm>
              <a:off x="2251981" y="2468563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2" name="isliḍe">
              <a:extLst>
                <a:ext uri="{FF2B5EF4-FFF2-40B4-BE49-F238E27FC236}">
                  <a16:creationId xmlns:a16="http://schemas.microsoft.com/office/drawing/2014/main" xmlns="" id="{B525E659-37A8-40DD-A394-166D45A98749}"/>
                </a:ext>
              </a:extLst>
            </p:cNvPr>
            <p:cNvSpPr/>
            <p:nvPr userDrawn="1"/>
          </p:nvSpPr>
          <p:spPr bwMode="auto">
            <a:xfrm>
              <a:off x="2040843" y="1400175"/>
              <a:ext cx="1557338" cy="2301875"/>
            </a:xfrm>
            <a:custGeom>
              <a:avLst/>
              <a:gdLst>
                <a:gd name="T0" fmla="*/ 15 w 472"/>
                <a:gd name="T1" fmla="*/ 689 h 698"/>
                <a:gd name="T2" fmla="*/ 0 w 472"/>
                <a:gd name="T3" fmla="*/ 698 h 698"/>
                <a:gd name="T4" fmla="*/ 15 w 472"/>
                <a:gd name="T5" fmla="*/ 689 h 698"/>
                <a:gd name="T6" fmla="*/ 15 w 472"/>
                <a:gd name="T7" fmla="*/ 689 h 698"/>
                <a:gd name="T8" fmla="*/ 472 w 472"/>
                <a:gd name="T9" fmla="*/ 0 h 698"/>
                <a:gd name="T10" fmla="*/ 471 w 472"/>
                <a:gd name="T11" fmla="*/ 1 h 698"/>
                <a:gd name="T12" fmla="*/ 17 w 472"/>
                <a:gd name="T13" fmla="*/ 261 h 698"/>
                <a:gd name="T14" fmla="*/ 1 w 472"/>
                <a:gd name="T15" fmla="*/ 289 h 698"/>
                <a:gd name="T16" fmla="*/ 0 w 472"/>
                <a:gd name="T17" fmla="*/ 698 h 698"/>
                <a:gd name="T18" fmla="*/ 1 w 472"/>
                <a:gd name="T19" fmla="*/ 289 h 698"/>
                <a:gd name="T20" fmla="*/ 17 w 472"/>
                <a:gd name="T21" fmla="*/ 261 h 698"/>
                <a:gd name="T22" fmla="*/ 471 w 472"/>
                <a:gd name="T23" fmla="*/ 1 h 698"/>
                <a:gd name="T24" fmla="*/ 472 w 472"/>
                <a:gd name="T2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698">
                  <a:moveTo>
                    <a:pt x="15" y="689"/>
                  </a:moveTo>
                  <a:cubicBezTo>
                    <a:pt x="0" y="698"/>
                    <a:pt x="0" y="698"/>
                    <a:pt x="0" y="698"/>
                  </a:cubicBezTo>
                  <a:cubicBezTo>
                    <a:pt x="15" y="689"/>
                    <a:pt x="15" y="689"/>
                    <a:pt x="15" y="689"/>
                  </a:cubicBezTo>
                  <a:cubicBezTo>
                    <a:pt x="15" y="689"/>
                    <a:pt x="15" y="689"/>
                    <a:pt x="15" y="689"/>
                  </a:cubicBezTo>
                  <a:moveTo>
                    <a:pt x="472" y="0"/>
                  </a:moveTo>
                  <a:cubicBezTo>
                    <a:pt x="471" y="0"/>
                    <a:pt x="471" y="1"/>
                    <a:pt x="471" y="1"/>
                  </a:cubicBezTo>
                  <a:cubicBezTo>
                    <a:pt x="17" y="261"/>
                    <a:pt x="17" y="261"/>
                    <a:pt x="17" y="261"/>
                  </a:cubicBezTo>
                  <a:cubicBezTo>
                    <a:pt x="7" y="267"/>
                    <a:pt x="1" y="277"/>
                    <a:pt x="1" y="289"/>
                  </a:cubicBezTo>
                  <a:cubicBezTo>
                    <a:pt x="0" y="698"/>
                    <a:pt x="0" y="698"/>
                    <a:pt x="0" y="698"/>
                  </a:cubicBezTo>
                  <a:cubicBezTo>
                    <a:pt x="1" y="289"/>
                    <a:pt x="1" y="289"/>
                    <a:pt x="1" y="289"/>
                  </a:cubicBezTo>
                  <a:cubicBezTo>
                    <a:pt x="1" y="277"/>
                    <a:pt x="7" y="267"/>
                    <a:pt x="17" y="261"/>
                  </a:cubicBezTo>
                  <a:cubicBezTo>
                    <a:pt x="471" y="1"/>
                    <a:pt x="471" y="1"/>
                    <a:pt x="471" y="1"/>
                  </a:cubicBezTo>
                  <a:cubicBezTo>
                    <a:pt x="471" y="1"/>
                    <a:pt x="471" y="0"/>
                    <a:pt x="472" y="0"/>
                  </a:cubicBezTo>
                </a:path>
              </a:pathLst>
            </a:custGeom>
            <a:solidFill>
              <a:srgbClr val="7967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3" name="ïṣľîḍè">
              <a:extLst>
                <a:ext uri="{FF2B5EF4-FFF2-40B4-BE49-F238E27FC236}">
                  <a16:creationId xmlns:a16="http://schemas.microsoft.com/office/drawing/2014/main" xmlns="" id="{84FA8D41-C717-4A93-AD9D-FB16FC675411}"/>
                </a:ext>
              </a:extLst>
            </p:cNvPr>
            <p:cNvSpPr/>
            <p:nvPr userDrawn="1"/>
          </p:nvSpPr>
          <p:spPr bwMode="auto">
            <a:xfrm>
              <a:off x="2040843" y="1397000"/>
              <a:ext cx="1584325" cy="2305050"/>
            </a:xfrm>
            <a:custGeom>
              <a:avLst/>
              <a:gdLst>
                <a:gd name="T0" fmla="*/ 479 w 480"/>
                <a:gd name="T1" fmla="*/ 0 h 699"/>
                <a:gd name="T2" fmla="*/ 472 w 480"/>
                <a:gd name="T3" fmla="*/ 1 h 699"/>
                <a:gd name="T4" fmla="*/ 471 w 480"/>
                <a:gd name="T5" fmla="*/ 2 h 699"/>
                <a:gd name="T6" fmla="*/ 17 w 480"/>
                <a:gd name="T7" fmla="*/ 262 h 699"/>
                <a:gd name="T8" fmla="*/ 1 w 480"/>
                <a:gd name="T9" fmla="*/ 290 h 699"/>
                <a:gd name="T10" fmla="*/ 0 w 480"/>
                <a:gd name="T11" fmla="*/ 699 h 699"/>
                <a:gd name="T12" fmla="*/ 15 w 480"/>
                <a:gd name="T13" fmla="*/ 690 h 699"/>
                <a:gd name="T14" fmla="*/ 40 w 480"/>
                <a:gd name="T15" fmla="*/ 652 h 699"/>
                <a:gd name="T16" fmla="*/ 21 w 480"/>
                <a:gd name="T17" fmla="*/ 663 h 699"/>
                <a:gd name="T18" fmla="*/ 22 w 480"/>
                <a:gd name="T19" fmla="*/ 284 h 699"/>
                <a:gd name="T20" fmla="*/ 457 w 480"/>
                <a:gd name="T21" fmla="*/ 35 h 699"/>
                <a:gd name="T22" fmla="*/ 480 w 480"/>
                <a:gd name="T23" fmla="*/ 0 h 699"/>
                <a:gd name="T24" fmla="*/ 479 w 480"/>
                <a:gd name="T25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0" h="699">
                  <a:moveTo>
                    <a:pt x="479" y="0"/>
                  </a:moveTo>
                  <a:cubicBezTo>
                    <a:pt x="476" y="0"/>
                    <a:pt x="474" y="0"/>
                    <a:pt x="472" y="1"/>
                  </a:cubicBezTo>
                  <a:cubicBezTo>
                    <a:pt x="471" y="1"/>
                    <a:pt x="471" y="2"/>
                    <a:pt x="471" y="2"/>
                  </a:cubicBezTo>
                  <a:cubicBezTo>
                    <a:pt x="17" y="262"/>
                    <a:pt x="17" y="262"/>
                    <a:pt x="17" y="262"/>
                  </a:cubicBezTo>
                  <a:cubicBezTo>
                    <a:pt x="7" y="268"/>
                    <a:pt x="1" y="278"/>
                    <a:pt x="1" y="290"/>
                  </a:cubicBezTo>
                  <a:cubicBezTo>
                    <a:pt x="0" y="699"/>
                    <a:pt x="0" y="699"/>
                    <a:pt x="0" y="699"/>
                  </a:cubicBezTo>
                  <a:cubicBezTo>
                    <a:pt x="15" y="690"/>
                    <a:pt x="15" y="690"/>
                    <a:pt x="15" y="690"/>
                  </a:cubicBezTo>
                  <a:cubicBezTo>
                    <a:pt x="22" y="680"/>
                    <a:pt x="30" y="667"/>
                    <a:pt x="40" y="652"/>
                  </a:cubicBezTo>
                  <a:cubicBezTo>
                    <a:pt x="21" y="663"/>
                    <a:pt x="21" y="663"/>
                    <a:pt x="21" y="663"/>
                  </a:cubicBezTo>
                  <a:cubicBezTo>
                    <a:pt x="22" y="284"/>
                    <a:pt x="22" y="284"/>
                    <a:pt x="22" y="284"/>
                  </a:cubicBezTo>
                  <a:cubicBezTo>
                    <a:pt x="457" y="35"/>
                    <a:pt x="457" y="35"/>
                    <a:pt x="457" y="35"/>
                  </a:cubicBezTo>
                  <a:cubicBezTo>
                    <a:pt x="467" y="19"/>
                    <a:pt x="475" y="7"/>
                    <a:pt x="480" y="0"/>
                  </a:cubicBezTo>
                  <a:cubicBezTo>
                    <a:pt x="480" y="0"/>
                    <a:pt x="479" y="0"/>
                    <a:pt x="479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4" name="iṩlidê">
              <a:extLst>
                <a:ext uri="{FF2B5EF4-FFF2-40B4-BE49-F238E27FC236}">
                  <a16:creationId xmlns:a16="http://schemas.microsoft.com/office/drawing/2014/main" xmlns="" id="{8A8008BB-BF61-42A2-9D97-54808CC32362}"/>
                </a:ext>
              </a:extLst>
            </p:cNvPr>
            <p:cNvSpPr/>
            <p:nvPr userDrawn="1"/>
          </p:nvSpPr>
          <p:spPr bwMode="auto">
            <a:xfrm>
              <a:off x="2110693" y="1512888"/>
              <a:ext cx="1438275" cy="2070100"/>
            </a:xfrm>
            <a:custGeom>
              <a:avLst/>
              <a:gdLst>
                <a:gd name="T0" fmla="*/ 45 w 436"/>
                <a:gd name="T1" fmla="*/ 464 h 628"/>
                <a:gd name="T2" fmla="*/ 71 w 436"/>
                <a:gd name="T3" fmla="*/ 450 h 628"/>
                <a:gd name="T4" fmla="*/ 155 w 436"/>
                <a:gd name="T5" fmla="*/ 368 h 628"/>
                <a:gd name="T6" fmla="*/ 173 w 436"/>
                <a:gd name="T7" fmla="*/ 390 h 628"/>
                <a:gd name="T8" fmla="*/ 161 w 436"/>
                <a:gd name="T9" fmla="*/ 376 h 628"/>
                <a:gd name="T10" fmla="*/ 185 w 436"/>
                <a:gd name="T11" fmla="*/ 316 h 628"/>
                <a:gd name="T12" fmla="*/ 45 w 436"/>
                <a:gd name="T13" fmla="*/ 431 h 628"/>
                <a:gd name="T14" fmla="*/ 45 w 436"/>
                <a:gd name="T15" fmla="*/ 431 h 628"/>
                <a:gd name="T16" fmla="*/ 119 w 436"/>
                <a:gd name="T17" fmla="*/ 389 h 628"/>
                <a:gd name="T18" fmla="*/ 45 w 436"/>
                <a:gd name="T19" fmla="*/ 463 h 628"/>
                <a:gd name="T20" fmla="*/ 87 w 436"/>
                <a:gd name="T21" fmla="*/ 415 h 628"/>
                <a:gd name="T22" fmla="*/ 81 w 436"/>
                <a:gd name="T23" fmla="*/ 482 h 628"/>
                <a:gd name="T24" fmla="*/ 45 w 436"/>
                <a:gd name="T25" fmla="*/ 502 h 628"/>
                <a:gd name="T26" fmla="*/ 130 w 436"/>
                <a:gd name="T27" fmla="*/ 453 h 628"/>
                <a:gd name="T28" fmla="*/ 103 w 436"/>
                <a:gd name="T29" fmla="*/ 429 h 628"/>
                <a:gd name="T30" fmla="*/ 120 w 436"/>
                <a:gd name="T31" fmla="*/ 388 h 628"/>
                <a:gd name="T32" fmla="*/ 155 w 436"/>
                <a:gd name="T33" fmla="*/ 367 h 628"/>
                <a:gd name="T34" fmla="*/ 185 w 436"/>
                <a:gd name="T35" fmla="*/ 316 h 628"/>
                <a:gd name="T36" fmla="*/ 194 w 436"/>
                <a:gd name="T37" fmla="*/ 311 h 628"/>
                <a:gd name="T38" fmla="*/ 210 w 436"/>
                <a:gd name="T39" fmla="*/ 336 h 628"/>
                <a:gd name="T40" fmla="*/ 283 w 436"/>
                <a:gd name="T41" fmla="*/ 227 h 628"/>
                <a:gd name="T42" fmla="*/ 45 w 436"/>
                <a:gd name="T43" fmla="*/ 396 h 628"/>
                <a:gd name="T44" fmla="*/ 190 w 436"/>
                <a:gd name="T45" fmla="*/ 303 h 628"/>
                <a:gd name="T46" fmla="*/ 248 w 436"/>
                <a:gd name="T47" fmla="*/ 279 h 628"/>
                <a:gd name="T48" fmla="*/ 436 w 436"/>
                <a:gd name="T49" fmla="*/ 0 h 628"/>
                <a:gd name="T50" fmla="*/ 0 w 436"/>
                <a:gd name="T51" fmla="*/ 628 h 628"/>
                <a:gd name="T52" fmla="*/ 128 w 436"/>
                <a:gd name="T53" fmla="*/ 456 h 628"/>
                <a:gd name="T54" fmla="*/ 43 w 436"/>
                <a:gd name="T55" fmla="*/ 329 h 628"/>
                <a:gd name="T56" fmla="*/ 45 w 436"/>
                <a:gd name="T57" fmla="*/ 363 h 628"/>
                <a:gd name="T58" fmla="*/ 45 w 436"/>
                <a:gd name="T59" fmla="*/ 363 h 628"/>
                <a:gd name="T60" fmla="*/ 324 w 436"/>
                <a:gd name="T61" fmla="*/ 167 h 628"/>
                <a:gd name="T62" fmla="*/ 43 w 436"/>
                <a:gd name="T63" fmla="*/ 327 h 628"/>
                <a:gd name="T64" fmla="*/ 436 w 436"/>
                <a:gd name="T65" fmla="*/ 0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6" h="628">
                  <a:moveTo>
                    <a:pt x="71" y="450"/>
                  </a:moveTo>
                  <a:cubicBezTo>
                    <a:pt x="45" y="464"/>
                    <a:pt x="45" y="464"/>
                    <a:pt x="45" y="464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71" y="450"/>
                    <a:pt x="71" y="450"/>
                    <a:pt x="71" y="450"/>
                  </a:cubicBezTo>
                  <a:moveTo>
                    <a:pt x="167" y="361"/>
                  </a:moveTo>
                  <a:cubicBezTo>
                    <a:pt x="155" y="368"/>
                    <a:pt x="155" y="368"/>
                    <a:pt x="155" y="368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67" y="361"/>
                    <a:pt x="167" y="361"/>
                    <a:pt x="167" y="361"/>
                  </a:cubicBezTo>
                  <a:moveTo>
                    <a:pt x="185" y="316"/>
                  </a:moveTo>
                  <a:cubicBezTo>
                    <a:pt x="45" y="397"/>
                    <a:pt x="45" y="397"/>
                    <a:pt x="45" y="397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44" y="431"/>
                    <a:pt x="44" y="431"/>
                    <a:pt x="44" y="431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45" y="432"/>
                    <a:pt x="45" y="432"/>
                    <a:pt x="45" y="432"/>
                  </a:cubicBezTo>
                  <a:cubicBezTo>
                    <a:pt x="45" y="463"/>
                    <a:pt x="45" y="463"/>
                    <a:pt x="45" y="463"/>
                  </a:cubicBezTo>
                  <a:cubicBezTo>
                    <a:pt x="72" y="448"/>
                    <a:pt x="72" y="448"/>
                    <a:pt x="72" y="448"/>
                  </a:cubicBezTo>
                  <a:cubicBezTo>
                    <a:pt x="87" y="415"/>
                    <a:pt x="87" y="415"/>
                    <a:pt x="87" y="415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37" y="345"/>
                    <a:pt x="137" y="345"/>
                    <a:pt x="137" y="345"/>
                  </a:cubicBezTo>
                  <a:cubicBezTo>
                    <a:pt x="155" y="367"/>
                    <a:pt x="155" y="367"/>
                    <a:pt x="155" y="367"/>
                  </a:cubicBezTo>
                  <a:cubicBezTo>
                    <a:pt x="168" y="360"/>
                    <a:pt x="168" y="360"/>
                    <a:pt x="168" y="360"/>
                  </a:cubicBezTo>
                  <a:cubicBezTo>
                    <a:pt x="185" y="316"/>
                    <a:pt x="185" y="316"/>
                    <a:pt x="185" y="316"/>
                  </a:cubicBezTo>
                  <a:moveTo>
                    <a:pt x="247" y="281"/>
                  </a:moveTo>
                  <a:cubicBezTo>
                    <a:pt x="194" y="311"/>
                    <a:pt x="194" y="311"/>
                    <a:pt x="194" y="31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210" y="336"/>
                    <a:pt x="210" y="336"/>
                    <a:pt x="210" y="336"/>
                  </a:cubicBezTo>
                  <a:cubicBezTo>
                    <a:pt x="222" y="317"/>
                    <a:pt x="235" y="299"/>
                    <a:pt x="247" y="281"/>
                  </a:cubicBezTo>
                  <a:moveTo>
                    <a:pt x="283" y="227"/>
                  </a:moveTo>
                  <a:cubicBezTo>
                    <a:pt x="45" y="365"/>
                    <a:pt x="45" y="365"/>
                    <a:pt x="45" y="365"/>
                  </a:cubicBezTo>
                  <a:cubicBezTo>
                    <a:pt x="45" y="396"/>
                    <a:pt x="45" y="396"/>
                    <a:pt x="45" y="396"/>
                  </a:cubicBezTo>
                  <a:cubicBezTo>
                    <a:pt x="185" y="315"/>
                    <a:pt x="185" y="315"/>
                    <a:pt x="185" y="315"/>
                  </a:cubicBezTo>
                  <a:cubicBezTo>
                    <a:pt x="190" y="303"/>
                    <a:pt x="190" y="303"/>
                    <a:pt x="190" y="303"/>
                  </a:cubicBezTo>
                  <a:cubicBezTo>
                    <a:pt x="194" y="310"/>
                    <a:pt x="194" y="310"/>
                    <a:pt x="194" y="310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260" y="261"/>
                    <a:pt x="271" y="244"/>
                    <a:pt x="283" y="227"/>
                  </a:cubicBezTo>
                  <a:moveTo>
                    <a:pt x="436" y="0"/>
                  </a:moveTo>
                  <a:cubicBezTo>
                    <a:pt x="1" y="249"/>
                    <a:pt x="1" y="249"/>
                    <a:pt x="1" y="249"/>
                  </a:cubicBezTo>
                  <a:cubicBezTo>
                    <a:pt x="0" y="628"/>
                    <a:pt x="0" y="628"/>
                    <a:pt x="0" y="628"/>
                  </a:cubicBezTo>
                  <a:cubicBezTo>
                    <a:pt x="19" y="617"/>
                    <a:pt x="19" y="617"/>
                    <a:pt x="19" y="617"/>
                  </a:cubicBezTo>
                  <a:cubicBezTo>
                    <a:pt x="47" y="576"/>
                    <a:pt x="86" y="519"/>
                    <a:pt x="128" y="456"/>
                  </a:cubicBezTo>
                  <a:cubicBezTo>
                    <a:pt x="44" y="505"/>
                    <a:pt x="44" y="505"/>
                    <a:pt x="44" y="505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5" y="328"/>
                    <a:pt x="45" y="328"/>
                    <a:pt x="45" y="328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44" y="364"/>
                    <a:pt x="44" y="364"/>
                    <a:pt x="44" y="364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284" y="225"/>
                    <a:pt x="284" y="225"/>
                    <a:pt x="284" y="225"/>
                  </a:cubicBezTo>
                  <a:cubicBezTo>
                    <a:pt x="298" y="205"/>
                    <a:pt x="311" y="186"/>
                    <a:pt x="324" y="167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25" y="165"/>
                    <a:pt x="325" y="165"/>
                    <a:pt x="325" y="165"/>
                  </a:cubicBezTo>
                  <a:cubicBezTo>
                    <a:pt x="371" y="96"/>
                    <a:pt x="411" y="37"/>
                    <a:pt x="436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5" name="iṣļîḋé">
              <a:extLst>
                <a:ext uri="{FF2B5EF4-FFF2-40B4-BE49-F238E27FC236}">
                  <a16:creationId xmlns:a16="http://schemas.microsoft.com/office/drawing/2014/main" xmlns="" id="{28768B00-6A97-47AB-B248-56BB26E9DF01}"/>
                </a:ext>
              </a:extLst>
            </p:cNvPr>
            <p:cNvSpPr/>
            <p:nvPr userDrawn="1"/>
          </p:nvSpPr>
          <p:spPr bwMode="auto">
            <a:xfrm>
              <a:off x="2799668" y="2620963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6" name="ïS1ïḋe">
              <a:extLst>
                <a:ext uri="{FF2B5EF4-FFF2-40B4-BE49-F238E27FC236}">
                  <a16:creationId xmlns:a16="http://schemas.microsoft.com/office/drawing/2014/main" xmlns="" id="{7E38F2B9-978A-45EC-951C-07ED40448034}"/>
                </a:ext>
              </a:extLst>
            </p:cNvPr>
            <p:cNvSpPr/>
            <p:nvPr userDrawn="1"/>
          </p:nvSpPr>
          <p:spPr bwMode="auto">
            <a:xfrm>
              <a:off x="2750456" y="2433638"/>
              <a:ext cx="179388" cy="104775"/>
            </a:xfrm>
            <a:custGeom>
              <a:avLst/>
              <a:gdLst>
                <a:gd name="T0" fmla="*/ 54 w 54"/>
                <a:gd name="T1" fmla="*/ 0 h 32"/>
                <a:gd name="T2" fmla="*/ 0 w 54"/>
                <a:gd name="T3" fmla="*/ 31 h 32"/>
                <a:gd name="T4" fmla="*/ 0 w 54"/>
                <a:gd name="T5" fmla="*/ 32 h 32"/>
                <a:gd name="T6" fmla="*/ 53 w 54"/>
                <a:gd name="T7" fmla="*/ 2 h 32"/>
                <a:gd name="T8" fmla="*/ 54 w 54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2">
                  <a:moveTo>
                    <a:pt x="54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4" y="0"/>
                    <a:pt x="54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7" name="iS1íďê">
              <a:extLst>
                <a:ext uri="{FF2B5EF4-FFF2-40B4-BE49-F238E27FC236}">
                  <a16:creationId xmlns:a16="http://schemas.microsoft.com/office/drawing/2014/main" xmlns="" id="{B78C1110-74F9-4369-A1FF-2D2F44D0BFA7}"/>
                </a:ext>
              </a:extLst>
            </p:cNvPr>
            <p:cNvSpPr/>
            <p:nvPr userDrawn="1"/>
          </p:nvSpPr>
          <p:spPr bwMode="auto">
            <a:xfrm>
              <a:off x="2256743" y="2254250"/>
              <a:ext cx="790575" cy="461963"/>
            </a:xfrm>
            <a:custGeom>
              <a:avLst/>
              <a:gdLst>
                <a:gd name="T0" fmla="*/ 240 w 240"/>
                <a:gd name="T1" fmla="*/ 0 h 140"/>
                <a:gd name="T2" fmla="*/ 1 w 240"/>
                <a:gd name="T3" fmla="*/ 138 h 140"/>
                <a:gd name="T4" fmla="*/ 0 w 240"/>
                <a:gd name="T5" fmla="*/ 139 h 140"/>
                <a:gd name="T6" fmla="*/ 0 w 240"/>
                <a:gd name="T7" fmla="*/ 140 h 140"/>
                <a:gd name="T8" fmla="*/ 1 w 240"/>
                <a:gd name="T9" fmla="*/ 140 h 140"/>
                <a:gd name="T10" fmla="*/ 239 w 240"/>
                <a:gd name="T11" fmla="*/ 2 h 140"/>
                <a:gd name="T12" fmla="*/ 240 w 240"/>
                <a:gd name="T1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40">
                  <a:moveTo>
                    <a:pt x="240" y="0"/>
                  </a:moveTo>
                  <a:cubicBezTo>
                    <a:pt x="1" y="138"/>
                    <a:pt x="1" y="138"/>
                    <a:pt x="1" y="138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" y="140"/>
                    <a:pt x="1" y="140"/>
                    <a:pt x="1" y="140"/>
                  </a:cubicBezTo>
                  <a:cubicBezTo>
                    <a:pt x="239" y="2"/>
                    <a:pt x="239" y="2"/>
                    <a:pt x="239" y="2"/>
                  </a:cubicBezTo>
                  <a:cubicBezTo>
                    <a:pt x="239" y="1"/>
                    <a:pt x="240" y="1"/>
                    <a:pt x="240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8" name="iṣ1ídé">
              <a:extLst>
                <a:ext uri="{FF2B5EF4-FFF2-40B4-BE49-F238E27FC236}">
                  <a16:creationId xmlns:a16="http://schemas.microsoft.com/office/drawing/2014/main" xmlns="" id="{30502D0E-F1CA-4580-A1D3-8384B003C56F}"/>
                </a:ext>
              </a:extLst>
            </p:cNvPr>
            <p:cNvSpPr/>
            <p:nvPr userDrawn="1"/>
          </p:nvSpPr>
          <p:spPr bwMode="auto">
            <a:xfrm>
              <a:off x="2256743" y="2551113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9" name="íṩľiḑê">
              <a:extLst>
                <a:ext uri="{FF2B5EF4-FFF2-40B4-BE49-F238E27FC236}">
                  <a16:creationId xmlns:a16="http://schemas.microsoft.com/office/drawing/2014/main" xmlns="" id="{DAC11B51-51EB-4964-840D-6C988D3D96E9}"/>
                </a:ext>
              </a:extLst>
            </p:cNvPr>
            <p:cNvSpPr/>
            <p:nvPr userDrawn="1"/>
          </p:nvSpPr>
          <p:spPr bwMode="auto">
            <a:xfrm>
              <a:off x="2256743" y="2551113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0" name="îŝḷîdé">
              <a:extLst>
                <a:ext uri="{FF2B5EF4-FFF2-40B4-BE49-F238E27FC236}">
                  <a16:creationId xmlns:a16="http://schemas.microsoft.com/office/drawing/2014/main" xmlns="" id="{0CD24B51-4898-403D-8BF5-5CBC1F6BE89E}"/>
                </a:ext>
              </a:extLst>
            </p:cNvPr>
            <p:cNvSpPr/>
            <p:nvPr userDrawn="1"/>
          </p:nvSpPr>
          <p:spPr bwMode="auto">
            <a:xfrm>
              <a:off x="2621868" y="2700338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1" name="íŝḷîḍè">
              <a:extLst>
                <a:ext uri="{FF2B5EF4-FFF2-40B4-BE49-F238E27FC236}">
                  <a16:creationId xmlns:a16="http://schemas.microsoft.com/office/drawing/2014/main" xmlns="" id="{E20FB2D9-7543-46C3-A1F6-91CC3554A29F}"/>
                </a:ext>
              </a:extLst>
            </p:cNvPr>
            <p:cNvSpPr/>
            <p:nvPr userDrawn="1"/>
          </p:nvSpPr>
          <p:spPr bwMode="auto">
            <a:xfrm>
              <a:off x="2621868" y="2700338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2" name="ï$ľiḍè">
              <a:extLst>
                <a:ext uri="{FF2B5EF4-FFF2-40B4-BE49-F238E27FC236}">
                  <a16:creationId xmlns:a16="http://schemas.microsoft.com/office/drawing/2014/main" xmlns="" id="{60A20D52-CD2A-4051-B4C7-9C600AF1B201}"/>
                </a:ext>
              </a:extLst>
            </p:cNvPr>
            <p:cNvSpPr/>
            <p:nvPr userDrawn="1"/>
          </p:nvSpPr>
          <p:spPr bwMode="auto">
            <a:xfrm>
              <a:off x="2256743" y="2990850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3" name="íšļídè">
              <a:extLst>
                <a:ext uri="{FF2B5EF4-FFF2-40B4-BE49-F238E27FC236}">
                  <a16:creationId xmlns:a16="http://schemas.microsoft.com/office/drawing/2014/main" xmlns="" id="{0D2943DA-9C83-4219-8913-84D749901279}"/>
                </a:ext>
              </a:extLst>
            </p:cNvPr>
            <p:cNvSpPr/>
            <p:nvPr userDrawn="1"/>
          </p:nvSpPr>
          <p:spPr bwMode="auto">
            <a:xfrm>
              <a:off x="2256743" y="2990850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4" name="ïṣļïḋê">
              <a:extLst>
                <a:ext uri="{FF2B5EF4-FFF2-40B4-BE49-F238E27FC236}">
                  <a16:creationId xmlns:a16="http://schemas.microsoft.com/office/drawing/2014/main" xmlns="" id="{F025D1B8-A1E1-440A-9AB3-F3FE0508A5C4}"/>
                </a:ext>
              </a:extLst>
            </p:cNvPr>
            <p:cNvSpPr/>
            <p:nvPr userDrawn="1"/>
          </p:nvSpPr>
          <p:spPr bwMode="auto">
            <a:xfrm>
              <a:off x="2377393" y="2651125"/>
              <a:ext cx="304800" cy="450850"/>
            </a:xfrm>
            <a:custGeom>
              <a:avLst/>
              <a:gdLst>
                <a:gd name="T0" fmla="*/ 56 w 92"/>
                <a:gd name="T1" fmla="*/ 0 h 137"/>
                <a:gd name="T2" fmla="*/ 39 w 92"/>
                <a:gd name="T3" fmla="*/ 43 h 137"/>
                <a:gd name="T4" fmla="*/ 38 w 92"/>
                <a:gd name="T5" fmla="*/ 44 h 137"/>
                <a:gd name="T6" fmla="*/ 22 w 92"/>
                <a:gd name="T7" fmla="*/ 84 h 137"/>
                <a:gd name="T8" fmla="*/ 0 w 92"/>
                <a:gd name="T9" fmla="*/ 137 h 137"/>
                <a:gd name="T10" fmla="*/ 49 w 92"/>
                <a:gd name="T11" fmla="*/ 108 h 137"/>
                <a:gd name="T12" fmla="*/ 92 w 92"/>
                <a:gd name="T13" fmla="*/ 45 h 137"/>
                <a:gd name="T14" fmla="*/ 80 w 92"/>
                <a:gd name="T15" fmla="*/ 31 h 137"/>
                <a:gd name="T16" fmla="*/ 74 w 92"/>
                <a:gd name="T17" fmla="*/ 23 h 137"/>
                <a:gd name="T18" fmla="*/ 74 w 92"/>
                <a:gd name="T19" fmla="*/ 22 h 137"/>
                <a:gd name="T20" fmla="*/ 56 w 92"/>
                <a:gd name="T21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37">
                  <a:moveTo>
                    <a:pt x="56" y="0"/>
                  </a:moveTo>
                  <a:cubicBezTo>
                    <a:pt x="39" y="43"/>
                    <a:pt x="39" y="43"/>
                    <a:pt x="39" y="43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63" y="88"/>
                    <a:pt x="77" y="67"/>
                    <a:pt x="92" y="45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rgbClr val="A5A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5" name="íṥľidè">
              <a:extLst>
                <a:ext uri="{FF2B5EF4-FFF2-40B4-BE49-F238E27FC236}">
                  <a16:creationId xmlns:a16="http://schemas.microsoft.com/office/drawing/2014/main" xmlns="" id="{7F78B405-01B6-4D58-B4C9-5C41D4FCD4EE}"/>
                </a:ext>
              </a:extLst>
            </p:cNvPr>
            <p:cNvSpPr/>
            <p:nvPr userDrawn="1"/>
          </p:nvSpPr>
          <p:spPr bwMode="auto">
            <a:xfrm>
              <a:off x="2259918" y="2881313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6" name="íŝḻíďe">
              <a:extLst>
                <a:ext uri="{FF2B5EF4-FFF2-40B4-BE49-F238E27FC236}">
                  <a16:creationId xmlns:a16="http://schemas.microsoft.com/office/drawing/2014/main" xmlns="" id="{E1EB1D35-D3A3-4F69-BF90-6888B2D6EED0}"/>
                </a:ext>
              </a:extLst>
            </p:cNvPr>
            <p:cNvSpPr/>
            <p:nvPr userDrawn="1"/>
          </p:nvSpPr>
          <p:spPr bwMode="auto">
            <a:xfrm>
              <a:off x="2259918" y="2881313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7" name="iṥ1îḑê">
              <a:extLst>
                <a:ext uri="{FF2B5EF4-FFF2-40B4-BE49-F238E27FC236}">
                  <a16:creationId xmlns:a16="http://schemas.microsoft.com/office/drawing/2014/main" xmlns="" id="{2D9B10D5-46F4-4EB7-9FDC-6013BD4A7971}"/>
                </a:ext>
              </a:extLst>
            </p:cNvPr>
            <p:cNvSpPr/>
            <p:nvPr userDrawn="1"/>
          </p:nvSpPr>
          <p:spPr bwMode="auto">
            <a:xfrm>
              <a:off x="2256743" y="2792413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8" name="ísḻïḓé">
              <a:extLst>
                <a:ext uri="{FF2B5EF4-FFF2-40B4-BE49-F238E27FC236}">
                  <a16:creationId xmlns:a16="http://schemas.microsoft.com/office/drawing/2014/main" xmlns="" id="{8DF3DF9C-750D-450B-8084-B5AE5555C19F}"/>
                </a:ext>
              </a:extLst>
            </p:cNvPr>
            <p:cNvSpPr/>
            <p:nvPr userDrawn="1"/>
          </p:nvSpPr>
          <p:spPr bwMode="auto">
            <a:xfrm>
              <a:off x="2256743" y="2792413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9" name="íṡḷíḓé">
              <a:extLst>
                <a:ext uri="{FF2B5EF4-FFF2-40B4-BE49-F238E27FC236}">
                  <a16:creationId xmlns:a16="http://schemas.microsoft.com/office/drawing/2014/main" xmlns="" id="{7728D66E-CEFB-40B2-BBF0-CE6AFC34E240}"/>
                </a:ext>
              </a:extLst>
            </p:cNvPr>
            <p:cNvSpPr/>
            <p:nvPr userDrawn="1"/>
          </p:nvSpPr>
          <p:spPr bwMode="auto">
            <a:xfrm>
              <a:off x="2642506" y="2511425"/>
              <a:ext cx="157163" cy="287338"/>
            </a:xfrm>
            <a:custGeom>
              <a:avLst/>
              <a:gdLst>
                <a:gd name="T0" fmla="*/ 29 w 48"/>
                <a:gd name="T1" fmla="*/ 0 h 87"/>
                <a:gd name="T2" fmla="*/ 24 w 48"/>
                <a:gd name="T3" fmla="*/ 12 h 87"/>
                <a:gd name="T4" fmla="*/ 24 w 48"/>
                <a:gd name="T5" fmla="*/ 13 h 87"/>
                <a:gd name="T6" fmla="*/ 7 w 48"/>
                <a:gd name="T7" fmla="*/ 57 h 87"/>
                <a:gd name="T8" fmla="*/ 6 w 48"/>
                <a:gd name="T9" fmla="*/ 58 h 87"/>
                <a:gd name="T10" fmla="*/ 0 w 48"/>
                <a:gd name="T11" fmla="*/ 73 h 87"/>
                <a:gd name="T12" fmla="*/ 12 w 48"/>
                <a:gd name="T13" fmla="*/ 87 h 87"/>
                <a:gd name="T14" fmla="*/ 48 w 48"/>
                <a:gd name="T15" fmla="*/ 33 h 87"/>
                <a:gd name="T16" fmla="*/ 48 w 48"/>
                <a:gd name="T17" fmla="*/ 33 h 87"/>
                <a:gd name="T18" fmla="*/ 33 w 48"/>
                <a:gd name="T19" fmla="*/ 8 h 87"/>
                <a:gd name="T20" fmla="*/ 33 w 48"/>
                <a:gd name="T21" fmla="*/ 7 h 87"/>
                <a:gd name="T22" fmla="*/ 29 w 48"/>
                <a:gd name="T2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7">
                  <a:moveTo>
                    <a:pt x="29" y="0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24" y="69"/>
                    <a:pt x="36" y="51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0" name="iṥļïḋê">
              <a:extLst>
                <a:ext uri="{FF2B5EF4-FFF2-40B4-BE49-F238E27FC236}">
                  <a16:creationId xmlns:a16="http://schemas.microsoft.com/office/drawing/2014/main" xmlns="" id="{1AFCCCA4-C678-474F-8085-29D4BC062446}"/>
                </a:ext>
              </a:extLst>
            </p:cNvPr>
            <p:cNvSpPr/>
            <p:nvPr userDrawn="1"/>
          </p:nvSpPr>
          <p:spPr bwMode="auto">
            <a:xfrm>
              <a:off x="2251981" y="2057400"/>
              <a:ext cx="931863" cy="539750"/>
            </a:xfrm>
            <a:custGeom>
              <a:avLst/>
              <a:gdLst>
                <a:gd name="T0" fmla="*/ 282 w 282"/>
                <a:gd name="T1" fmla="*/ 0 h 164"/>
                <a:gd name="T2" fmla="*/ 0 w 282"/>
                <a:gd name="T3" fmla="*/ 162 h 164"/>
                <a:gd name="T4" fmla="*/ 0 w 282"/>
                <a:gd name="T5" fmla="*/ 164 h 164"/>
                <a:gd name="T6" fmla="*/ 281 w 282"/>
                <a:gd name="T7" fmla="*/ 2 h 164"/>
                <a:gd name="T8" fmla="*/ 282 w 282"/>
                <a:gd name="T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64">
                  <a:moveTo>
                    <a:pt x="282" y="0"/>
                  </a:moveTo>
                  <a:cubicBezTo>
                    <a:pt x="0" y="162"/>
                    <a:pt x="0" y="162"/>
                    <a:pt x="0" y="162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1"/>
                    <a:pt x="281" y="1"/>
                    <a:pt x="28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1" name="ïŝ1ïḑê">
              <a:extLst>
                <a:ext uri="{FF2B5EF4-FFF2-40B4-BE49-F238E27FC236}">
                  <a16:creationId xmlns:a16="http://schemas.microsoft.com/office/drawing/2014/main" xmlns="" id="{6792A375-9290-47E0-B5AA-FE4AC859440E}"/>
                </a:ext>
              </a:extLst>
            </p:cNvPr>
            <p:cNvSpPr/>
            <p:nvPr userDrawn="1"/>
          </p:nvSpPr>
          <p:spPr bwMode="auto">
            <a:xfrm>
              <a:off x="2251981" y="2593975"/>
              <a:ext cx="287338" cy="584200"/>
            </a:xfrm>
            <a:custGeom>
              <a:avLst/>
              <a:gdLst>
                <a:gd name="T0" fmla="*/ 2 w 87"/>
                <a:gd name="T1" fmla="*/ 0 h 177"/>
                <a:gd name="T2" fmla="*/ 0 w 87"/>
                <a:gd name="T3" fmla="*/ 1 h 177"/>
                <a:gd name="T4" fmla="*/ 1 w 87"/>
                <a:gd name="T5" fmla="*/ 177 h 177"/>
                <a:gd name="T6" fmla="*/ 85 w 87"/>
                <a:gd name="T7" fmla="*/ 128 h 177"/>
                <a:gd name="T8" fmla="*/ 87 w 87"/>
                <a:gd name="T9" fmla="*/ 125 h 177"/>
                <a:gd name="T10" fmla="*/ 2 w 87"/>
                <a:gd name="T11" fmla="*/ 174 h 177"/>
                <a:gd name="T12" fmla="*/ 2 w 87"/>
                <a:gd name="T13" fmla="*/ 174 h 177"/>
                <a:gd name="T14" fmla="*/ 2 w 87"/>
                <a:gd name="T15" fmla="*/ 174 h 177"/>
                <a:gd name="T16" fmla="*/ 2 w 87"/>
                <a:gd name="T17" fmla="*/ 136 h 177"/>
                <a:gd name="T18" fmla="*/ 1 w 87"/>
                <a:gd name="T19" fmla="*/ 137 h 177"/>
                <a:gd name="T20" fmla="*/ 1 w 87"/>
                <a:gd name="T21" fmla="*/ 136 h 177"/>
                <a:gd name="T22" fmla="*/ 2 w 87"/>
                <a:gd name="T23" fmla="*/ 135 h 177"/>
                <a:gd name="T24" fmla="*/ 2 w 87"/>
                <a:gd name="T25" fmla="*/ 135 h 177"/>
                <a:gd name="T26" fmla="*/ 2 w 87"/>
                <a:gd name="T27" fmla="*/ 104 h 177"/>
                <a:gd name="T28" fmla="*/ 1 w 87"/>
                <a:gd name="T29" fmla="*/ 105 h 177"/>
                <a:gd name="T30" fmla="*/ 1 w 87"/>
                <a:gd name="T31" fmla="*/ 103 h 177"/>
                <a:gd name="T32" fmla="*/ 2 w 87"/>
                <a:gd name="T33" fmla="*/ 103 h 177"/>
                <a:gd name="T34" fmla="*/ 2 w 87"/>
                <a:gd name="T35" fmla="*/ 69 h 177"/>
                <a:gd name="T36" fmla="*/ 1 w 87"/>
                <a:gd name="T37" fmla="*/ 70 h 177"/>
                <a:gd name="T38" fmla="*/ 1 w 87"/>
                <a:gd name="T39" fmla="*/ 69 h 177"/>
                <a:gd name="T40" fmla="*/ 2 w 87"/>
                <a:gd name="T41" fmla="*/ 68 h 177"/>
                <a:gd name="T42" fmla="*/ 2 w 87"/>
                <a:gd name="T43" fmla="*/ 37 h 177"/>
                <a:gd name="T44" fmla="*/ 1 w 87"/>
                <a:gd name="T45" fmla="*/ 37 h 177"/>
                <a:gd name="T46" fmla="*/ 1 w 87"/>
                <a:gd name="T47" fmla="*/ 36 h 177"/>
                <a:gd name="T48" fmla="*/ 2 w 87"/>
                <a:gd name="T49" fmla="*/ 35 h 177"/>
                <a:gd name="T50" fmla="*/ 2 w 87"/>
                <a:gd name="T51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177">
                  <a:moveTo>
                    <a:pt x="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77"/>
                    <a:pt x="1" y="177"/>
                    <a:pt x="1" y="177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86" y="127"/>
                    <a:pt x="86" y="126"/>
                    <a:pt x="87" y="125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1" y="136"/>
                    <a:pt x="1" y="136"/>
                    <a:pt x="1" y="136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6" name="î$ľíḑê">
              <a:extLst>
                <a:ext uri="{FF2B5EF4-FFF2-40B4-BE49-F238E27FC236}">
                  <a16:creationId xmlns:a16="http://schemas.microsoft.com/office/drawing/2014/main" xmlns="" id="{5C681763-AAF7-4F42-A968-7A3E76E29A0F}"/>
                </a:ext>
              </a:extLst>
            </p:cNvPr>
            <p:cNvSpPr/>
            <p:nvPr userDrawn="1"/>
          </p:nvSpPr>
          <p:spPr bwMode="auto">
            <a:xfrm>
              <a:off x="1672543" y="5222875"/>
              <a:ext cx="808038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133 w 245"/>
                <a:gd name="T7" fmla="*/ 5 h 79"/>
                <a:gd name="T8" fmla="*/ 106 w 245"/>
                <a:gd name="T9" fmla="*/ 21 h 79"/>
                <a:gd name="T10" fmla="*/ 73 w 245"/>
                <a:gd name="T11" fmla="*/ 3 h 79"/>
                <a:gd name="T12" fmla="*/ 2 w 245"/>
                <a:gd name="T13" fmla="*/ 0 h 79"/>
                <a:gd name="T14" fmla="*/ 2 w 245"/>
                <a:gd name="T1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190" y="7"/>
                    <a:pt x="133" y="5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34" y="2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7" name="îśľiḍé">
              <a:extLst>
                <a:ext uri="{FF2B5EF4-FFF2-40B4-BE49-F238E27FC236}">
                  <a16:creationId xmlns:a16="http://schemas.microsoft.com/office/drawing/2014/main" xmlns="" id="{CDB7C221-B676-4C4A-9F08-AAFD90F6D71E}"/>
                </a:ext>
              </a:extLst>
            </p:cNvPr>
            <p:cNvSpPr/>
            <p:nvPr userDrawn="1"/>
          </p:nvSpPr>
          <p:spPr bwMode="auto">
            <a:xfrm>
              <a:off x="1912256" y="5232400"/>
              <a:ext cx="198438" cy="58738"/>
            </a:xfrm>
            <a:custGeom>
              <a:avLst/>
              <a:gdLst>
                <a:gd name="T0" fmla="*/ 0 w 60"/>
                <a:gd name="T1" fmla="*/ 0 h 18"/>
                <a:gd name="T2" fmla="*/ 33 w 60"/>
                <a:gd name="T3" fmla="*/ 18 h 18"/>
                <a:gd name="T4" fmla="*/ 60 w 60"/>
                <a:gd name="T5" fmla="*/ 2 h 18"/>
                <a:gd name="T6" fmla="*/ 60 w 60"/>
                <a:gd name="T7" fmla="*/ 2 h 18"/>
                <a:gd name="T8" fmla="*/ 33 w 60"/>
                <a:gd name="T9" fmla="*/ 18 h 18"/>
                <a:gd name="T10" fmla="*/ 2 w 60"/>
                <a:gd name="T11" fmla="*/ 0 h 18"/>
                <a:gd name="T12" fmla="*/ 0 w 6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cubicBezTo>
                    <a:pt x="33" y="18"/>
                    <a:pt x="33" y="18"/>
                    <a:pt x="33" y="18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6A82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8" name="îslíďé">
              <a:extLst>
                <a:ext uri="{FF2B5EF4-FFF2-40B4-BE49-F238E27FC236}">
                  <a16:creationId xmlns:a16="http://schemas.microsoft.com/office/drawing/2014/main" xmlns="" id="{42CB3758-05F5-405A-96FA-EE1885BB60FE}"/>
                </a:ext>
              </a:extLst>
            </p:cNvPr>
            <p:cNvSpPr/>
            <p:nvPr userDrawn="1"/>
          </p:nvSpPr>
          <p:spPr bwMode="auto">
            <a:xfrm>
              <a:off x="1920193" y="5232400"/>
              <a:ext cx="190500" cy="58738"/>
            </a:xfrm>
            <a:custGeom>
              <a:avLst/>
              <a:gdLst>
                <a:gd name="T0" fmla="*/ 0 w 58"/>
                <a:gd name="T1" fmla="*/ 0 h 18"/>
                <a:gd name="T2" fmla="*/ 31 w 58"/>
                <a:gd name="T3" fmla="*/ 18 h 18"/>
                <a:gd name="T4" fmla="*/ 58 w 58"/>
                <a:gd name="T5" fmla="*/ 2 h 18"/>
                <a:gd name="T6" fmla="*/ 0 w 5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18">
                  <a:moveTo>
                    <a:pt x="0" y="0"/>
                  </a:moveTo>
                  <a:cubicBezTo>
                    <a:pt x="31" y="18"/>
                    <a:pt x="31" y="18"/>
                    <a:pt x="31" y="18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38" y="2"/>
                    <a:pt x="18" y="1"/>
                    <a:pt x="0" y="0"/>
                  </a:cubicBezTo>
                </a:path>
              </a:pathLst>
            </a:custGeom>
            <a:solidFill>
              <a:srgbClr val="8396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9" name="í$ḻídê">
              <a:extLst>
                <a:ext uri="{FF2B5EF4-FFF2-40B4-BE49-F238E27FC236}">
                  <a16:creationId xmlns:a16="http://schemas.microsoft.com/office/drawing/2014/main" xmlns="" id="{915CD982-AAD7-43B4-B1F3-6595023B5B55}"/>
                </a:ext>
              </a:extLst>
            </p:cNvPr>
            <p:cNvSpPr/>
            <p:nvPr userDrawn="1"/>
          </p:nvSpPr>
          <p:spPr bwMode="auto">
            <a:xfrm>
              <a:off x="1678893" y="5008563"/>
              <a:ext cx="801688" cy="431800"/>
            </a:xfrm>
            <a:custGeom>
              <a:avLst/>
              <a:gdLst>
                <a:gd name="T0" fmla="*/ 505 w 505"/>
                <a:gd name="T1" fmla="*/ 153 h 272"/>
                <a:gd name="T2" fmla="*/ 235 w 505"/>
                <a:gd name="T3" fmla="*/ 0 h 272"/>
                <a:gd name="T4" fmla="*/ 0 w 505"/>
                <a:gd name="T5" fmla="*/ 135 h 272"/>
                <a:gd name="T6" fmla="*/ 237 w 505"/>
                <a:gd name="T7" fmla="*/ 272 h 272"/>
                <a:gd name="T8" fmla="*/ 301 w 505"/>
                <a:gd name="T9" fmla="*/ 270 h 272"/>
                <a:gd name="T10" fmla="*/ 505 w 505"/>
                <a:gd name="T11" fmla="*/ 15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5" h="272">
                  <a:moveTo>
                    <a:pt x="505" y="153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1" y="270"/>
                  </a:lnTo>
                  <a:lnTo>
                    <a:pt x="505" y="153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solidFill>
                  <a:srgbClr val="000000"/>
                </a:solidFill>
              </a:endParaRPr>
            </a:p>
          </p:txBody>
        </p:sp>
        <p:sp>
          <p:nvSpPr>
            <p:cNvPr id="550" name="ïsḻîḋè">
              <a:extLst>
                <a:ext uri="{FF2B5EF4-FFF2-40B4-BE49-F238E27FC236}">
                  <a16:creationId xmlns:a16="http://schemas.microsoft.com/office/drawing/2014/main" xmlns="" id="{79CA549A-5673-4656-880F-42E8945297CC}"/>
                </a:ext>
              </a:extLst>
            </p:cNvPr>
            <p:cNvSpPr/>
            <p:nvPr userDrawn="1"/>
          </p:nvSpPr>
          <p:spPr bwMode="auto">
            <a:xfrm>
              <a:off x="2055131" y="5376863"/>
              <a:ext cx="101600" cy="63500"/>
            </a:xfrm>
            <a:custGeom>
              <a:avLst/>
              <a:gdLst>
                <a:gd name="T0" fmla="*/ 31 w 64"/>
                <a:gd name="T1" fmla="*/ 0 h 40"/>
                <a:gd name="T2" fmla="*/ 64 w 64"/>
                <a:gd name="T3" fmla="*/ 38 h 40"/>
                <a:gd name="T4" fmla="*/ 0 w 64"/>
                <a:gd name="T5" fmla="*/ 40 h 40"/>
                <a:gd name="T6" fmla="*/ 31 w 64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40">
                  <a:moveTo>
                    <a:pt x="31" y="0"/>
                  </a:moveTo>
                  <a:lnTo>
                    <a:pt x="64" y="38"/>
                  </a:lnTo>
                  <a:lnTo>
                    <a:pt x="0" y="4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300270" y="2766740"/>
            <a:ext cx="5427661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381E60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300270" y="1584051"/>
            <a:ext cx="5427661" cy="11826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381E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05166" y="4600916"/>
            <a:ext cx="2390159" cy="29627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381E60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11299" y="4966354"/>
            <a:ext cx="1680659" cy="29627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381E60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69624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Freeform 5">
            <a:extLst>
              <a:ext uri="{FF2B5EF4-FFF2-40B4-BE49-F238E27FC236}">
                <a16:creationId xmlns:a16="http://schemas.microsoft.com/office/drawing/2014/main" xmlns="" id="{AB239372-BC94-4CE8-A627-E4A79F281621}"/>
              </a:ext>
            </a:extLst>
          </p:cNvPr>
          <p:cNvSpPr>
            <a:spLocks/>
          </p:cNvSpPr>
          <p:nvPr userDrawn="1"/>
        </p:nvSpPr>
        <p:spPr bwMode="auto">
          <a:xfrm>
            <a:off x="3645048" y="1562100"/>
            <a:ext cx="9689584" cy="5064126"/>
          </a:xfrm>
          <a:custGeom>
            <a:avLst/>
            <a:gdLst>
              <a:gd name="T0" fmla="*/ 544 w 4868"/>
              <a:gd name="T1" fmla="*/ 1078 h 2546"/>
              <a:gd name="T2" fmla="*/ 2244 w 4868"/>
              <a:gd name="T3" fmla="*/ 2530 h 2546"/>
              <a:gd name="T4" fmla="*/ 3844 w 4868"/>
              <a:gd name="T5" fmla="*/ 1818 h 2546"/>
              <a:gd name="T6" fmla="*/ 3696 w 4868"/>
              <a:gd name="T7" fmla="*/ 426 h 2546"/>
              <a:gd name="T8" fmla="*/ 1492 w 4868"/>
              <a:gd name="T9" fmla="*/ 150 h 2546"/>
              <a:gd name="T10" fmla="*/ 544 w 4868"/>
              <a:gd name="T11" fmla="*/ 1078 h 2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868" h="2546">
                <a:moveTo>
                  <a:pt x="544" y="1078"/>
                </a:moveTo>
                <a:cubicBezTo>
                  <a:pt x="0" y="1430"/>
                  <a:pt x="1056" y="2546"/>
                  <a:pt x="2244" y="2530"/>
                </a:cubicBezTo>
                <a:cubicBezTo>
                  <a:pt x="3432" y="2514"/>
                  <a:pt x="3844" y="1818"/>
                  <a:pt x="3844" y="1818"/>
                </a:cubicBezTo>
                <a:cubicBezTo>
                  <a:pt x="3844" y="1818"/>
                  <a:pt x="4868" y="434"/>
                  <a:pt x="3696" y="426"/>
                </a:cubicBezTo>
                <a:cubicBezTo>
                  <a:pt x="3106" y="422"/>
                  <a:pt x="2059" y="0"/>
                  <a:pt x="1492" y="150"/>
                </a:cubicBezTo>
                <a:cubicBezTo>
                  <a:pt x="932" y="299"/>
                  <a:pt x="814" y="903"/>
                  <a:pt x="544" y="1078"/>
                </a:cubicBez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5700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6816" y="355328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4" name="821242f6-ee5f-4bf5-a8d8-efc95807eb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011A687C-15FF-4C5C-92B9-E34C52294FC4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flipH="1">
            <a:off x="5289441" y="2132013"/>
            <a:ext cx="5715001" cy="4108450"/>
            <a:chOff x="3236913" y="1370013"/>
            <a:chExt cx="5715001" cy="4108450"/>
          </a:xfrm>
        </p:grpSpPr>
        <p:sp>
          <p:nvSpPr>
            <p:cNvPr id="5" name="íSḻíḋe">
              <a:extLst>
                <a:ext uri="{FF2B5EF4-FFF2-40B4-BE49-F238E27FC236}">
                  <a16:creationId xmlns:a16="http://schemas.microsoft.com/office/drawing/2014/main" xmlns="" id="{B51AAC29-83D2-4F49-A1F8-C63A0C0F8050}"/>
                </a:ext>
              </a:extLst>
            </p:cNvPr>
            <p:cNvSpPr/>
            <p:nvPr userDrawn="1"/>
          </p:nvSpPr>
          <p:spPr bwMode="auto">
            <a:xfrm>
              <a:off x="7073901" y="3773488"/>
              <a:ext cx="1189038" cy="722313"/>
            </a:xfrm>
            <a:custGeom>
              <a:avLst/>
              <a:gdLst>
                <a:gd name="T0" fmla="*/ 119 w 360"/>
                <a:gd name="T1" fmla="*/ 0 h 219"/>
                <a:gd name="T2" fmla="*/ 108 w 360"/>
                <a:gd name="T3" fmla="*/ 2 h 219"/>
                <a:gd name="T4" fmla="*/ 5 w 360"/>
                <a:gd name="T5" fmla="*/ 62 h 219"/>
                <a:gd name="T6" fmla="*/ 0 w 360"/>
                <a:gd name="T7" fmla="*/ 68 h 219"/>
                <a:gd name="T8" fmla="*/ 0 w 360"/>
                <a:gd name="T9" fmla="*/ 79 h 219"/>
                <a:gd name="T10" fmla="*/ 5 w 360"/>
                <a:gd name="T11" fmla="*/ 86 h 219"/>
                <a:gd name="T12" fmla="*/ 232 w 360"/>
                <a:gd name="T13" fmla="*/ 217 h 219"/>
                <a:gd name="T14" fmla="*/ 241 w 360"/>
                <a:gd name="T15" fmla="*/ 219 h 219"/>
                <a:gd name="T16" fmla="*/ 242 w 360"/>
                <a:gd name="T17" fmla="*/ 219 h 219"/>
                <a:gd name="T18" fmla="*/ 252 w 360"/>
                <a:gd name="T19" fmla="*/ 217 h 219"/>
                <a:gd name="T20" fmla="*/ 345 w 360"/>
                <a:gd name="T21" fmla="*/ 163 h 219"/>
                <a:gd name="T22" fmla="*/ 356 w 360"/>
                <a:gd name="T23" fmla="*/ 157 h 219"/>
                <a:gd name="T24" fmla="*/ 360 w 360"/>
                <a:gd name="T25" fmla="*/ 152 h 219"/>
                <a:gd name="T26" fmla="*/ 360 w 360"/>
                <a:gd name="T27" fmla="*/ 150 h 219"/>
                <a:gd name="T28" fmla="*/ 360 w 360"/>
                <a:gd name="T29" fmla="*/ 141 h 219"/>
                <a:gd name="T30" fmla="*/ 360 w 360"/>
                <a:gd name="T31" fmla="*/ 138 h 219"/>
                <a:gd name="T32" fmla="*/ 356 w 360"/>
                <a:gd name="T33" fmla="*/ 133 h 219"/>
                <a:gd name="T34" fmla="*/ 129 w 360"/>
                <a:gd name="T35" fmla="*/ 2 h 219"/>
                <a:gd name="T36" fmla="*/ 119 w 360"/>
                <a:gd name="T3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0" h="219">
                  <a:moveTo>
                    <a:pt x="119" y="0"/>
                  </a:moveTo>
                  <a:cubicBezTo>
                    <a:pt x="113" y="0"/>
                    <a:pt x="108" y="2"/>
                    <a:pt x="108" y="2"/>
                  </a:cubicBezTo>
                  <a:cubicBezTo>
                    <a:pt x="108" y="2"/>
                    <a:pt x="15" y="56"/>
                    <a:pt x="5" y="62"/>
                  </a:cubicBezTo>
                  <a:cubicBezTo>
                    <a:pt x="1" y="64"/>
                    <a:pt x="0" y="66"/>
                    <a:pt x="0" y="6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5" y="86"/>
                    <a:pt x="5" y="86"/>
                  </a:cubicBezTo>
                  <a:cubicBezTo>
                    <a:pt x="5" y="86"/>
                    <a:pt x="221" y="211"/>
                    <a:pt x="232" y="217"/>
                  </a:cubicBezTo>
                  <a:cubicBezTo>
                    <a:pt x="235" y="218"/>
                    <a:pt x="238" y="219"/>
                    <a:pt x="241" y="219"/>
                  </a:cubicBezTo>
                  <a:cubicBezTo>
                    <a:pt x="241" y="219"/>
                    <a:pt x="242" y="219"/>
                    <a:pt x="242" y="219"/>
                  </a:cubicBezTo>
                  <a:cubicBezTo>
                    <a:pt x="248" y="219"/>
                    <a:pt x="252" y="217"/>
                    <a:pt x="252" y="217"/>
                  </a:cubicBezTo>
                  <a:cubicBezTo>
                    <a:pt x="345" y="163"/>
                    <a:pt x="345" y="163"/>
                    <a:pt x="345" y="163"/>
                  </a:cubicBezTo>
                  <a:cubicBezTo>
                    <a:pt x="345" y="163"/>
                    <a:pt x="345" y="163"/>
                    <a:pt x="356" y="157"/>
                  </a:cubicBezTo>
                  <a:cubicBezTo>
                    <a:pt x="358" y="155"/>
                    <a:pt x="360" y="154"/>
                    <a:pt x="360" y="152"/>
                  </a:cubicBezTo>
                  <a:cubicBezTo>
                    <a:pt x="360" y="152"/>
                    <a:pt x="360" y="151"/>
                    <a:pt x="360" y="150"/>
                  </a:cubicBezTo>
                  <a:cubicBezTo>
                    <a:pt x="360" y="141"/>
                    <a:pt x="360" y="141"/>
                    <a:pt x="360" y="141"/>
                  </a:cubicBezTo>
                  <a:cubicBezTo>
                    <a:pt x="360" y="140"/>
                    <a:pt x="360" y="139"/>
                    <a:pt x="360" y="138"/>
                  </a:cubicBezTo>
                  <a:cubicBezTo>
                    <a:pt x="359" y="135"/>
                    <a:pt x="356" y="133"/>
                    <a:pt x="356" y="133"/>
                  </a:cubicBezTo>
                  <a:cubicBezTo>
                    <a:pt x="356" y="133"/>
                    <a:pt x="139" y="8"/>
                    <a:pt x="129" y="2"/>
                  </a:cubicBezTo>
                  <a:cubicBezTo>
                    <a:pt x="125" y="0"/>
                    <a:pt x="122" y="0"/>
                    <a:pt x="119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" name="ïṣḻíďé">
              <a:extLst>
                <a:ext uri="{FF2B5EF4-FFF2-40B4-BE49-F238E27FC236}">
                  <a16:creationId xmlns:a16="http://schemas.microsoft.com/office/drawing/2014/main" xmlns="" id="{2D9F6DAA-8811-42D7-85F1-268ED3F84B33}"/>
                </a:ext>
              </a:extLst>
            </p:cNvPr>
            <p:cNvSpPr/>
            <p:nvPr userDrawn="1"/>
          </p:nvSpPr>
          <p:spPr bwMode="auto">
            <a:xfrm>
              <a:off x="7146926" y="3800476"/>
              <a:ext cx="1187450" cy="695325"/>
            </a:xfrm>
            <a:custGeom>
              <a:avLst/>
              <a:gdLst>
                <a:gd name="T0" fmla="*/ 360 w 360"/>
                <a:gd name="T1" fmla="*/ 144 h 211"/>
                <a:gd name="T2" fmla="*/ 360 w 360"/>
                <a:gd name="T3" fmla="*/ 142 h 211"/>
                <a:gd name="T4" fmla="*/ 360 w 360"/>
                <a:gd name="T5" fmla="*/ 130 h 211"/>
                <a:gd name="T6" fmla="*/ 336 w 360"/>
                <a:gd name="T7" fmla="*/ 126 h 211"/>
                <a:gd name="T8" fmla="*/ 129 w 360"/>
                <a:gd name="T9" fmla="*/ 6 h 211"/>
                <a:gd name="T10" fmla="*/ 108 w 360"/>
                <a:gd name="T11" fmla="*/ 6 h 211"/>
                <a:gd name="T12" fmla="*/ 12 w 360"/>
                <a:gd name="T13" fmla="*/ 61 h 211"/>
                <a:gd name="T14" fmla="*/ 1 w 360"/>
                <a:gd name="T15" fmla="*/ 59 h 211"/>
                <a:gd name="T16" fmla="*/ 1 w 360"/>
                <a:gd name="T17" fmla="*/ 71 h 211"/>
                <a:gd name="T18" fmla="*/ 5 w 360"/>
                <a:gd name="T19" fmla="*/ 78 h 211"/>
                <a:gd name="T20" fmla="*/ 232 w 360"/>
                <a:gd name="T21" fmla="*/ 209 h 211"/>
                <a:gd name="T22" fmla="*/ 241 w 360"/>
                <a:gd name="T23" fmla="*/ 211 h 211"/>
                <a:gd name="T24" fmla="*/ 241 w 360"/>
                <a:gd name="T25" fmla="*/ 211 h 211"/>
                <a:gd name="T26" fmla="*/ 253 w 360"/>
                <a:gd name="T27" fmla="*/ 209 h 211"/>
                <a:gd name="T28" fmla="*/ 345 w 360"/>
                <a:gd name="T29" fmla="*/ 155 h 211"/>
                <a:gd name="T30" fmla="*/ 356 w 360"/>
                <a:gd name="T31" fmla="*/ 149 h 211"/>
                <a:gd name="T32" fmla="*/ 360 w 360"/>
                <a:gd name="T33" fmla="*/ 14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0" h="211">
                  <a:moveTo>
                    <a:pt x="360" y="144"/>
                  </a:moveTo>
                  <a:cubicBezTo>
                    <a:pt x="360" y="144"/>
                    <a:pt x="360" y="143"/>
                    <a:pt x="360" y="142"/>
                  </a:cubicBezTo>
                  <a:cubicBezTo>
                    <a:pt x="360" y="130"/>
                    <a:pt x="360" y="130"/>
                    <a:pt x="360" y="130"/>
                  </a:cubicBezTo>
                  <a:cubicBezTo>
                    <a:pt x="336" y="126"/>
                    <a:pt x="336" y="126"/>
                    <a:pt x="336" y="126"/>
                  </a:cubicBezTo>
                  <a:cubicBezTo>
                    <a:pt x="282" y="94"/>
                    <a:pt x="137" y="11"/>
                    <a:pt x="129" y="6"/>
                  </a:cubicBezTo>
                  <a:cubicBezTo>
                    <a:pt x="119" y="0"/>
                    <a:pt x="108" y="6"/>
                    <a:pt x="108" y="6"/>
                  </a:cubicBezTo>
                  <a:cubicBezTo>
                    <a:pt x="108" y="6"/>
                    <a:pt x="37" y="47"/>
                    <a:pt x="12" y="61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75"/>
                    <a:pt x="5" y="78"/>
                    <a:pt x="5" y="78"/>
                  </a:cubicBezTo>
                  <a:cubicBezTo>
                    <a:pt x="5" y="78"/>
                    <a:pt x="222" y="203"/>
                    <a:pt x="232" y="209"/>
                  </a:cubicBezTo>
                  <a:cubicBezTo>
                    <a:pt x="235" y="210"/>
                    <a:pt x="239" y="211"/>
                    <a:pt x="241" y="211"/>
                  </a:cubicBezTo>
                  <a:cubicBezTo>
                    <a:pt x="241" y="211"/>
                    <a:pt x="241" y="211"/>
                    <a:pt x="241" y="211"/>
                  </a:cubicBezTo>
                  <a:cubicBezTo>
                    <a:pt x="248" y="211"/>
                    <a:pt x="253" y="209"/>
                    <a:pt x="253" y="209"/>
                  </a:cubicBezTo>
                  <a:cubicBezTo>
                    <a:pt x="345" y="155"/>
                    <a:pt x="345" y="155"/>
                    <a:pt x="345" y="155"/>
                  </a:cubicBezTo>
                  <a:cubicBezTo>
                    <a:pt x="345" y="155"/>
                    <a:pt x="345" y="155"/>
                    <a:pt x="356" y="149"/>
                  </a:cubicBezTo>
                  <a:cubicBezTo>
                    <a:pt x="359" y="147"/>
                    <a:pt x="360" y="146"/>
                    <a:pt x="360" y="14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" name="ïS1ïḑé">
              <a:extLst>
                <a:ext uri="{FF2B5EF4-FFF2-40B4-BE49-F238E27FC236}">
                  <a16:creationId xmlns:a16="http://schemas.microsoft.com/office/drawing/2014/main" xmlns="" id="{2763BD0F-6DBF-4137-A9AF-451E30FA28CE}"/>
                </a:ext>
              </a:extLst>
            </p:cNvPr>
            <p:cNvSpPr/>
            <p:nvPr userDrawn="1"/>
          </p:nvSpPr>
          <p:spPr bwMode="auto">
            <a:xfrm>
              <a:off x="7131051" y="3760788"/>
              <a:ext cx="1223963" cy="708025"/>
            </a:xfrm>
            <a:custGeom>
              <a:avLst/>
              <a:gdLst>
                <a:gd name="T0" fmla="*/ 350 w 371"/>
                <a:gd name="T1" fmla="*/ 155 h 215"/>
                <a:gd name="T2" fmla="*/ 258 w 371"/>
                <a:gd name="T3" fmla="*/ 209 h 215"/>
                <a:gd name="T4" fmla="*/ 237 w 371"/>
                <a:gd name="T5" fmla="*/ 209 h 215"/>
                <a:gd name="T6" fmla="*/ 10 w 371"/>
                <a:gd name="T7" fmla="*/ 78 h 215"/>
                <a:gd name="T8" fmla="*/ 10 w 371"/>
                <a:gd name="T9" fmla="*/ 66 h 215"/>
                <a:gd name="T10" fmla="*/ 113 w 371"/>
                <a:gd name="T11" fmla="*/ 6 h 215"/>
                <a:gd name="T12" fmla="*/ 134 w 371"/>
                <a:gd name="T13" fmla="*/ 6 h 215"/>
                <a:gd name="T14" fmla="*/ 361 w 371"/>
                <a:gd name="T15" fmla="*/ 137 h 215"/>
                <a:gd name="T16" fmla="*/ 361 w 371"/>
                <a:gd name="T17" fmla="*/ 149 h 215"/>
                <a:gd name="T18" fmla="*/ 350 w 371"/>
                <a:gd name="T19" fmla="*/ 15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1" h="215">
                  <a:moveTo>
                    <a:pt x="350" y="155"/>
                  </a:moveTo>
                  <a:cubicBezTo>
                    <a:pt x="258" y="209"/>
                    <a:pt x="258" y="209"/>
                    <a:pt x="258" y="209"/>
                  </a:cubicBezTo>
                  <a:cubicBezTo>
                    <a:pt x="258" y="209"/>
                    <a:pt x="247" y="215"/>
                    <a:pt x="237" y="209"/>
                  </a:cubicBezTo>
                  <a:cubicBezTo>
                    <a:pt x="227" y="203"/>
                    <a:pt x="10" y="78"/>
                    <a:pt x="10" y="78"/>
                  </a:cubicBezTo>
                  <a:cubicBezTo>
                    <a:pt x="10" y="78"/>
                    <a:pt x="0" y="72"/>
                    <a:pt x="10" y="66"/>
                  </a:cubicBezTo>
                  <a:cubicBezTo>
                    <a:pt x="20" y="60"/>
                    <a:pt x="113" y="6"/>
                    <a:pt x="113" y="6"/>
                  </a:cubicBezTo>
                  <a:cubicBezTo>
                    <a:pt x="113" y="6"/>
                    <a:pt x="124" y="0"/>
                    <a:pt x="134" y="6"/>
                  </a:cubicBezTo>
                  <a:cubicBezTo>
                    <a:pt x="144" y="12"/>
                    <a:pt x="361" y="137"/>
                    <a:pt x="361" y="137"/>
                  </a:cubicBezTo>
                  <a:cubicBezTo>
                    <a:pt x="361" y="137"/>
                    <a:pt x="371" y="143"/>
                    <a:pt x="361" y="149"/>
                  </a:cubicBezTo>
                  <a:cubicBezTo>
                    <a:pt x="350" y="155"/>
                    <a:pt x="350" y="155"/>
                    <a:pt x="350" y="155"/>
                  </a:cubicBez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" name="ïśļîḑè">
              <a:extLst>
                <a:ext uri="{FF2B5EF4-FFF2-40B4-BE49-F238E27FC236}">
                  <a16:creationId xmlns:a16="http://schemas.microsoft.com/office/drawing/2014/main" xmlns="" id="{6311C5E9-244B-4386-BF2E-80338FAF86AB}"/>
                </a:ext>
              </a:extLst>
            </p:cNvPr>
            <p:cNvSpPr/>
            <p:nvPr userDrawn="1"/>
          </p:nvSpPr>
          <p:spPr bwMode="auto">
            <a:xfrm>
              <a:off x="7232651" y="3819526"/>
              <a:ext cx="950913" cy="550863"/>
            </a:xfrm>
            <a:custGeom>
              <a:avLst/>
              <a:gdLst>
                <a:gd name="T0" fmla="*/ 599 w 599"/>
                <a:gd name="T1" fmla="*/ 222 h 347"/>
                <a:gd name="T2" fmla="*/ 214 w 599"/>
                <a:gd name="T3" fmla="*/ 0 h 347"/>
                <a:gd name="T4" fmla="*/ 0 w 599"/>
                <a:gd name="T5" fmla="*/ 125 h 347"/>
                <a:gd name="T6" fmla="*/ 385 w 599"/>
                <a:gd name="T7" fmla="*/ 347 h 347"/>
                <a:gd name="T8" fmla="*/ 599 w 599"/>
                <a:gd name="T9" fmla="*/ 22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9" h="347">
                  <a:moveTo>
                    <a:pt x="599" y="222"/>
                  </a:moveTo>
                  <a:lnTo>
                    <a:pt x="214" y="0"/>
                  </a:lnTo>
                  <a:lnTo>
                    <a:pt x="0" y="125"/>
                  </a:lnTo>
                  <a:lnTo>
                    <a:pt x="385" y="347"/>
                  </a:lnTo>
                  <a:lnTo>
                    <a:pt x="599" y="222"/>
                  </a:ln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" name="îṡḷîďe">
              <a:extLst>
                <a:ext uri="{FF2B5EF4-FFF2-40B4-BE49-F238E27FC236}">
                  <a16:creationId xmlns:a16="http://schemas.microsoft.com/office/drawing/2014/main" xmlns="" id="{ED5DE3C2-088A-4C30-8144-5145C0988FDD}"/>
                </a:ext>
              </a:extLst>
            </p:cNvPr>
            <p:cNvSpPr/>
            <p:nvPr userDrawn="1"/>
          </p:nvSpPr>
          <p:spPr bwMode="auto">
            <a:xfrm>
              <a:off x="7964488" y="4232276"/>
              <a:ext cx="222250" cy="128588"/>
            </a:xfrm>
            <a:custGeom>
              <a:avLst/>
              <a:gdLst>
                <a:gd name="T0" fmla="*/ 65 w 67"/>
                <a:gd name="T1" fmla="*/ 2 h 39"/>
                <a:gd name="T2" fmla="*/ 63 w 67"/>
                <a:gd name="T3" fmla="*/ 1 h 39"/>
                <a:gd name="T4" fmla="*/ 55 w 67"/>
                <a:gd name="T5" fmla="*/ 1 h 39"/>
                <a:gd name="T6" fmla="*/ 2 w 67"/>
                <a:gd name="T7" fmla="*/ 32 h 39"/>
                <a:gd name="T8" fmla="*/ 2 w 67"/>
                <a:gd name="T9" fmla="*/ 37 h 39"/>
                <a:gd name="T10" fmla="*/ 3 w 67"/>
                <a:gd name="T11" fmla="*/ 37 h 39"/>
                <a:gd name="T12" fmla="*/ 12 w 67"/>
                <a:gd name="T13" fmla="*/ 37 h 39"/>
                <a:gd name="T14" fmla="*/ 65 w 67"/>
                <a:gd name="T15" fmla="*/ 7 h 39"/>
                <a:gd name="T16" fmla="*/ 65 w 67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39">
                  <a:moveTo>
                    <a:pt x="65" y="2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1" y="0"/>
                    <a:pt x="58" y="0"/>
                    <a:pt x="55" y="1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0" y="33"/>
                    <a:pt x="0" y="36"/>
                    <a:pt x="2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6" y="39"/>
                    <a:pt x="9" y="39"/>
                    <a:pt x="12" y="3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7" y="6"/>
                    <a:pt x="67" y="3"/>
                    <a:pt x="65" y="2"/>
                  </a:cubicBez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" name="iṣlidê">
              <a:extLst>
                <a:ext uri="{FF2B5EF4-FFF2-40B4-BE49-F238E27FC236}">
                  <a16:creationId xmlns:a16="http://schemas.microsoft.com/office/drawing/2014/main" xmlns="" id="{F6B9C1DD-2331-42E1-826B-1734B5E2D2E2}"/>
                </a:ext>
              </a:extLst>
            </p:cNvPr>
            <p:cNvSpPr/>
            <p:nvPr userDrawn="1"/>
          </p:nvSpPr>
          <p:spPr bwMode="auto">
            <a:xfrm>
              <a:off x="7351713" y="3889376"/>
              <a:ext cx="33338" cy="12700"/>
            </a:xfrm>
            <a:prstGeom prst="ellipse">
              <a:avLst/>
            </a:pr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" name="íṡļïḑe">
              <a:extLst>
                <a:ext uri="{FF2B5EF4-FFF2-40B4-BE49-F238E27FC236}">
                  <a16:creationId xmlns:a16="http://schemas.microsoft.com/office/drawing/2014/main" xmlns="" id="{EE1C95F1-E880-4AA7-A416-A9FEBF0DE7E1}"/>
                </a:ext>
              </a:extLst>
            </p:cNvPr>
            <p:cNvSpPr/>
            <p:nvPr userDrawn="1"/>
          </p:nvSpPr>
          <p:spPr bwMode="auto">
            <a:xfrm>
              <a:off x="6919913" y="2903538"/>
              <a:ext cx="1830388" cy="842963"/>
            </a:xfrm>
            <a:custGeom>
              <a:avLst/>
              <a:gdLst>
                <a:gd name="T0" fmla="*/ 241 w 1153"/>
                <a:gd name="T1" fmla="*/ 0 h 531"/>
                <a:gd name="T2" fmla="*/ 0 w 1153"/>
                <a:gd name="T3" fmla="*/ 116 h 531"/>
                <a:gd name="T4" fmla="*/ 723 w 1153"/>
                <a:gd name="T5" fmla="*/ 531 h 531"/>
                <a:gd name="T6" fmla="*/ 1153 w 1153"/>
                <a:gd name="T7" fmla="*/ 284 h 531"/>
                <a:gd name="T8" fmla="*/ 1153 w 1153"/>
                <a:gd name="T9" fmla="*/ 276 h 531"/>
                <a:gd name="T10" fmla="*/ 806 w 1153"/>
                <a:gd name="T11" fmla="*/ 475 h 531"/>
                <a:gd name="T12" fmla="*/ 193 w 1153"/>
                <a:gd name="T13" fmla="*/ 122 h 531"/>
                <a:gd name="T14" fmla="*/ 201 w 1153"/>
                <a:gd name="T15" fmla="*/ 118 h 531"/>
                <a:gd name="T16" fmla="*/ 193 w 1153"/>
                <a:gd name="T17" fmla="*/ 112 h 531"/>
                <a:gd name="T18" fmla="*/ 201 w 1153"/>
                <a:gd name="T19" fmla="*/ 108 h 531"/>
                <a:gd name="T20" fmla="*/ 193 w 1153"/>
                <a:gd name="T21" fmla="*/ 103 h 531"/>
                <a:gd name="T22" fmla="*/ 218 w 1153"/>
                <a:gd name="T23" fmla="*/ 89 h 531"/>
                <a:gd name="T24" fmla="*/ 193 w 1153"/>
                <a:gd name="T25" fmla="*/ 74 h 531"/>
                <a:gd name="T26" fmla="*/ 207 w 1153"/>
                <a:gd name="T27" fmla="*/ 66 h 531"/>
                <a:gd name="T28" fmla="*/ 193 w 1153"/>
                <a:gd name="T29" fmla="*/ 58 h 531"/>
                <a:gd name="T30" fmla="*/ 201 w 1153"/>
                <a:gd name="T31" fmla="*/ 54 h 531"/>
                <a:gd name="T32" fmla="*/ 193 w 1153"/>
                <a:gd name="T33" fmla="*/ 47 h 531"/>
                <a:gd name="T34" fmla="*/ 255 w 1153"/>
                <a:gd name="T35" fmla="*/ 12 h 531"/>
                <a:gd name="T36" fmla="*/ 237 w 1153"/>
                <a:gd name="T37" fmla="*/ 2 h 531"/>
                <a:gd name="T38" fmla="*/ 241 w 1153"/>
                <a:gd name="T3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53" h="531">
                  <a:moveTo>
                    <a:pt x="241" y="0"/>
                  </a:moveTo>
                  <a:lnTo>
                    <a:pt x="0" y="116"/>
                  </a:lnTo>
                  <a:lnTo>
                    <a:pt x="723" y="531"/>
                  </a:lnTo>
                  <a:lnTo>
                    <a:pt x="1153" y="284"/>
                  </a:lnTo>
                  <a:lnTo>
                    <a:pt x="1153" y="276"/>
                  </a:lnTo>
                  <a:lnTo>
                    <a:pt x="806" y="475"/>
                  </a:lnTo>
                  <a:lnTo>
                    <a:pt x="193" y="122"/>
                  </a:lnTo>
                  <a:lnTo>
                    <a:pt x="201" y="118"/>
                  </a:lnTo>
                  <a:lnTo>
                    <a:pt x="193" y="112"/>
                  </a:lnTo>
                  <a:lnTo>
                    <a:pt x="201" y="108"/>
                  </a:lnTo>
                  <a:lnTo>
                    <a:pt x="193" y="103"/>
                  </a:lnTo>
                  <a:lnTo>
                    <a:pt x="218" y="89"/>
                  </a:lnTo>
                  <a:lnTo>
                    <a:pt x="193" y="74"/>
                  </a:lnTo>
                  <a:lnTo>
                    <a:pt x="207" y="66"/>
                  </a:lnTo>
                  <a:lnTo>
                    <a:pt x="193" y="58"/>
                  </a:lnTo>
                  <a:lnTo>
                    <a:pt x="201" y="54"/>
                  </a:lnTo>
                  <a:lnTo>
                    <a:pt x="193" y="47"/>
                  </a:lnTo>
                  <a:lnTo>
                    <a:pt x="255" y="12"/>
                  </a:lnTo>
                  <a:lnTo>
                    <a:pt x="237" y="2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" name="ïš1íďê">
              <a:extLst>
                <a:ext uri="{FF2B5EF4-FFF2-40B4-BE49-F238E27FC236}">
                  <a16:creationId xmlns:a16="http://schemas.microsoft.com/office/drawing/2014/main" xmlns="" id="{3E9A6745-0BCD-4F2A-872B-9F4D52262375}"/>
                </a:ext>
              </a:extLst>
            </p:cNvPr>
            <p:cNvSpPr/>
            <p:nvPr userDrawn="1"/>
          </p:nvSpPr>
          <p:spPr bwMode="auto">
            <a:xfrm>
              <a:off x="6919913" y="2903538"/>
              <a:ext cx="1830388" cy="842963"/>
            </a:xfrm>
            <a:custGeom>
              <a:avLst/>
              <a:gdLst>
                <a:gd name="T0" fmla="*/ 241 w 1153"/>
                <a:gd name="T1" fmla="*/ 0 h 531"/>
                <a:gd name="T2" fmla="*/ 0 w 1153"/>
                <a:gd name="T3" fmla="*/ 116 h 531"/>
                <a:gd name="T4" fmla="*/ 723 w 1153"/>
                <a:gd name="T5" fmla="*/ 531 h 531"/>
                <a:gd name="T6" fmla="*/ 1153 w 1153"/>
                <a:gd name="T7" fmla="*/ 284 h 531"/>
                <a:gd name="T8" fmla="*/ 1153 w 1153"/>
                <a:gd name="T9" fmla="*/ 276 h 531"/>
                <a:gd name="T10" fmla="*/ 806 w 1153"/>
                <a:gd name="T11" fmla="*/ 475 h 531"/>
                <a:gd name="T12" fmla="*/ 193 w 1153"/>
                <a:gd name="T13" fmla="*/ 122 h 531"/>
                <a:gd name="T14" fmla="*/ 201 w 1153"/>
                <a:gd name="T15" fmla="*/ 118 h 531"/>
                <a:gd name="T16" fmla="*/ 193 w 1153"/>
                <a:gd name="T17" fmla="*/ 112 h 531"/>
                <a:gd name="T18" fmla="*/ 201 w 1153"/>
                <a:gd name="T19" fmla="*/ 108 h 531"/>
                <a:gd name="T20" fmla="*/ 193 w 1153"/>
                <a:gd name="T21" fmla="*/ 103 h 531"/>
                <a:gd name="T22" fmla="*/ 218 w 1153"/>
                <a:gd name="T23" fmla="*/ 89 h 531"/>
                <a:gd name="T24" fmla="*/ 193 w 1153"/>
                <a:gd name="T25" fmla="*/ 74 h 531"/>
                <a:gd name="T26" fmla="*/ 207 w 1153"/>
                <a:gd name="T27" fmla="*/ 66 h 531"/>
                <a:gd name="T28" fmla="*/ 193 w 1153"/>
                <a:gd name="T29" fmla="*/ 58 h 531"/>
                <a:gd name="T30" fmla="*/ 201 w 1153"/>
                <a:gd name="T31" fmla="*/ 54 h 531"/>
                <a:gd name="T32" fmla="*/ 193 w 1153"/>
                <a:gd name="T33" fmla="*/ 47 h 531"/>
                <a:gd name="T34" fmla="*/ 255 w 1153"/>
                <a:gd name="T35" fmla="*/ 12 h 531"/>
                <a:gd name="T36" fmla="*/ 237 w 1153"/>
                <a:gd name="T37" fmla="*/ 2 h 531"/>
                <a:gd name="T38" fmla="*/ 241 w 1153"/>
                <a:gd name="T3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53" h="531">
                  <a:moveTo>
                    <a:pt x="241" y="0"/>
                  </a:moveTo>
                  <a:lnTo>
                    <a:pt x="0" y="116"/>
                  </a:lnTo>
                  <a:lnTo>
                    <a:pt x="723" y="531"/>
                  </a:lnTo>
                  <a:lnTo>
                    <a:pt x="1153" y="284"/>
                  </a:lnTo>
                  <a:lnTo>
                    <a:pt x="1153" y="276"/>
                  </a:lnTo>
                  <a:lnTo>
                    <a:pt x="806" y="475"/>
                  </a:lnTo>
                  <a:lnTo>
                    <a:pt x="193" y="122"/>
                  </a:lnTo>
                  <a:lnTo>
                    <a:pt x="201" y="118"/>
                  </a:lnTo>
                  <a:lnTo>
                    <a:pt x="193" y="112"/>
                  </a:lnTo>
                  <a:lnTo>
                    <a:pt x="201" y="108"/>
                  </a:lnTo>
                  <a:lnTo>
                    <a:pt x="193" y="103"/>
                  </a:lnTo>
                  <a:lnTo>
                    <a:pt x="218" y="89"/>
                  </a:lnTo>
                  <a:lnTo>
                    <a:pt x="193" y="74"/>
                  </a:lnTo>
                  <a:lnTo>
                    <a:pt x="207" y="66"/>
                  </a:lnTo>
                  <a:lnTo>
                    <a:pt x="193" y="58"/>
                  </a:lnTo>
                  <a:lnTo>
                    <a:pt x="201" y="54"/>
                  </a:lnTo>
                  <a:lnTo>
                    <a:pt x="193" y="47"/>
                  </a:lnTo>
                  <a:lnTo>
                    <a:pt x="255" y="12"/>
                  </a:lnTo>
                  <a:lnTo>
                    <a:pt x="237" y="2"/>
                  </a:lnTo>
                  <a:lnTo>
                    <a:pt x="2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" name="îšḻiḓe">
              <a:extLst>
                <a:ext uri="{FF2B5EF4-FFF2-40B4-BE49-F238E27FC236}">
                  <a16:creationId xmlns:a16="http://schemas.microsoft.com/office/drawing/2014/main" xmlns="" id="{BD4D8E09-E08D-44B4-8975-92F422C4075F}"/>
                </a:ext>
              </a:extLst>
            </p:cNvPr>
            <p:cNvSpPr/>
            <p:nvPr userDrawn="1"/>
          </p:nvSpPr>
          <p:spPr bwMode="auto">
            <a:xfrm>
              <a:off x="5981701" y="4624388"/>
              <a:ext cx="809625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2 w 245"/>
                <a:gd name="T7" fmla="*/ 0 h 79"/>
                <a:gd name="T8" fmla="*/ 2 w 24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7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" name="ïšľîḑê">
              <a:extLst>
                <a:ext uri="{FF2B5EF4-FFF2-40B4-BE49-F238E27FC236}">
                  <a16:creationId xmlns:a16="http://schemas.microsoft.com/office/drawing/2014/main" xmlns="" id="{D4B0A64F-F98E-4A9C-BE26-BCF94B92DE26}"/>
                </a:ext>
              </a:extLst>
            </p:cNvPr>
            <p:cNvSpPr/>
            <p:nvPr userDrawn="1"/>
          </p:nvSpPr>
          <p:spPr bwMode="auto">
            <a:xfrm>
              <a:off x="5988051" y="4410076"/>
              <a:ext cx="803275" cy="431800"/>
            </a:xfrm>
            <a:custGeom>
              <a:avLst/>
              <a:gdLst>
                <a:gd name="T0" fmla="*/ 506 w 506"/>
                <a:gd name="T1" fmla="*/ 154 h 272"/>
                <a:gd name="T2" fmla="*/ 235 w 506"/>
                <a:gd name="T3" fmla="*/ 0 h 272"/>
                <a:gd name="T4" fmla="*/ 0 w 506"/>
                <a:gd name="T5" fmla="*/ 135 h 272"/>
                <a:gd name="T6" fmla="*/ 237 w 506"/>
                <a:gd name="T7" fmla="*/ 272 h 272"/>
                <a:gd name="T8" fmla="*/ 302 w 506"/>
                <a:gd name="T9" fmla="*/ 270 h 272"/>
                <a:gd name="T10" fmla="*/ 506 w 506"/>
                <a:gd name="T11" fmla="*/ 15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6" h="272">
                  <a:moveTo>
                    <a:pt x="506" y="154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2" y="270"/>
                  </a:lnTo>
                  <a:lnTo>
                    <a:pt x="506" y="154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" name="isḷïḋè">
              <a:extLst>
                <a:ext uri="{FF2B5EF4-FFF2-40B4-BE49-F238E27FC236}">
                  <a16:creationId xmlns:a16="http://schemas.microsoft.com/office/drawing/2014/main" xmlns="" id="{4664F149-A78C-49BE-ACE2-06F92B4405E8}"/>
                </a:ext>
              </a:extLst>
            </p:cNvPr>
            <p:cNvSpPr/>
            <p:nvPr userDrawn="1"/>
          </p:nvSpPr>
          <p:spPr bwMode="auto">
            <a:xfrm>
              <a:off x="6364288" y="4778376"/>
              <a:ext cx="103188" cy="63500"/>
            </a:xfrm>
            <a:custGeom>
              <a:avLst/>
              <a:gdLst>
                <a:gd name="T0" fmla="*/ 32 w 65"/>
                <a:gd name="T1" fmla="*/ 0 h 40"/>
                <a:gd name="T2" fmla="*/ 65 w 65"/>
                <a:gd name="T3" fmla="*/ 38 h 40"/>
                <a:gd name="T4" fmla="*/ 0 w 65"/>
                <a:gd name="T5" fmla="*/ 40 h 40"/>
                <a:gd name="T6" fmla="*/ 32 w 65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40">
                  <a:moveTo>
                    <a:pt x="32" y="0"/>
                  </a:moveTo>
                  <a:lnTo>
                    <a:pt x="65" y="38"/>
                  </a:lnTo>
                  <a:lnTo>
                    <a:pt x="0" y="4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" name="íšḻiḍe">
              <a:extLst>
                <a:ext uri="{FF2B5EF4-FFF2-40B4-BE49-F238E27FC236}">
                  <a16:creationId xmlns:a16="http://schemas.microsoft.com/office/drawing/2014/main" xmlns="" id="{92723440-4FB7-4B53-BA5E-208C93051BF2}"/>
                </a:ext>
              </a:extLst>
            </p:cNvPr>
            <p:cNvSpPr/>
            <p:nvPr userDrawn="1"/>
          </p:nvSpPr>
          <p:spPr bwMode="auto">
            <a:xfrm>
              <a:off x="7226301" y="27051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" name="iSḷîḑé">
              <a:extLst>
                <a:ext uri="{FF2B5EF4-FFF2-40B4-BE49-F238E27FC236}">
                  <a16:creationId xmlns:a16="http://schemas.microsoft.com/office/drawing/2014/main" xmlns="" id="{4C65FE59-9D0E-4509-95C5-5EE03568A35B}"/>
                </a:ext>
              </a:extLst>
            </p:cNvPr>
            <p:cNvSpPr/>
            <p:nvPr userDrawn="1"/>
          </p:nvSpPr>
          <p:spPr bwMode="auto">
            <a:xfrm>
              <a:off x="7226301" y="27051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" name="íśľïde">
              <a:extLst>
                <a:ext uri="{FF2B5EF4-FFF2-40B4-BE49-F238E27FC236}">
                  <a16:creationId xmlns:a16="http://schemas.microsoft.com/office/drawing/2014/main" xmlns="" id="{3EF710F9-CDA7-45B4-8E4B-AE807015CE5B}"/>
                </a:ext>
              </a:extLst>
            </p:cNvPr>
            <p:cNvSpPr/>
            <p:nvPr userDrawn="1"/>
          </p:nvSpPr>
          <p:spPr bwMode="auto">
            <a:xfrm>
              <a:off x="7226301" y="3081338"/>
              <a:ext cx="1655763" cy="576263"/>
            </a:xfrm>
            <a:custGeom>
              <a:avLst/>
              <a:gdLst>
                <a:gd name="T0" fmla="*/ 0 w 1043"/>
                <a:gd name="T1" fmla="*/ 0 h 363"/>
                <a:gd name="T2" fmla="*/ 0 w 1043"/>
                <a:gd name="T3" fmla="*/ 10 h 363"/>
                <a:gd name="T4" fmla="*/ 613 w 1043"/>
                <a:gd name="T5" fmla="*/ 363 h 363"/>
                <a:gd name="T6" fmla="*/ 1043 w 1043"/>
                <a:gd name="T7" fmla="*/ 116 h 363"/>
                <a:gd name="T8" fmla="*/ 1043 w 1043"/>
                <a:gd name="T9" fmla="*/ 106 h 363"/>
                <a:gd name="T10" fmla="*/ 0 w 1043"/>
                <a:gd name="T1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3">
                  <a:moveTo>
                    <a:pt x="0" y="0"/>
                  </a:moveTo>
                  <a:lnTo>
                    <a:pt x="0" y="10"/>
                  </a:lnTo>
                  <a:lnTo>
                    <a:pt x="613" y="363"/>
                  </a:lnTo>
                  <a:lnTo>
                    <a:pt x="1043" y="116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" name="íšḻide">
              <a:extLst>
                <a:ext uri="{FF2B5EF4-FFF2-40B4-BE49-F238E27FC236}">
                  <a16:creationId xmlns:a16="http://schemas.microsoft.com/office/drawing/2014/main" xmlns="" id="{95EEADA7-C867-473D-A6D6-5BDF9ABA9676}"/>
                </a:ext>
              </a:extLst>
            </p:cNvPr>
            <p:cNvSpPr/>
            <p:nvPr userDrawn="1"/>
          </p:nvSpPr>
          <p:spPr bwMode="auto">
            <a:xfrm>
              <a:off x="7226301" y="2689226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" name="îṧḷîḑè">
              <a:extLst>
                <a:ext uri="{FF2B5EF4-FFF2-40B4-BE49-F238E27FC236}">
                  <a16:creationId xmlns:a16="http://schemas.microsoft.com/office/drawing/2014/main" xmlns="" id="{7157E0A7-1531-4133-86C7-ADD4D2D35A8C}"/>
                </a:ext>
              </a:extLst>
            </p:cNvPr>
            <p:cNvSpPr/>
            <p:nvPr userDrawn="1"/>
          </p:nvSpPr>
          <p:spPr bwMode="auto">
            <a:xfrm>
              <a:off x="7226301" y="2689226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" name="ísļîďê">
              <a:extLst>
                <a:ext uri="{FF2B5EF4-FFF2-40B4-BE49-F238E27FC236}">
                  <a16:creationId xmlns:a16="http://schemas.microsoft.com/office/drawing/2014/main" xmlns="" id="{E0C4E2B9-0DDF-45A5-B255-EA3D8CD48226}"/>
                </a:ext>
              </a:extLst>
            </p:cNvPr>
            <p:cNvSpPr/>
            <p:nvPr userDrawn="1"/>
          </p:nvSpPr>
          <p:spPr bwMode="auto">
            <a:xfrm>
              <a:off x="7226301" y="2674938"/>
              <a:ext cx="1655763" cy="954088"/>
            </a:xfrm>
            <a:custGeom>
              <a:avLst/>
              <a:gdLst>
                <a:gd name="T0" fmla="*/ 1043 w 1043"/>
                <a:gd name="T1" fmla="*/ 353 h 601"/>
                <a:gd name="T2" fmla="*/ 430 w 1043"/>
                <a:gd name="T3" fmla="*/ 0 h 601"/>
                <a:gd name="T4" fmla="*/ 0 w 1043"/>
                <a:gd name="T5" fmla="*/ 247 h 601"/>
                <a:gd name="T6" fmla="*/ 613 w 1043"/>
                <a:gd name="T7" fmla="*/ 601 h 601"/>
                <a:gd name="T8" fmla="*/ 1043 w 1043"/>
                <a:gd name="T9" fmla="*/ 353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1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1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" name="ïṡļîdê">
              <a:extLst>
                <a:ext uri="{FF2B5EF4-FFF2-40B4-BE49-F238E27FC236}">
                  <a16:creationId xmlns:a16="http://schemas.microsoft.com/office/drawing/2014/main" xmlns="" id="{1392B994-FC4D-45A8-9913-219C75F6E7A5}"/>
                </a:ext>
              </a:extLst>
            </p:cNvPr>
            <p:cNvSpPr/>
            <p:nvPr userDrawn="1"/>
          </p:nvSpPr>
          <p:spPr bwMode="auto">
            <a:xfrm>
              <a:off x="7226301" y="2674938"/>
              <a:ext cx="1655763" cy="954088"/>
            </a:xfrm>
            <a:custGeom>
              <a:avLst/>
              <a:gdLst>
                <a:gd name="T0" fmla="*/ 1043 w 1043"/>
                <a:gd name="T1" fmla="*/ 353 h 601"/>
                <a:gd name="T2" fmla="*/ 430 w 1043"/>
                <a:gd name="T3" fmla="*/ 0 h 601"/>
                <a:gd name="T4" fmla="*/ 0 w 1043"/>
                <a:gd name="T5" fmla="*/ 247 h 601"/>
                <a:gd name="T6" fmla="*/ 613 w 1043"/>
                <a:gd name="T7" fmla="*/ 601 h 601"/>
                <a:gd name="T8" fmla="*/ 1043 w 1043"/>
                <a:gd name="T9" fmla="*/ 353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1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1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5" name="íṡlîḍè">
              <a:extLst>
                <a:ext uri="{FF2B5EF4-FFF2-40B4-BE49-F238E27FC236}">
                  <a16:creationId xmlns:a16="http://schemas.microsoft.com/office/drawing/2014/main" xmlns="" id="{ADEFA5B3-09FC-40D3-8A40-EF8AE0B6CCF2}"/>
                </a:ext>
              </a:extLst>
            </p:cNvPr>
            <p:cNvSpPr/>
            <p:nvPr userDrawn="1"/>
          </p:nvSpPr>
          <p:spPr bwMode="auto">
            <a:xfrm>
              <a:off x="7226301" y="3021013"/>
              <a:ext cx="1655763" cy="608013"/>
            </a:xfrm>
            <a:custGeom>
              <a:avLst/>
              <a:gdLst>
                <a:gd name="T0" fmla="*/ 0 w 1043"/>
                <a:gd name="T1" fmla="*/ 0 h 383"/>
                <a:gd name="T2" fmla="*/ 0 w 1043"/>
                <a:gd name="T3" fmla="*/ 29 h 383"/>
                <a:gd name="T4" fmla="*/ 613 w 1043"/>
                <a:gd name="T5" fmla="*/ 383 h 383"/>
                <a:gd name="T6" fmla="*/ 1043 w 1043"/>
                <a:gd name="T7" fmla="*/ 135 h 383"/>
                <a:gd name="T8" fmla="*/ 1043 w 1043"/>
                <a:gd name="T9" fmla="*/ 106 h 383"/>
                <a:gd name="T10" fmla="*/ 0 w 1043"/>
                <a:gd name="T1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3">
                  <a:moveTo>
                    <a:pt x="0" y="0"/>
                  </a:moveTo>
                  <a:lnTo>
                    <a:pt x="0" y="29"/>
                  </a:lnTo>
                  <a:lnTo>
                    <a:pt x="613" y="383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5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6" name="íṡ1îḑè">
              <a:extLst>
                <a:ext uri="{FF2B5EF4-FFF2-40B4-BE49-F238E27FC236}">
                  <a16:creationId xmlns:a16="http://schemas.microsoft.com/office/drawing/2014/main" xmlns="" id="{58EEECF5-9DC6-4E3F-86DA-61B94AA7F084}"/>
                </a:ext>
              </a:extLst>
            </p:cNvPr>
            <p:cNvSpPr/>
            <p:nvPr userDrawn="1"/>
          </p:nvSpPr>
          <p:spPr bwMode="auto">
            <a:xfrm>
              <a:off x="7226301" y="26289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7" name="î$ḷïḓé">
              <a:extLst>
                <a:ext uri="{FF2B5EF4-FFF2-40B4-BE49-F238E27FC236}">
                  <a16:creationId xmlns:a16="http://schemas.microsoft.com/office/drawing/2014/main" xmlns="" id="{110D5DC4-7852-4FEA-AC9F-6E0B6CDF0C12}"/>
                </a:ext>
              </a:extLst>
            </p:cNvPr>
            <p:cNvSpPr/>
            <p:nvPr userDrawn="1"/>
          </p:nvSpPr>
          <p:spPr bwMode="auto">
            <a:xfrm>
              <a:off x="7226301" y="26289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8" name="íṩľídè">
              <a:extLst>
                <a:ext uri="{FF2B5EF4-FFF2-40B4-BE49-F238E27FC236}">
                  <a16:creationId xmlns:a16="http://schemas.microsoft.com/office/drawing/2014/main" xmlns="" id="{FF134AE5-2437-498A-8340-BE8B5B336DAF}"/>
                </a:ext>
              </a:extLst>
            </p:cNvPr>
            <p:cNvSpPr/>
            <p:nvPr userDrawn="1"/>
          </p:nvSpPr>
          <p:spPr bwMode="auto">
            <a:xfrm>
              <a:off x="7226301" y="26035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9" name="iṥlîďé">
              <a:extLst>
                <a:ext uri="{FF2B5EF4-FFF2-40B4-BE49-F238E27FC236}">
                  <a16:creationId xmlns:a16="http://schemas.microsoft.com/office/drawing/2014/main" xmlns="" id="{8E315832-9745-469F-8A26-CD5969F9A07F}"/>
                </a:ext>
              </a:extLst>
            </p:cNvPr>
            <p:cNvSpPr/>
            <p:nvPr userDrawn="1"/>
          </p:nvSpPr>
          <p:spPr bwMode="auto">
            <a:xfrm>
              <a:off x="7226301" y="26035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0" name="íṥḻiďê">
              <a:extLst>
                <a:ext uri="{FF2B5EF4-FFF2-40B4-BE49-F238E27FC236}">
                  <a16:creationId xmlns:a16="http://schemas.microsoft.com/office/drawing/2014/main" xmlns="" id="{E5FF99F6-BFA8-43AA-A833-3C23859D8ED9}"/>
                </a:ext>
              </a:extLst>
            </p:cNvPr>
            <p:cNvSpPr/>
            <p:nvPr userDrawn="1"/>
          </p:nvSpPr>
          <p:spPr bwMode="auto">
            <a:xfrm>
              <a:off x="7226301" y="2978151"/>
              <a:ext cx="1655763" cy="577850"/>
            </a:xfrm>
            <a:custGeom>
              <a:avLst/>
              <a:gdLst>
                <a:gd name="T0" fmla="*/ 0 w 1043"/>
                <a:gd name="T1" fmla="*/ 0 h 364"/>
                <a:gd name="T2" fmla="*/ 0 w 1043"/>
                <a:gd name="T3" fmla="*/ 11 h 364"/>
                <a:gd name="T4" fmla="*/ 613 w 1043"/>
                <a:gd name="T5" fmla="*/ 364 h 364"/>
                <a:gd name="T6" fmla="*/ 1043 w 1043"/>
                <a:gd name="T7" fmla="*/ 117 h 364"/>
                <a:gd name="T8" fmla="*/ 1043 w 1043"/>
                <a:gd name="T9" fmla="*/ 106 h 364"/>
                <a:gd name="T10" fmla="*/ 0 w 1043"/>
                <a:gd name="T11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4">
                  <a:moveTo>
                    <a:pt x="0" y="0"/>
                  </a:moveTo>
                  <a:lnTo>
                    <a:pt x="0" y="11"/>
                  </a:lnTo>
                  <a:lnTo>
                    <a:pt x="613" y="364"/>
                  </a:lnTo>
                  <a:lnTo>
                    <a:pt x="1043" y="117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1" name="ïšľíḋe">
              <a:extLst>
                <a:ext uri="{FF2B5EF4-FFF2-40B4-BE49-F238E27FC236}">
                  <a16:creationId xmlns:a16="http://schemas.microsoft.com/office/drawing/2014/main" xmlns="" id="{A964BB09-DF86-470C-9DA4-261027D5B0EC}"/>
                </a:ext>
              </a:extLst>
            </p:cNvPr>
            <p:cNvSpPr/>
            <p:nvPr userDrawn="1"/>
          </p:nvSpPr>
          <p:spPr bwMode="auto">
            <a:xfrm>
              <a:off x="7226301" y="2586038"/>
              <a:ext cx="1655763" cy="957263"/>
            </a:xfrm>
            <a:custGeom>
              <a:avLst/>
              <a:gdLst>
                <a:gd name="T0" fmla="*/ 1043 w 1043"/>
                <a:gd name="T1" fmla="*/ 353 h 603"/>
                <a:gd name="T2" fmla="*/ 430 w 1043"/>
                <a:gd name="T3" fmla="*/ 0 h 603"/>
                <a:gd name="T4" fmla="*/ 0 w 1043"/>
                <a:gd name="T5" fmla="*/ 247 h 603"/>
                <a:gd name="T6" fmla="*/ 613 w 1043"/>
                <a:gd name="T7" fmla="*/ 603 h 603"/>
                <a:gd name="T8" fmla="*/ 1043 w 1043"/>
                <a:gd name="T9" fmla="*/ 35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3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3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" name="iŝļíḋê">
              <a:extLst>
                <a:ext uri="{FF2B5EF4-FFF2-40B4-BE49-F238E27FC236}">
                  <a16:creationId xmlns:a16="http://schemas.microsoft.com/office/drawing/2014/main" xmlns="" id="{E3DB7E39-80C5-4FBC-9F5E-BD9C6C199FC9}"/>
                </a:ext>
              </a:extLst>
            </p:cNvPr>
            <p:cNvSpPr/>
            <p:nvPr userDrawn="1"/>
          </p:nvSpPr>
          <p:spPr bwMode="auto">
            <a:xfrm>
              <a:off x="7226301" y="2586038"/>
              <a:ext cx="1655763" cy="957263"/>
            </a:xfrm>
            <a:custGeom>
              <a:avLst/>
              <a:gdLst>
                <a:gd name="T0" fmla="*/ 1043 w 1043"/>
                <a:gd name="T1" fmla="*/ 353 h 603"/>
                <a:gd name="T2" fmla="*/ 430 w 1043"/>
                <a:gd name="T3" fmla="*/ 0 h 603"/>
                <a:gd name="T4" fmla="*/ 0 w 1043"/>
                <a:gd name="T5" fmla="*/ 247 h 603"/>
                <a:gd name="T6" fmla="*/ 613 w 1043"/>
                <a:gd name="T7" fmla="*/ 603 h 603"/>
                <a:gd name="T8" fmla="*/ 1043 w 1043"/>
                <a:gd name="T9" fmla="*/ 35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3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3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3" name="isḷïḍé">
              <a:extLst>
                <a:ext uri="{FF2B5EF4-FFF2-40B4-BE49-F238E27FC236}">
                  <a16:creationId xmlns:a16="http://schemas.microsoft.com/office/drawing/2014/main" xmlns="" id="{7764FF14-3DAB-41D4-9CB3-C03BF3FF36B4}"/>
                </a:ext>
              </a:extLst>
            </p:cNvPr>
            <p:cNvSpPr/>
            <p:nvPr userDrawn="1"/>
          </p:nvSpPr>
          <p:spPr bwMode="auto">
            <a:xfrm>
              <a:off x="7226301" y="2978151"/>
              <a:ext cx="973138" cy="679450"/>
            </a:xfrm>
            <a:custGeom>
              <a:avLst/>
              <a:gdLst>
                <a:gd name="T0" fmla="*/ 613 w 613"/>
                <a:gd name="T1" fmla="*/ 356 h 428"/>
                <a:gd name="T2" fmla="*/ 613 w 613"/>
                <a:gd name="T3" fmla="*/ 428 h 428"/>
                <a:gd name="T4" fmla="*/ 0 w 613"/>
                <a:gd name="T5" fmla="*/ 75 h 428"/>
                <a:gd name="T6" fmla="*/ 0 w 613"/>
                <a:gd name="T7" fmla="*/ 0 h 428"/>
                <a:gd name="T8" fmla="*/ 613 w 613"/>
                <a:gd name="T9" fmla="*/ 356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3" h="428">
                  <a:moveTo>
                    <a:pt x="613" y="356"/>
                  </a:moveTo>
                  <a:lnTo>
                    <a:pt x="613" y="428"/>
                  </a:lnTo>
                  <a:lnTo>
                    <a:pt x="0" y="75"/>
                  </a:lnTo>
                  <a:lnTo>
                    <a:pt x="0" y="0"/>
                  </a:lnTo>
                  <a:lnTo>
                    <a:pt x="613" y="356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4" name="íšlïḑê">
              <a:extLst>
                <a:ext uri="{FF2B5EF4-FFF2-40B4-BE49-F238E27FC236}">
                  <a16:creationId xmlns:a16="http://schemas.microsoft.com/office/drawing/2014/main" xmlns="" id="{9DD5E3B5-6849-4C27-8102-6BA40A27828F}"/>
                </a:ext>
              </a:extLst>
            </p:cNvPr>
            <p:cNvSpPr/>
            <p:nvPr userDrawn="1"/>
          </p:nvSpPr>
          <p:spPr bwMode="auto">
            <a:xfrm>
              <a:off x="7296151" y="25146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5" name="išľîḋê">
              <a:extLst>
                <a:ext uri="{FF2B5EF4-FFF2-40B4-BE49-F238E27FC236}">
                  <a16:creationId xmlns:a16="http://schemas.microsoft.com/office/drawing/2014/main" xmlns="" id="{BDF658FC-59F8-4875-9EE2-DEE2A49B5B08}"/>
                </a:ext>
              </a:extLst>
            </p:cNvPr>
            <p:cNvSpPr/>
            <p:nvPr userDrawn="1"/>
          </p:nvSpPr>
          <p:spPr bwMode="auto">
            <a:xfrm>
              <a:off x="7296151" y="25146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" name="îṩlïďê">
              <a:extLst>
                <a:ext uri="{FF2B5EF4-FFF2-40B4-BE49-F238E27FC236}">
                  <a16:creationId xmlns:a16="http://schemas.microsoft.com/office/drawing/2014/main" xmlns="" id="{9B3A67F3-26C2-4B35-945C-61E9EB586665}"/>
                </a:ext>
              </a:extLst>
            </p:cNvPr>
            <p:cNvSpPr/>
            <p:nvPr userDrawn="1"/>
          </p:nvSpPr>
          <p:spPr bwMode="auto">
            <a:xfrm>
              <a:off x="7296151" y="2892426"/>
              <a:ext cx="1655763" cy="574675"/>
            </a:xfrm>
            <a:custGeom>
              <a:avLst/>
              <a:gdLst>
                <a:gd name="T0" fmla="*/ 0 w 1043"/>
                <a:gd name="T1" fmla="*/ 0 h 362"/>
                <a:gd name="T2" fmla="*/ 0 w 1043"/>
                <a:gd name="T3" fmla="*/ 9 h 362"/>
                <a:gd name="T4" fmla="*/ 613 w 1043"/>
                <a:gd name="T5" fmla="*/ 362 h 362"/>
                <a:gd name="T6" fmla="*/ 1043 w 1043"/>
                <a:gd name="T7" fmla="*/ 115 h 362"/>
                <a:gd name="T8" fmla="*/ 1043 w 1043"/>
                <a:gd name="T9" fmla="*/ 106 h 362"/>
                <a:gd name="T10" fmla="*/ 0 w 1043"/>
                <a:gd name="T11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2">
                  <a:moveTo>
                    <a:pt x="0" y="0"/>
                  </a:moveTo>
                  <a:lnTo>
                    <a:pt x="0" y="9"/>
                  </a:lnTo>
                  <a:lnTo>
                    <a:pt x="613" y="362"/>
                  </a:lnTo>
                  <a:lnTo>
                    <a:pt x="1043" y="11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" name="işlídè">
              <a:extLst>
                <a:ext uri="{FF2B5EF4-FFF2-40B4-BE49-F238E27FC236}">
                  <a16:creationId xmlns:a16="http://schemas.microsoft.com/office/drawing/2014/main" xmlns="" id="{F1247319-03BB-4EBA-B875-546EE2165DF5}"/>
                </a:ext>
              </a:extLst>
            </p:cNvPr>
            <p:cNvSpPr/>
            <p:nvPr userDrawn="1"/>
          </p:nvSpPr>
          <p:spPr bwMode="auto">
            <a:xfrm>
              <a:off x="7296151" y="24971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" name="ïṧľîḋê">
              <a:extLst>
                <a:ext uri="{FF2B5EF4-FFF2-40B4-BE49-F238E27FC236}">
                  <a16:creationId xmlns:a16="http://schemas.microsoft.com/office/drawing/2014/main" xmlns="" id="{652C11E8-9A5B-493B-BA7B-C840023D7CEC}"/>
                </a:ext>
              </a:extLst>
            </p:cNvPr>
            <p:cNvSpPr/>
            <p:nvPr userDrawn="1"/>
          </p:nvSpPr>
          <p:spPr bwMode="auto">
            <a:xfrm>
              <a:off x="7296151" y="24971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" name="ïṥlíḓe">
              <a:extLst>
                <a:ext uri="{FF2B5EF4-FFF2-40B4-BE49-F238E27FC236}">
                  <a16:creationId xmlns:a16="http://schemas.microsoft.com/office/drawing/2014/main" xmlns="" id="{82BEA558-9D0A-470F-9C81-66D54B251BA9}"/>
                </a:ext>
              </a:extLst>
            </p:cNvPr>
            <p:cNvSpPr/>
            <p:nvPr userDrawn="1"/>
          </p:nvSpPr>
          <p:spPr bwMode="auto">
            <a:xfrm>
              <a:off x="7296151" y="2484438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" name="îSlíḍè">
              <a:extLst>
                <a:ext uri="{FF2B5EF4-FFF2-40B4-BE49-F238E27FC236}">
                  <a16:creationId xmlns:a16="http://schemas.microsoft.com/office/drawing/2014/main" xmlns="" id="{AE38124F-7E95-4EE9-966A-0192878DDA71}"/>
                </a:ext>
              </a:extLst>
            </p:cNvPr>
            <p:cNvSpPr/>
            <p:nvPr userDrawn="1"/>
          </p:nvSpPr>
          <p:spPr bwMode="auto">
            <a:xfrm>
              <a:off x="7296151" y="2484438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" name="îŝľîḓê">
              <a:extLst>
                <a:ext uri="{FF2B5EF4-FFF2-40B4-BE49-F238E27FC236}">
                  <a16:creationId xmlns:a16="http://schemas.microsoft.com/office/drawing/2014/main" xmlns="" id="{0AC52D35-CA2A-4800-A64A-B0D7431E94EC}"/>
                </a:ext>
              </a:extLst>
            </p:cNvPr>
            <p:cNvSpPr/>
            <p:nvPr userDrawn="1"/>
          </p:nvSpPr>
          <p:spPr bwMode="auto">
            <a:xfrm>
              <a:off x="7296151" y="2830513"/>
              <a:ext cx="1655763" cy="606425"/>
            </a:xfrm>
            <a:custGeom>
              <a:avLst/>
              <a:gdLst>
                <a:gd name="T0" fmla="*/ 0 w 1043"/>
                <a:gd name="T1" fmla="*/ 0 h 382"/>
                <a:gd name="T2" fmla="*/ 0 w 1043"/>
                <a:gd name="T3" fmla="*/ 29 h 382"/>
                <a:gd name="T4" fmla="*/ 613 w 1043"/>
                <a:gd name="T5" fmla="*/ 382 h 382"/>
                <a:gd name="T6" fmla="*/ 1043 w 1043"/>
                <a:gd name="T7" fmla="*/ 135 h 382"/>
                <a:gd name="T8" fmla="*/ 1043 w 1043"/>
                <a:gd name="T9" fmla="*/ 106 h 382"/>
                <a:gd name="T10" fmla="*/ 0 w 1043"/>
                <a:gd name="T11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2">
                  <a:moveTo>
                    <a:pt x="0" y="0"/>
                  </a:moveTo>
                  <a:lnTo>
                    <a:pt x="0" y="29"/>
                  </a:lnTo>
                  <a:lnTo>
                    <a:pt x="613" y="382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4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" name="íślïḓè">
              <a:extLst>
                <a:ext uri="{FF2B5EF4-FFF2-40B4-BE49-F238E27FC236}">
                  <a16:creationId xmlns:a16="http://schemas.microsoft.com/office/drawing/2014/main" xmlns="" id="{3DDACDCE-7F2A-43E0-89FB-8F64E651B4D9}"/>
                </a:ext>
              </a:extLst>
            </p:cNvPr>
            <p:cNvSpPr/>
            <p:nvPr userDrawn="1"/>
          </p:nvSpPr>
          <p:spPr bwMode="auto">
            <a:xfrm>
              <a:off x="7296151" y="2830513"/>
              <a:ext cx="1655763" cy="606425"/>
            </a:xfrm>
            <a:custGeom>
              <a:avLst/>
              <a:gdLst>
                <a:gd name="T0" fmla="*/ 0 w 1043"/>
                <a:gd name="T1" fmla="*/ 0 h 382"/>
                <a:gd name="T2" fmla="*/ 0 w 1043"/>
                <a:gd name="T3" fmla="*/ 29 h 382"/>
                <a:gd name="T4" fmla="*/ 613 w 1043"/>
                <a:gd name="T5" fmla="*/ 382 h 382"/>
                <a:gd name="T6" fmla="*/ 1043 w 1043"/>
                <a:gd name="T7" fmla="*/ 135 h 382"/>
                <a:gd name="T8" fmla="*/ 1043 w 1043"/>
                <a:gd name="T9" fmla="*/ 106 h 382"/>
                <a:gd name="T10" fmla="*/ 0 w 1043"/>
                <a:gd name="T11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2">
                  <a:moveTo>
                    <a:pt x="0" y="0"/>
                  </a:moveTo>
                  <a:lnTo>
                    <a:pt x="0" y="29"/>
                  </a:lnTo>
                  <a:lnTo>
                    <a:pt x="613" y="382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" name="íšḷïdé">
              <a:extLst>
                <a:ext uri="{FF2B5EF4-FFF2-40B4-BE49-F238E27FC236}">
                  <a16:creationId xmlns:a16="http://schemas.microsoft.com/office/drawing/2014/main" xmlns="" id="{D369C28D-0942-4851-BA4F-183AF8B59E95}"/>
                </a:ext>
              </a:extLst>
            </p:cNvPr>
            <p:cNvSpPr/>
            <p:nvPr userDrawn="1"/>
          </p:nvSpPr>
          <p:spPr bwMode="auto">
            <a:xfrm>
              <a:off x="7296151" y="2438401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" name="îṩļîḑé">
              <a:extLst>
                <a:ext uri="{FF2B5EF4-FFF2-40B4-BE49-F238E27FC236}">
                  <a16:creationId xmlns:a16="http://schemas.microsoft.com/office/drawing/2014/main" xmlns="" id="{91471286-5803-4079-B866-14DF887725D6}"/>
                </a:ext>
              </a:extLst>
            </p:cNvPr>
            <p:cNvSpPr/>
            <p:nvPr userDrawn="1"/>
          </p:nvSpPr>
          <p:spPr bwMode="auto">
            <a:xfrm>
              <a:off x="7296151" y="2438401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" name="ï$ļiḍê">
              <a:extLst>
                <a:ext uri="{FF2B5EF4-FFF2-40B4-BE49-F238E27FC236}">
                  <a16:creationId xmlns:a16="http://schemas.microsoft.com/office/drawing/2014/main" xmlns="" id="{13D82409-13F0-489F-BD86-FBBA11664136}"/>
                </a:ext>
              </a:extLst>
            </p:cNvPr>
            <p:cNvSpPr/>
            <p:nvPr userDrawn="1"/>
          </p:nvSpPr>
          <p:spPr bwMode="auto">
            <a:xfrm>
              <a:off x="7296151" y="2411413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" name="íŝļïḑè">
              <a:extLst>
                <a:ext uri="{FF2B5EF4-FFF2-40B4-BE49-F238E27FC236}">
                  <a16:creationId xmlns:a16="http://schemas.microsoft.com/office/drawing/2014/main" xmlns="" id="{B6346D1A-B6FA-414E-AF2C-2EBCE0EDF4E9}"/>
                </a:ext>
              </a:extLst>
            </p:cNvPr>
            <p:cNvSpPr/>
            <p:nvPr userDrawn="1"/>
          </p:nvSpPr>
          <p:spPr bwMode="auto">
            <a:xfrm>
              <a:off x="7296151" y="2411413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" name="ïs1îde">
              <a:extLst>
                <a:ext uri="{FF2B5EF4-FFF2-40B4-BE49-F238E27FC236}">
                  <a16:creationId xmlns:a16="http://schemas.microsoft.com/office/drawing/2014/main" xmlns="" id="{57C27D90-DAE2-40D8-A138-879CE873AF64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1655763" cy="573088"/>
            </a:xfrm>
            <a:custGeom>
              <a:avLst/>
              <a:gdLst>
                <a:gd name="T0" fmla="*/ 0 w 1043"/>
                <a:gd name="T1" fmla="*/ 0 h 361"/>
                <a:gd name="T2" fmla="*/ 0 w 1043"/>
                <a:gd name="T3" fmla="*/ 8 h 361"/>
                <a:gd name="T4" fmla="*/ 613 w 1043"/>
                <a:gd name="T5" fmla="*/ 361 h 361"/>
                <a:gd name="T6" fmla="*/ 1043 w 1043"/>
                <a:gd name="T7" fmla="*/ 114 h 361"/>
                <a:gd name="T8" fmla="*/ 1043 w 1043"/>
                <a:gd name="T9" fmla="*/ 106 h 361"/>
                <a:gd name="T10" fmla="*/ 0 w 1043"/>
                <a:gd name="T11" fmla="*/ 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1">
                  <a:moveTo>
                    <a:pt x="0" y="0"/>
                  </a:moveTo>
                  <a:lnTo>
                    <a:pt x="0" y="8"/>
                  </a:lnTo>
                  <a:lnTo>
                    <a:pt x="613" y="361"/>
                  </a:lnTo>
                  <a:lnTo>
                    <a:pt x="1043" y="114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" name="íşḷïdê">
              <a:extLst>
                <a:ext uri="{FF2B5EF4-FFF2-40B4-BE49-F238E27FC236}">
                  <a16:creationId xmlns:a16="http://schemas.microsoft.com/office/drawing/2014/main" xmlns="" id="{A5FC4756-4A9E-4ACD-BF73-F22A8B13CB1F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1655763" cy="573088"/>
            </a:xfrm>
            <a:custGeom>
              <a:avLst/>
              <a:gdLst>
                <a:gd name="T0" fmla="*/ 0 w 1043"/>
                <a:gd name="T1" fmla="*/ 0 h 361"/>
                <a:gd name="T2" fmla="*/ 0 w 1043"/>
                <a:gd name="T3" fmla="*/ 8 h 361"/>
                <a:gd name="T4" fmla="*/ 613 w 1043"/>
                <a:gd name="T5" fmla="*/ 361 h 361"/>
                <a:gd name="T6" fmla="*/ 1043 w 1043"/>
                <a:gd name="T7" fmla="*/ 114 h 361"/>
                <a:gd name="T8" fmla="*/ 1043 w 1043"/>
                <a:gd name="T9" fmla="*/ 106 h 361"/>
                <a:gd name="T10" fmla="*/ 0 w 1043"/>
                <a:gd name="T11" fmla="*/ 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1">
                  <a:moveTo>
                    <a:pt x="0" y="0"/>
                  </a:moveTo>
                  <a:lnTo>
                    <a:pt x="0" y="8"/>
                  </a:lnTo>
                  <a:lnTo>
                    <a:pt x="613" y="361"/>
                  </a:lnTo>
                  <a:lnTo>
                    <a:pt x="1043" y="114"/>
                  </a:lnTo>
                  <a:lnTo>
                    <a:pt x="1043" y="10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" name="íŝḻîďê">
              <a:extLst>
                <a:ext uri="{FF2B5EF4-FFF2-40B4-BE49-F238E27FC236}">
                  <a16:creationId xmlns:a16="http://schemas.microsoft.com/office/drawing/2014/main" xmlns="" id="{674B864C-D737-482D-8D89-415D8F09A162}"/>
                </a:ext>
              </a:extLst>
            </p:cNvPr>
            <p:cNvSpPr/>
            <p:nvPr userDrawn="1"/>
          </p:nvSpPr>
          <p:spPr bwMode="auto">
            <a:xfrm>
              <a:off x="7296151" y="23955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" name="îS1îďé">
              <a:extLst>
                <a:ext uri="{FF2B5EF4-FFF2-40B4-BE49-F238E27FC236}">
                  <a16:creationId xmlns:a16="http://schemas.microsoft.com/office/drawing/2014/main" xmlns="" id="{B551634D-776D-40CE-B99F-A57798B8966F}"/>
                </a:ext>
              </a:extLst>
            </p:cNvPr>
            <p:cNvSpPr/>
            <p:nvPr userDrawn="1"/>
          </p:nvSpPr>
          <p:spPr bwMode="auto">
            <a:xfrm>
              <a:off x="7296151" y="23955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" name="iśḻîḍe">
              <a:extLst>
                <a:ext uri="{FF2B5EF4-FFF2-40B4-BE49-F238E27FC236}">
                  <a16:creationId xmlns:a16="http://schemas.microsoft.com/office/drawing/2014/main" xmlns="" id="{FBF8BEB1-F39B-4173-A1F5-2CBD3FED0D3C}"/>
                </a:ext>
              </a:extLst>
            </p:cNvPr>
            <p:cNvSpPr/>
            <p:nvPr userDrawn="1"/>
          </p:nvSpPr>
          <p:spPr bwMode="auto">
            <a:xfrm>
              <a:off x="7588251" y="2566988"/>
              <a:ext cx="1069975" cy="615950"/>
            </a:xfrm>
            <a:custGeom>
              <a:avLst/>
              <a:gdLst>
                <a:gd name="T0" fmla="*/ 0 w 674"/>
                <a:gd name="T1" fmla="*/ 141 h 388"/>
                <a:gd name="T2" fmla="*/ 246 w 674"/>
                <a:gd name="T3" fmla="*/ 0 h 388"/>
                <a:gd name="T4" fmla="*/ 674 w 674"/>
                <a:gd name="T5" fmla="*/ 247 h 388"/>
                <a:gd name="T6" fmla="*/ 429 w 674"/>
                <a:gd name="T7" fmla="*/ 388 h 388"/>
                <a:gd name="T8" fmla="*/ 0 w 674"/>
                <a:gd name="T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4" h="388">
                  <a:moveTo>
                    <a:pt x="0" y="141"/>
                  </a:moveTo>
                  <a:lnTo>
                    <a:pt x="246" y="0"/>
                  </a:lnTo>
                  <a:lnTo>
                    <a:pt x="674" y="247"/>
                  </a:lnTo>
                  <a:lnTo>
                    <a:pt x="429" y="388"/>
                  </a:lnTo>
                  <a:lnTo>
                    <a:pt x="0" y="141"/>
                  </a:ln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" name="îślíďê">
              <a:extLst>
                <a:ext uri="{FF2B5EF4-FFF2-40B4-BE49-F238E27FC236}">
                  <a16:creationId xmlns:a16="http://schemas.microsoft.com/office/drawing/2014/main" xmlns="" id="{DC7FE88C-E1B1-4015-924E-B12DC0A43B1A}"/>
                </a:ext>
              </a:extLst>
            </p:cNvPr>
            <p:cNvSpPr/>
            <p:nvPr userDrawn="1"/>
          </p:nvSpPr>
          <p:spPr bwMode="auto">
            <a:xfrm>
              <a:off x="7588251" y="2566988"/>
              <a:ext cx="1069975" cy="615950"/>
            </a:xfrm>
            <a:custGeom>
              <a:avLst/>
              <a:gdLst>
                <a:gd name="T0" fmla="*/ 0 w 674"/>
                <a:gd name="T1" fmla="*/ 141 h 388"/>
                <a:gd name="T2" fmla="*/ 246 w 674"/>
                <a:gd name="T3" fmla="*/ 0 h 388"/>
                <a:gd name="T4" fmla="*/ 674 w 674"/>
                <a:gd name="T5" fmla="*/ 247 h 388"/>
                <a:gd name="T6" fmla="*/ 429 w 674"/>
                <a:gd name="T7" fmla="*/ 388 h 388"/>
                <a:gd name="T8" fmla="*/ 0 w 674"/>
                <a:gd name="T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4" h="388">
                  <a:moveTo>
                    <a:pt x="0" y="141"/>
                  </a:moveTo>
                  <a:lnTo>
                    <a:pt x="246" y="0"/>
                  </a:lnTo>
                  <a:lnTo>
                    <a:pt x="674" y="247"/>
                  </a:lnTo>
                  <a:lnTo>
                    <a:pt x="429" y="388"/>
                  </a:lnTo>
                  <a:lnTo>
                    <a:pt x="0" y="14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" name="îşľîdé">
              <a:extLst>
                <a:ext uri="{FF2B5EF4-FFF2-40B4-BE49-F238E27FC236}">
                  <a16:creationId xmlns:a16="http://schemas.microsoft.com/office/drawing/2014/main" xmlns="" id="{5B3848EB-24F5-41BA-AF4E-CF871340FDFF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973138" cy="676275"/>
            </a:xfrm>
            <a:custGeom>
              <a:avLst/>
              <a:gdLst>
                <a:gd name="T0" fmla="*/ 613 w 613"/>
                <a:gd name="T1" fmla="*/ 353 h 426"/>
                <a:gd name="T2" fmla="*/ 613 w 613"/>
                <a:gd name="T3" fmla="*/ 426 h 426"/>
                <a:gd name="T4" fmla="*/ 0 w 613"/>
                <a:gd name="T5" fmla="*/ 73 h 426"/>
                <a:gd name="T6" fmla="*/ 0 w 613"/>
                <a:gd name="T7" fmla="*/ 0 h 426"/>
                <a:gd name="T8" fmla="*/ 613 w 613"/>
                <a:gd name="T9" fmla="*/ 353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3" h="426">
                  <a:moveTo>
                    <a:pt x="613" y="353"/>
                  </a:moveTo>
                  <a:lnTo>
                    <a:pt x="613" y="426"/>
                  </a:lnTo>
                  <a:lnTo>
                    <a:pt x="0" y="73"/>
                  </a:lnTo>
                  <a:lnTo>
                    <a:pt x="0" y="0"/>
                  </a:lnTo>
                  <a:lnTo>
                    <a:pt x="613" y="353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" name="išlîďé">
              <a:extLst>
                <a:ext uri="{FF2B5EF4-FFF2-40B4-BE49-F238E27FC236}">
                  <a16:creationId xmlns:a16="http://schemas.microsoft.com/office/drawing/2014/main" xmlns="" id="{255DC234-FAC6-4BCE-B308-119454EFFF17}"/>
                </a:ext>
              </a:extLst>
            </p:cNvPr>
            <p:cNvSpPr/>
            <p:nvPr userDrawn="1"/>
          </p:nvSpPr>
          <p:spPr bwMode="auto">
            <a:xfrm>
              <a:off x="4689476" y="4205288"/>
              <a:ext cx="841375" cy="504825"/>
            </a:xfrm>
            <a:custGeom>
              <a:avLst/>
              <a:gdLst>
                <a:gd name="T0" fmla="*/ 0 w 255"/>
                <a:gd name="T1" fmla="*/ 1 h 153"/>
                <a:gd name="T2" fmla="*/ 0 w 255"/>
                <a:gd name="T3" fmla="*/ 0 h 153"/>
                <a:gd name="T4" fmla="*/ 2 w 255"/>
                <a:gd name="T5" fmla="*/ 0 h 153"/>
                <a:gd name="T6" fmla="*/ 4 w 255"/>
                <a:gd name="T7" fmla="*/ 1 h 153"/>
                <a:gd name="T8" fmla="*/ 7 w 255"/>
                <a:gd name="T9" fmla="*/ 2 h 153"/>
                <a:gd name="T10" fmla="*/ 11 w 255"/>
                <a:gd name="T11" fmla="*/ 4 h 153"/>
                <a:gd name="T12" fmla="*/ 13 w 255"/>
                <a:gd name="T13" fmla="*/ 4 h 153"/>
                <a:gd name="T14" fmla="*/ 15 w 255"/>
                <a:gd name="T15" fmla="*/ 5 h 153"/>
                <a:gd name="T16" fmla="*/ 35 w 255"/>
                <a:gd name="T17" fmla="*/ 12 h 153"/>
                <a:gd name="T18" fmla="*/ 35 w 255"/>
                <a:gd name="T19" fmla="*/ 12 h 153"/>
                <a:gd name="T20" fmla="*/ 35 w 255"/>
                <a:gd name="T21" fmla="*/ 12 h 153"/>
                <a:gd name="T22" fmla="*/ 35 w 255"/>
                <a:gd name="T23" fmla="*/ 12 h 153"/>
                <a:gd name="T24" fmla="*/ 35 w 255"/>
                <a:gd name="T25" fmla="*/ 12 h 153"/>
                <a:gd name="T26" fmla="*/ 251 w 255"/>
                <a:gd name="T27" fmla="*/ 137 h 153"/>
                <a:gd name="T28" fmla="*/ 255 w 255"/>
                <a:gd name="T29" fmla="*/ 142 h 153"/>
                <a:gd name="T30" fmla="*/ 251 w 255"/>
                <a:gd name="T31" fmla="*/ 149 h 153"/>
                <a:gd name="T32" fmla="*/ 245 w 255"/>
                <a:gd name="T33" fmla="*/ 153 h 153"/>
                <a:gd name="T34" fmla="*/ 29 w 255"/>
                <a:gd name="T35" fmla="*/ 27 h 153"/>
                <a:gd name="T36" fmla="*/ 29 w 255"/>
                <a:gd name="T37" fmla="*/ 27 h 153"/>
                <a:gd name="T38" fmla="*/ 11 w 255"/>
                <a:gd name="T39" fmla="*/ 10 h 153"/>
                <a:gd name="T40" fmla="*/ 0 w 255"/>
                <a:gd name="T41" fmla="*/ 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5" h="153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3" y="1"/>
                    <a:pt x="4" y="1"/>
                  </a:cubicBezTo>
                  <a:cubicBezTo>
                    <a:pt x="5" y="1"/>
                    <a:pt x="6" y="2"/>
                    <a:pt x="7" y="2"/>
                  </a:cubicBezTo>
                  <a:cubicBezTo>
                    <a:pt x="9" y="3"/>
                    <a:pt x="10" y="3"/>
                    <a:pt x="11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6" y="5"/>
                    <a:pt x="33" y="11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251" y="137"/>
                    <a:pt x="251" y="137"/>
                    <a:pt x="251" y="137"/>
                  </a:cubicBezTo>
                  <a:cubicBezTo>
                    <a:pt x="255" y="142"/>
                    <a:pt x="255" y="142"/>
                    <a:pt x="255" y="142"/>
                  </a:cubicBezTo>
                  <a:cubicBezTo>
                    <a:pt x="251" y="149"/>
                    <a:pt x="251" y="149"/>
                    <a:pt x="251" y="149"/>
                  </a:cubicBezTo>
                  <a:cubicBezTo>
                    <a:pt x="245" y="153"/>
                    <a:pt x="245" y="153"/>
                    <a:pt x="245" y="153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3" y="22"/>
                    <a:pt x="17" y="15"/>
                    <a:pt x="11" y="10"/>
                  </a:cubicBezTo>
                  <a:cubicBezTo>
                    <a:pt x="7" y="7"/>
                    <a:pt x="3" y="4"/>
                    <a:pt x="0" y="1"/>
                  </a:cubicBezTo>
                  <a:close/>
                </a:path>
              </a:pathLst>
            </a:custGeom>
            <a:solidFill>
              <a:srgbClr val="647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5" name="ïšḷïḋé">
              <a:extLst>
                <a:ext uri="{FF2B5EF4-FFF2-40B4-BE49-F238E27FC236}">
                  <a16:creationId xmlns:a16="http://schemas.microsoft.com/office/drawing/2014/main" xmlns="" id="{989445EE-B1E1-4F47-BE74-16774B09302B}"/>
                </a:ext>
              </a:extLst>
            </p:cNvPr>
            <p:cNvSpPr/>
            <p:nvPr userDrawn="1"/>
          </p:nvSpPr>
          <p:spPr bwMode="auto">
            <a:xfrm>
              <a:off x="4699001" y="4192588"/>
              <a:ext cx="52388" cy="33338"/>
            </a:xfrm>
            <a:custGeom>
              <a:avLst/>
              <a:gdLst>
                <a:gd name="T0" fmla="*/ 1 w 16"/>
                <a:gd name="T1" fmla="*/ 0 h 10"/>
                <a:gd name="T2" fmla="*/ 2 w 16"/>
                <a:gd name="T3" fmla="*/ 1 h 10"/>
                <a:gd name="T4" fmla="*/ 4 w 16"/>
                <a:gd name="T5" fmla="*/ 1 h 10"/>
                <a:gd name="T6" fmla="*/ 8 w 16"/>
                <a:gd name="T7" fmla="*/ 3 h 10"/>
                <a:gd name="T8" fmla="*/ 12 w 16"/>
                <a:gd name="T9" fmla="*/ 4 h 10"/>
                <a:gd name="T10" fmla="*/ 14 w 16"/>
                <a:gd name="T11" fmla="*/ 5 h 10"/>
                <a:gd name="T12" fmla="*/ 16 w 16"/>
                <a:gd name="T13" fmla="*/ 5 h 10"/>
                <a:gd name="T14" fmla="*/ 11 w 16"/>
                <a:gd name="T15" fmla="*/ 10 h 10"/>
                <a:gd name="T16" fmla="*/ 0 w 16"/>
                <a:gd name="T17" fmla="*/ 1 h 10"/>
                <a:gd name="T18" fmla="*/ 1 w 16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0"/>
                  </a:moveTo>
                  <a:cubicBezTo>
                    <a:pt x="1" y="0"/>
                    <a:pt x="2" y="0"/>
                    <a:pt x="2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2"/>
                    <a:pt x="7" y="2"/>
                    <a:pt x="8" y="3"/>
                  </a:cubicBezTo>
                  <a:cubicBezTo>
                    <a:pt x="9" y="3"/>
                    <a:pt x="11" y="3"/>
                    <a:pt x="12" y="4"/>
                  </a:cubicBezTo>
                  <a:cubicBezTo>
                    <a:pt x="13" y="4"/>
                    <a:pt x="13" y="4"/>
                    <a:pt x="14" y="5"/>
                  </a:cubicBezTo>
                  <a:cubicBezTo>
                    <a:pt x="15" y="5"/>
                    <a:pt x="15" y="5"/>
                    <a:pt x="16" y="5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7"/>
                    <a:pt x="4" y="4"/>
                    <a:pt x="0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342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6" name="í$lîḍê">
              <a:extLst>
                <a:ext uri="{FF2B5EF4-FFF2-40B4-BE49-F238E27FC236}">
                  <a16:creationId xmlns:a16="http://schemas.microsoft.com/office/drawing/2014/main" xmlns="" id="{FF9E84D0-CD73-48A2-8569-CA70741B9888}"/>
                </a:ext>
              </a:extLst>
            </p:cNvPr>
            <p:cNvSpPr/>
            <p:nvPr userDrawn="1"/>
          </p:nvSpPr>
          <p:spPr bwMode="auto">
            <a:xfrm>
              <a:off x="4735513" y="4208463"/>
              <a:ext cx="82550" cy="76200"/>
            </a:xfrm>
            <a:custGeom>
              <a:avLst/>
              <a:gdLst>
                <a:gd name="T0" fmla="*/ 5 w 25"/>
                <a:gd name="T1" fmla="*/ 0 h 23"/>
                <a:gd name="T2" fmla="*/ 25 w 25"/>
                <a:gd name="T3" fmla="*/ 7 h 23"/>
                <a:gd name="T4" fmla="*/ 23 w 25"/>
                <a:gd name="T5" fmla="*/ 9 h 23"/>
                <a:gd name="T6" fmla="*/ 17 w 25"/>
                <a:gd name="T7" fmla="*/ 17 h 23"/>
                <a:gd name="T8" fmla="*/ 19 w 25"/>
                <a:gd name="T9" fmla="*/ 23 h 23"/>
                <a:gd name="T10" fmla="*/ 0 w 25"/>
                <a:gd name="T11" fmla="*/ 5 h 23"/>
                <a:gd name="T12" fmla="*/ 5 w 25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3">
                  <a:moveTo>
                    <a:pt x="5" y="0"/>
                  </a:moveTo>
                  <a:cubicBezTo>
                    <a:pt x="6" y="1"/>
                    <a:pt x="24" y="7"/>
                    <a:pt x="25" y="7"/>
                  </a:cubicBezTo>
                  <a:cubicBezTo>
                    <a:pt x="24" y="8"/>
                    <a:pt x="24" y="8"/>
                    <a:pt x="23" y="9"/>
                  </a:cubicBezTo>
                  <a:cubicBezTo>
                    <a:pt x="20" y="10"/>
                    <a:pt x="17" y="14"/>
                    <a:pt x="17" y="17"/>
                  </a:cubicBezTo>
                  <a:cubicBezTo>
                    <a:pt x="17" y="19"/>
                    <a:pt x="18" y="22"/>
                    <a:pt x="19" y="23"/>
                  </a:cubicBezTo>
                  <a:cubicBezTo>
                    <a:pt x="13" y="17"/>
                    <a:pt x="6" y="10"/>
                    <a:pt x="0" y="5"/>
                  </a:cubicBezTo>
                  <a:cubicBezTo>
                    <a:pt x="0" y="4"/>
                    <a:pt x="4" y="0"/>
                    <a:pt x="5" y="0"/>
                  </a:cubicBezTo>
                  <a:close/>
                </a:path>
              </a:pathLst>
            </a:custGeom>
            <a:solidFill>
              <a:srgbClr val="FFE2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7" name="işļîdé">
              <a:extLst>
                <a:ext uri="{FF2B5EF4-FFF2-40B4-BE49-F238E27FC236}">
                  <a16:creationId xmlns:a16="http://schemas.microsoft.com/office/drawing/2014/main" xmlns="" id="{76335568-83DA-4D3A-82F3-BD5B6F80E6C4}"/>
                </a:ext>
              </a:extLst>
            </p:cNvPr>
            <p:cNvSpPr/>
            <p:nvPr userDrawn="1"/>
          </p:nvSpPr>
          <p:spPr bwMode="auto">
            <a:xfrm>
              <a:off x="4791076" y="4232276"/>
              <a:ext cx="36513" cy="49213"/>
            </a:xfrm>
            <a:custGeom>
              <a:avLst/>
              <a:gdLst>
                <a:gd name="T0" fmla="*/ 0 w 11"/>
                <a:gd name="T1" fmla="*/ 10 h 15"/>
                <a:gd name="T2" fmla="*/ 5 w 11"/>
                <a:gd name="T3" fmla="*/ 14 h 15"/>
                <a:gd name="T4" fmla="*/ 11 w 11"/>
                <a:gd name="T5" fmla="*/ 4 h 15"/>
                <a:gd name="T6" fmla="*/ 6 w 11"/>
                <a:gd name="T7" fmla="*/ 1 h 15"/>
                <a:gd name="T8" fmla="*/ 0 w 11"/>
                <a:gd name="T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0" y="10"/>
                  </a:moveTo>
                  <a:cubicBezTo>
                    <a:pt x="0" y="14"/>
                    <a:pt x="2" y="15"/>
                    <a:pt x="5" y="14"/>
                  </a:cubicBezTo>
                  <a:cubicBezTo>
                    <a:pt x="8" y="12"/>
                    <a:pt x="11" y="8"/>
                    <a:pt x="11" y="4"/>
                  </a:cubicBezTo>
                  <a:cubicBezTo>
                    <a:pt x="11" y="1"/>
                    <a:pt x="9" y="0"/>
                    <a:pt x="6" y="1"/>
                  </a:cubicBezTo>
                  <a:cubicBezTo>
                    <a:pt x="3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8" name="îşḷïďe">
              <a:extLst>
                <a:ext uri="{FF2B5EF4-FFF2-40B4-BE49-F238E27FC236}">
                  <a16:creationId xmlns:a16="http://schemas.microsoft.com/office/drawing/2014/main" xmlns="" id="{95338FD5-EC3A-41E1-AF26-BDB7A29BCC7F}"/>
                </a:ext>
              </a:extLst>
            </p:cNvPr>
            <p:cNvSpPr/>
            <p:nvPr userDrawn="1"/>
          </p:nvSpPr>
          <p:spPr bwMode="auto">
            <a:xfrm>
              <a:off x="4787901" y="4268788"/>
              <a:ext cx="722313" cy="428625"/>
            </a:xfrm>
            <a:custGeom>
              <a:avLst/>
              <a:gdLst>
                <a:gd name="T0" fmla="*/ 449 w 455"/>
                <a:gd name="T1" fmla="*/ 261 h 270"/>
                <a:gd name="T2" fmla="*/ 0 w 455"/>
                <a:gd name="T3" fmla="*/ 0 h 270"/>
                <a:gd name="T4" fmla="*/ 6 w 455"/>
                <a:gd name="T5" fmla="*/ 10 h 270"/>
                <a:gd name="T6" fmla="*/ 455 w 455"/>
                <a:gd name="T7" fmla="*/ 270 h 270"/>
                <a:gd name="T8" fmla="*/ 449 w 455"/>
                <a:gd name="T9" fmla="*/ 261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0">
                  <a:moveTo>
                    <a:pt x="449" y="261"/>
                  </a:moveTo>
                  <a:lnTo>
                    <a:pt x="0" y="0"/>
                  </a:lnTo>
                  <a:lnTo>
                    <a:pt x="6" y="10"/>
                  </a:lnTo>
                  <a:lnTo>
                    <a:pt x="455" y="270"/>
                  </a:lnTo>
                  <a:lnTo>
                    <a:pt x="449" y="261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9" name="ísḻíḓe">
              <a:extLst>
                <a:ext uri="{FF2B5EF4-FFF2-40B4-BE49-F238E27FC236}">
                  <a16:creationId xmlns:a16="http://schemas.microsoft.com/office/drawing/2014/main" xmlns="" id="{B3D03EF8-5FB6-4936-B118-6981E3236D56}"/>
                </a:ext>
              </a:extLst>
            </p:cNvPr>
            <p:cNvSpPr/>
            <p:nvPr userDrawn="1"/>
          </p:nvSpPr>
          <p:spPr bwMode="auto">
            <a:xfrm>
              <a:off x="4787901" y="4241801"/>
              <a:ext cx="722313" cy="441325"/>
            </a:xfrm>
            <a:custGeom>
              <a:avLst/>
              <a:gdLst>
                <a:gd name="T0" fmla="*/ 455 w 455"/>
                <a:gd name="T1" fmla="*/ 262 h 278"/>
                <a:gd name="T2" fmla="*/ 6 w 455"/>
                <a:gd name="T3" fmla="*/ 0 h 278"/>
                <a:gd name="T4" fmla="*/ 0 w 455"/>
                <a:gd name="T5" fmla="*/ 17 h 278"/>
                <a:gd name="T6" fmla="*/ 449 w 455"/>
                <a:gd name="T7" fmla="*/ 278 h 278"/>
                <a:gd name="T8" fmla="*/ 455 w 455"/>
                <a:gd name="T9" fmla="*/ 26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8">
                  <a:moveTo>
                    <a:pt x="455" y="262"/>
                  </a:moveTo>
                  <a:lnTo>
                    <a:pt x="6" y="0"/>
                  </a:lnTo>
                  <a:lnTo>
                    <a:pt x="0" y="17"/>
                  </a:lnTo>
                  <a:lnTo>
                    <a:pt x="449" y="278"/>
                  </a:lnTo>
                  <a:lnTo>
                    <a:pt x="455" y="262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0" name="íṩľiḓé">
              <a:extLst>
                <a:ext uri="{FF2B5EF4-FFF2-40B4-BE49-F238E27FC236}">
                  <a16:creationId xmlns:a16="http://schemas.microsoft.com/office/drawing/2014/main" xmlns="" id="{DF116D4A-7EE2-44CE-90D6-FFD2297127D4}"/>
                </a:ext>
              </a:extLst>
            </p:cNvPr>
            <p:cNvSpPr/>
            <p:nvPr userDrawn="1"/>
          </p:nvSpPr>
          <p:spPr bwMode="auto">
            <a:xfrm>
              <a:off x="4797426" y="4232276"/>
              <a:ext cx="733425" cy="425450"/>
            </a:xfrm>
            <a:custGeom>
              <a:avLst/>
              <a:gdLst>
                <a:gd name="T0" fmla="*/ 462 w 462"/>
                <a:gd name="T1" fmla="*/ 261 h 268"/>
                <a:gd name="T2" fmla="*/ 13 w 462"/>
                <a:gd name="T3" fmla="*/ 0 h 268"/>
                <a:gd name="T4" fmla="*/ 0 w 462"/>
                <a:gd name="T5" fmla="*/ 6 h 268"/>
                <a:gd name="T6" fmla="*/ 449 w 462"/>
                <a:gd name="T7" fmla="*/ 268 h 268"/>
                <a:gd name="T8" fmla="*/ 462 w 462"/>
                <a:gd name="T9" fmla="*/ 261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2" h="268">
                  <a:moveTo>
                    <a:pt x="462" y="261"/>
                  </a:moveTo>
                  <a:lnTo>
                    <a:pt x="13" y="0"/>
                  </a:lnTo>
                  <a:lnTo>
                    <a:pt x="0" y="6"/>
                  </a:lnTo>
                  <a:lnTo>
                    <a:pt x="449" y="268"/>
                  </a:lnTo>
                  <a:lnTo>
                    <a:pt x="462" y="261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1" name="íş1îdé">
              <a:extLst>
                <a:ext uri="{FF2B5EF4-FFF2-40B4-BE49-F238E27FC236}">
                  <a16:creationId xmlns:a16="http://schemas.microsoft.com/office/drawing/2014/main" xmlns="" id="{02EE55AD-1B6E-47F0-B9B0-E73394F7164B}"/>
                </a:ext>
              </a:extLst>
            </p:cNvPr>
            <p:cNvSpPr/>
            <p:nvPr userDrawn="1"/>
          </p:nvSpPr>
          <p:spPr bwMode="auto">
            <a:xfrm>
              <a:off x="5500688" y="4646613"/>
              <a:ext cx="39688" cy="50800"/>
            </a:xfrm>
            <a:custGeom>
              <a:avLst/>
              <a:gdLst>
                <a:gd name="T0" fmla="*/ 6 w 25"/>
                <a:gd name="T1" fmla="*/ 7 h 32"/>
                <a:gd name="T2" fmla="*/ 0 w 25"/>
                <a:gd name="T3" fmla="*/ 23 h 32"/>
                <a:gd name="T4" fmla="*/ 6 w 25"/>
                <a:gd name="T5" fmla="*/ 32 h 32"/>
                <a:gd name="T6" fmla="*/ 19 w 25"/>
                <a:gd name="T7" fmla="*/ 25 h 32"/>
                <a:gd name="T8" fmla="*/ 25 w 25"/>
                <a:gd name="T9" fmla="*/ 9 h 32"/>
                <a:gd name="T10" fmla="*/ 19 w 25"/>
                <a:gd name="T11" fmla="*/ 0 h 32"/>
                <a:gd name="T12" fmla="*/ 6 w 25"/>
                <a:gd name="T13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2">
                  <a:moveTo>
                    <a:pt x="6" y="7"/>
                  </a:moveTo>
                  <a:lnTo>
                    <a:pt x="0" y="23"/>
                  </a:lnTo>
                  <a:lnTo>
                    <a:pt x="6" y="32"/>
                  </a:lnTo>
                  <a:lnTo>
                    <a:pt x="19" y="25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2" name="ïsľîḍe">
              <a:extLst>
                <a:ext uri="{FF2B5EF4-FFF2-40B4-BE49-F238E27FC236}">
                  <a16:creationId xmlns:a16="http://schemas.microsoft.com/office/drawing/2014/main" xmlns="" id="{9E3CB9D4-26E1-4087-B666-1AFE02C69385}"/>
                </a:ext>
              </a:extLst>
            </p:cNvPr>
            <p:cNvSpPr/>
            <p:nvPr userDrawn="1"/>
          </p:nvSpPr>
          <p:spPr bwMode="auto">
            <a:xfrm>
              <a:off x="3236913" y="4429126"/>
              <a:ext cx="1979613" cy="798513"/>
            </a:xfrm>
            <a:custGeom>
              <a:avLst/>
              <a:gdLst>
                <a:gd name="T0" fmla="*/ 372 w 600"/>
                <a:gd name="T1" fmla="*/ 219 h 242"/>
                <a:gd name="T2" fmla="*/ 488 w 600"/>
                <a:gd name="T3" fmla="*/ 161 h 242"/>
                <a:gd name="T4" fmla="*/ 465 w 600"/>
                <a:gd name="T5" fmla="*/ 148 h 242"/>
                <a:gd name="T6" fmla="*/ 364 w 600"/>
                <a:gd name="T7" fmla="*/ 214 h 242"/>
                <a:gd name="T8" fmla="*/ 465 w 600"/>
                <a:gd name="T9" fmla="*/ 148 h 242"/>
                <a:gd name="T10" fmla="*/ 339 w 600"/>
                <a:gd name="T11" fmla="*/ 199 h 242"/>
                <a:gd name="T12" fmla="*/ 454 w 600"/>
                <a:gd name="T13" fmla="*/ 141 h 242"/>
                <a:gd name="T14" fmla="*/ 429 w 600"/>
                <a:gd name="T15" fmla="*/ 127 h 242"/>
                <a:gd name="T16" fmla="*/ 328 w 600"/>
                <a:gd name="T17" fmla="*/ 193 h 242"/>
                <a:gd name="T18" fmla="*/ 429 w 600"/>
                <a:gd name="T19" fmla="*/ 127 h 242"/>
                <a:gd name="T20" fmla="*/ 477 w 600"/>
                <a:gd name="T21" fmla="*/ 135 h 242"/>
                <a:gd name="T22" fmla="*/ 528 w 600"/>
                <a:gd name="T23" fmla="*/ 140 h 242"/>
                <a:gd name="T24" fmla="*/ 495 w 600"/>
                <a:gd name="T25" fmla="*/ 93 h 242"/>
                <a:gd name="T26" fmla="*/ 530 w 600"/>
                <a:gd name="T27" fmla="*/ 138 h 242"/>
                <a:gd name="T28" fmla="*/ 495 w 600"/>
                <a:gd name="T29" fmla="*/ 93 h 242"/>
                <a:gd name="T30" fmla="*/ 516 w 600"/>
                <a:gd name="T31" fmla="*/ 102 h 242"/>
                <a:gd name="T32" fmla="*/ 576 w 600"/>
                <a:gd name="T33" fmla="*/ 112 h 242"/>
                <a:gd name="T34" fmla="*/ 216 w 600"/>
                <a:gd name="T35" fmla="*/ 72 h 242"/>
                <a:gd name="T36" fmla="*/ 169 w 600"/>
                <a:gd name="T37" fmla="*/ 98 h 242"/>
                <a:gd name="T38" fmla="*/ 216 w 600"/>
                <a:gd name="T39" fmla="*/ 126 h 242"/>
                <a:gd name="T40" fmla="*/ 216 w 600"/>
                <a:gd name="T41" fmla="*/ 126 h 242"/>
                <a:gd name="T42" fmla="*/ 262 w 600"/>
                <a:gd name="T43" fmla="*/ 99 h 242"/>
                <a:gd name="T44" fmla="*/ 216 w 600"/>
                <a:gd name="T45" fmla="*/ 72 h 242"/>
                <a:gd name="T46" fmla="*/ 503 w 600"/>
                <a:gd name="T47" fmla="*/ 67 h 242"/>
                <a:gd name="T48" fmla="*/ 600 w 600"/>
                <a:gd name="T49" fmla="*/ 98 h 242"/>
                <a:gd name="T50" fmla="*/ 503 w 600"/>
                <a:gd name="T51" fmla="*/ 67 h 242"/>
                <a:gd name="T52" fmla="*/ 278 w 600"/>
                <a:gd name="T53" fmla="*/ 178 h 242"/>
                <a:gd name="T54" fmla="*/ 491 w 600"/>
                <a:gd name="T55" fmla="*/ 63 h 242"/>
                <a:gd name="T56" fmla="*/ 451 w 600"/>
                <a:gd name="T57" fmla="*/ 53 h 242"/>
                <a:gd name="T58" fmla="*/ 264 w 600"/>
                <a:gd name="T59" fmla="*/ 170 h 242"/>
                <a:gd name="T60" fmla="*/ 451 w 600"/>
                <a:gd name="T61" fmla="*/ 53 h 242"/>
                <a:gd name="T62" fmla="*/ 0 w 600"/>
                <a:gd name="T63" fmla="*/ 50 h 242"/>
                <a:gd name="T64" fmla="*/ 351 w 600"/>
                <a:gd name="T65" fmla="*/ 242 h 242"/>
                <a:gd name="T66" fmla="*/ 419 w 600"/>
                <a:gd name="T67" fmla="*/ 45 h 242"/>
                <a:gd name="T68" fmla="*/ 241 w 600"/>
                <a:gd name="T69" fmla="*/ 156 h 242"/>
                <a:gd name="T70" fmla="*/ 419 w 600"/>
                <a:gd name="T71" fmla="*/ 45 h 242"/>
                <a:gd name="T72" fmla="*/ 43 w 600"/>
                <a:gd name="T73" fmla="*/ 41 h 242"/>
                <a:gd name="T74" fmla="*/ 82 w 600"/>
                <a:gd name="T75" fmla="*/ 33 h 242"/>
                <a:gd name="T76" fmla="*/ 261 w 600"/>
                <a:gd name="T77" fmla="*/ 35 h 242"/>
                <a:gd name="T78" fmla="*/ 260 w 600"/>
                <a:gd name="T79" fmla="*/ 73 h 242"/>
                <a:gd name="T80" fmla="*/ 293 w 600"/>
                <a:gd name="T81" fmla="*/ 81 h 242"/>
                <a:gd name="T82" fmla="*/ 326 w 600"/>
                <a:gd name="T83" fmla="*/ 73 h 242"/>
                <a:gd name="T84" fmla="*/ 327 w 600"/>
                <a:gd name="T85" fmla="*/ 35 h 242"/>
                <a:gd name="T86" fmla="*/ 329 w 600"/>
                <a:gd name="T87" fmla="*/ 21 h 242"/>
                <a:gd name="T88" fmla="*/ 371 w 600"/>
                <a:gd name="T89" fmla="*/ 36 h 242"/>
                <a:gd name="T90" fmla="*/ 371 w 600"/>
                <a:gd name="T91" fmla="*/ 36 h 242"/>
                <a:gd name="T92" fmla="*/ 329 w 600"/>
                <a:gd name="T93" fmla="*/ 21 h 242"/>
                <a:gd name="T94" fmla="*/ 124 w 600"/>
                <a:gd name="T95" fmla="*/ 25 h 242"/>
                <a:gd name="T96" fmla="*/ 77 w 600"/>
                <a:gd name="T97" fmla="*/ 61 h 242"/>
                <a:gd name="T98" fmla="*/ 198 w 600"/>
                <a:gd name="T99" fmla="*/ 10 h 242"/>
                <a:gd name="T100" fmla="*/ 86 w 600"/>
                <a:gd name="T101" fmla="*/ 66 h 242"/>
                <a:gd name="T102" fmla="*/ 198 w 600"/>
                <a:gd name="T103" fmla="*/ 10 h 242"/>
                <a:gd name="T104" fmla="*/ 118 w 600"/>
                <a:gd name="T105" fmla="*/ 85 h 242"/>
                <a:gd name="T106" fmla="*/ 271 w 600"/>
                <a:gd name="T107" fmla="*/ 6 h 242"/>
                <a:gd name="T108" fmla="*/ 248 w 600"/>
                <a:gd name="T109" fmla="*/ 0 h 242"/>
                <a:gd name="T110" fmla="*/ 102 w 600"/>
                <a:gd name="T111" fmla="*/ 76 h 242"/>
                <a:gd name="T112" fmla="*/ 248 w 600"/>
                <a:gd name="T11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0" h="242">
                  <a:moveTo>
                    <a:pt x="480" y="156"/>
                  </a:moveTo>
                  <a:cubicBezTo>
                    <a:pt x="372" y="219"/>
                    <a:pt x="372" y="219"/>
                    <a:pt x="372" y="219"/>
                  </a:cubicBezTo>
                  <a:cubicBezTo>
                    <a:pt x="380" y="223"/>
                    <a:pt x="380" y="223"/>
                    <a:pt x="380" y="223"/>
                  </a:cubicBezTo>
                  <a:cubicBezTo>
                    <a:pt x="488" y="161"/>
                    <a:pt x="488" y="161"/>
                    <a:pt x="488" y="161"/>
                  </a:cubicBezTo>
                  <a:cubicBezTo>
                    <a:pt x="480" y="156"/>
                    <a:pt x="480" y="156"/>
                    <a:pt x="480" y="156"/>
                  </a:cubicBezTo>
                  <a:moveTo>
                    <a:pt x="465" y="148"/>
                  </a:moveTo>
                  <a:cubicBezTo>
                    <a:pt x="357" y="210"/>
                    <a:pt x="357" y="210"/>
                    <a:pt x="357" y="210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472" y="152"/>
                    <a:pt x="472" y="152"/>
                    <a:pt x="472" y="152"/>
                  </a:cubicBezTo>
                  <a:cubicBezTo>
                    <a:pt x="465" y="148"/>
                    <a:pt x="465" y="148"/>
                    <a:pt x="465" y="148"/>
                  </a:cubicBezTo>
                  <a:moveTo>
                    <a:pt x="447" y="137"/>
                  </a:moveTo>
                  <a:cubicBezTo>
                    <a:pt x="339" y="199"/>
                    <a:pt x="339" y="199"/>
                    <a:pt x="339" y="199"/>
                  </a:cubicBezTo>
                  <a:cubicBezTo>
                    <a:pt x="346" y="204"/>
                    <a:pt x="346" y="204"/>
                    <a:pt x="346" y="204"/>
                  </a:cubicBezTo>
                  <a:cubicBezTo>
                    <a:pt x="454" y="141"/>
                    <a:pt x="454" y="141"/>
                    <a:pt x="454" y="141"/>
                  </a:cubicBezTo>
                  <a:cubicBezTo>
                    <a:pt x="447" y="137"/>
                    <a:pt x="447" y="137"/>
                    <a:pt x="447" y="137"/>
                  </a:cubicBezTo>
                  <a:moveTo>
                    <a:pt x="429" y="127"/>
                  </a:moveTo>
                  <a:cubicBezTo>
                    <a:pt x="321" y="189"/>
                    <a:pt x="321" y="189"/>
                    <a:pt x="321" y="189"/>
                  </a:cubicBezTo>
                  <a:cubicBezTo>
                    <a:pt x="328" y="193"/>
                    <a:pt x="328" y="193"/>
                    <a:pt x="328" y="193"/>
                  </a:cubicBezTo>
                  <a:cubicBezTo>
                    <a:pt x="436" y="131"/>
                    <a:pt x="436" y="131"/>
                    <a:pt x="436" y="131"/>
                  </a:cubicBezTo>
                  <a:cubicBezTo>
                    <a:pt x="429" y="127"/>
                    <a:pt x="429" y="127"/>
                    <a:pt x="429" y="127"/>
                  </a:cubicBezTo>
                  <a:moveTo>
                    <a:pt x="499" y="123"/>
                  </a:moveTo>
                  <a:cubicBezTo>
                    <a:pt x="477" y="135"/>
                    <a:pt x="477" y="135"/>
                    <a:pt x="477" y="135"/>
                  </a:cubicBezTo>
                  <a:cubicBezTo>
                    <a:pt x="506" y="152"/>
                    <a:pt x="506" y="152"/>
                    <a:pt x="506" y="152"/>
                  </a:cubicBezTo>
                  <a:cubicBezTo>
                    <a:pt x="528" y="140"/>
                    <a:pt x="528" y="140"/>
                    <a:pt x="528" y="140"/>
                  </a:cubicBezTo>
                  <a:cubicBezTo>
                    <a:pt x="499" y="123"/>
                    <a:pt x="499" y="123"/>
                    <a:pt x="499" y="123"/>
                  </a:cubicBezTo>
                  <a:moveTo>
                    <a:pt x="495" y="93"/>
                  </a:moveTo>
                  <a:cubicBezTo>
                    <a:pt x="473" y="105"/>
                    <a:pt x="473" y="105"/>
                    <a:pt x="473" y="105"/>
                  </a:cubicBezTo>
                  <a:cubicBezTo>
                    <a:pt x="530" y="138"/>
                    <a:pt x="530" y="138"/>
                    <a:pt x="530" y="138"/>
                  </a:cubicBezTo>
                  <a:cubicBezTo>
                    <a:pt x="552" y="126"/>
                    <a:pt x="552" y="126"/>
                    <a:pt x="552" y="126"/>
                  </a:cubicBezTo>
                  <a:cubicBezTo>
                    <a:pt x="495" y="93"/>
                    <a:pt x="495" y="93"/>
                    <a:pt x="495" y="93"/>
                  </a:cubicBezTo>
                  <a:moveTo>
                    <a:pt x="537" y="90"/>
                  </a:moveTo>
                  <a:cubicBezTo>
                    <a:pt x="516" y="102"/>
                    <a:pt x="516" y="102"/>
                    <a:pt x="516" y="102"/>
                  </a:cubicBezTo>
                  <a:cubicBezTo>
                    <a:pt x="554" y="125"/>
                    <a:pt x="554" y="125"/>
                    <a:pt x="554" y="125"/>
                  </a:cubicBezTo>
                  <a:cubicBezTo>
                    <a:pt x="576" y="112"/>
                    <a:pt x="576" y="112"/>
                    <a:pt x="576" y="112"/>
                  </a:cubicBezTo>
                  <a:cubicBezTo>
                    <a:pt x="537" y="90"/>
                    <a:pt x="537" y="90"/>
                    <a:pt x="537" y="90"/>
                  </a:cubicBezTo>
                  <a:moveTo>
                    <a:pt x="216" y="72"/>
                  </a:moveTo>
                  <a:cubicBezTo>
                    <a:pt x="204" y="72"/>
                    <a:pt x="192" y="74"/>
                    <a:pt x="183" y="79"/>
                  </a:cubicBezTo>
                  <a:cubicBezTo>
                    <a:pt x="174" y="84"/>
                    <a:pt x="170" y="91"/>
                    <a:pt x="169" y="98"/>
                  </a:cubicBezTo>
                  <a:cubicBezTo>
                    <a:pt x="169" y="105"/>
                    <a:pt x="174" y="112"/>
                    <a:pt x="183" y="118"/>
                  </a:cubicBezTo>
                  <a:cubicBezTo>
                    <a:pt x="191" y="123"/>
                    <a:pt x="203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28" y="126"/>
                    <a:pt x="240" y="123"/>
                    <a:pt x="249" y="118"/>
                  </a:cubicBezTo>
                  <a:cubicBezTo>
                    <a:pt x="258" y="113"/>
                    <a:pt x="262" y="106"/>
                    <a:pt x="262" y="99"/>
                  </a:cubicBezTo>
                  <a:cubicBezTo>
                    <a:pt x="263" y="91"/>
                    <a:pt x="258" y="85"/>
                    <a:pt x="249" y="79"/>
                  </a:cubicBezTo>
                  <a:cubicBezTo>
                    <a:pt x="240" y="74"/>
                    <a:pt x="228" y="72"/>
                    <a:pt x="216" y="72"/>
                  </a:cubicBezTo>
                  <a:moveTo>
                    <a:pt x="503" y="67"/>
                  </a:moveTo>
                  <a:cubicBezTo>
                    <a:pt x="503" y="67"/>
                    <a:pt x="503" y="67"/>
                    <a:pt x="503" y="67"/>
                  </a:cubicBezTo>
                  <a:cubicBezTo>
                    <a:pt x="578" y="111"/>
                    <a:pt x="578" y="111"/>
                    <a:pt x="578" y="111"/>
                  </a:cubicBezTo>
                  <a:cubicBezTo>
                    <a:pt x="600" y="98"/>
                    <a:pt x="600" y="98"/>
                    <a:pt x="600" y="98"/>
                  </a:cubicBezTo>
                  <a:cubicBezTo>
                    <a:pt x="579" y="87"/>
                    <a:pt x="579" y="87"/>
                    <a:pt x="579" y="87"/>
                  </a:cubicBezTo>
                  <a:cubicBezTo>
                    <a:pt x="503" y="67"/>
                    <a:pt x="503" y="67"/>
                    <a:pt x="503" y="67"/>
                  </a:cubicBezTo>
                  <a:moveTo>
                    <a:pt x="481" y="61"/>
                  </a:moveTo>
                  <a:cubicBezTo>
                    <a:pt x="278" y="178"/>
                    <a:pt x="278" y="178"/>
                    <a:pt x="278" y="178"/>
                  </a:cubicBezTo>
                  <a:cubicBezTo>
                    <a:pt x="285" y="182"/>
                    <a:pt x="285" y="182"/>
                    <a:pt x="285" y="182"/>
                  </a:cubicBezTo>
                  <a:cubicBezTo>
                    <a:pt x="491" y="63"/>
                    <a:pt x="491" y="63"/>
                    <a:pt x="491" y="63"/>
                  </a:cubicBezTo>
                  <a:cubicBezTo>
                    <a:pt x="481" y="61"/>
                    <a:pt x="481" y="61"/>
                    <a:pt x="481" y="61"/>
                  </a:cubicBezTo>
                  <a:moveTo>
                    <a:pt x="451" y="53"/>
                  </a:moveTo>
                  <a:cubicBezTo>
                    <a:pt x="256" y="165"/>
                    <a:pt x="256" y="165"/>
                    <a:pt x="256" y="165"/>
                  </a:cubicBezTo>
                  <a:cubicBezTo>
                    <a:pt x="264" y="170"/>
                    <a:pt x="264" y="170"/>
                    <a:pt x="264" y="170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51" y="53"/>
                    <a:pt x="451" y="53"/>
                    <a:pt x="451" y="53"/>
                  </a:cubicBezTo>
                  <a:moveTo>
                    <a:pt x="15" y="47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49" y="242"/>
                    <a:pt x="349" y="242"/>
                    <a:pt x="349" y="242"/>
                  </a:cubicBezTo>
                  <a:cubicBezTo>
                    <a:pt x="350" y="242"/>
                    <a:pt x="350" y="242"/>
                    <a:pt x="351" y="242"/>
                  </a:cubicBezTo>
                  <a:cubicBezTo>
                    <a:pt x="15" y="47"/>
                    <a:pt x="15" y="47"/>
                    <a:pt x="15" y="47"/>
                  </a:cubicBezTo>
                  <a:moveTo>
                    <a:pt x="419" y="45"/>
                  </a:moveTo>
                  <a:cubicBezTo>
                    <a:pt x="233" y="152"/>
                    <a:pt x="233" y="152"/>
                    <a:pt x="233" y="152"/>
                  </a:cubicBezTo>
                  <a:cubicBezTo>
                    <a:pt x="241" y="156"/>
                    <a:pt x="241" y="156"/>
                    <a:pt x="241" y="156"/>
                  </a:cubicBezTo>
                  <a:cubicBezTo>
                    <a:pt x="430" y="47"/>
                    <a:pt x="430" y="47"/>
                    <a:pt x="430" y="47"/>
                  </a:cubicBezTo>
                  <a:cubicBezTo>
                    <a:pt x="419" y="45"/>
                    <a:pt x="419" y="45"/>
                    <a:pt x="419" y="45"/>
                  </a:cubicBezTo>
                  <a:moveTo>
                    <a:pt x="82" y="33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82" y="33"/>
                    <a:pt x="82" y="33"/>
                    <a:pt x="82" y="33"/>
                  </a:cubicBezTo>
                  <a:moveTo>
                    <a:pt x="294" y="27"/>
                  </a:moveTo>
                  <a:cubicBezTo>
                    <a:pt x="281" y="27"/>
                    <a:pt x="269" y="29"/>
                    <a:pt x="261" y="35"/>
                  </a:cubicBezTo>
                  <a:cubicBezTo>
                    <a:pt x="252" y="40"/>
                    <a:pt x="247" y="46"/>
                    <a:pt x="247" y="53"/>
                  </a:cubicBezTo>
                  <a:cubicBezTo>
                    <a:pt x="246" y="60"/>
                    <a:pt x="251" y="68"/>
                    <a:pt x="260" y="73"/>
                  </a:cubicBezTo>
                  <a:cubicBezTo>
                    <a:pt x="269" y="78"/>
                    <a:pt x="281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306" y="81"/>
                    <a:pt x="318" y="78"/>
                    <a:pt x="326" y="73"/>
                  </a:cubicBezTo>
                  <a:cubicBezTo>
                    <a:pt x="335" y="68"/>
                    <a:pt x="340" y="61"/>
                    <a:pt x="340" y="54"/>
                  </a:cubicBezTo>
                  <a:cubicBezTo>
                    <a:pt x="340" y="46"/>
                    <a:pt x="335" y="40"/>
                    <a:pt x="327" y="35"/>
                  </a:cubicBezTo>
                  <a:cubicBezTo>
                    <a:pt x="318" y="29"/>
                    <a:pt x="306" y="27"/>
                    <a:pt x="294" y="27"/>
                  </a:cubicBezTo>
                  <a:moveTo>
                    <a:pt x="329" y="21"/>
                  </a:moveTo>
                  <a:cubicBezTo>
                    <a:pt x="332" y="24"/>
                    <a:pt x="335" y="26"/>
                    <a:pt x="338" y="28"/>
                  </a:cubicBezTo>
                  <a:cubicBezTo>
                    <a:pt x="347" y="33"/>
                    <a:pt x="358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5" y="36"/>
                    <a:pt x="379" y="36"/>
                    <a:pt x="383" y="35"/>
                  </a:cubicBezTo>
                  <a:cubicBezTo>
                    <a:pt x="329" y="21"/>
                    <a:pt x="329" y="21"/>
                    <a:pt x="329" y="21"/>
                  </a:cubicBezTo>
                  <a:moveTo>
                    <a:pt x="147" y="20"/>
                  </a:moveTo>
                  <a:cubicBezTo>
                    <a:pt x="124" y="25"/>
                    <a:pt x="124" y="25"/>
                    <a:pt x="124" y="25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147" y="20"/>
                    <a:pt x="147" y="20"/>
                    <a:pt x="147" y="20"/>
                  </a:cubicBezTo>
                  <a:moveTo>
                    <a:pt x="198" y="10"/>
                  </a:moveTo>
                  <a:cubicBezTo>
                    <a:pt x="174" y="15"/>
                    <a:pt x="174" y="15"/>
                    <a:pt x="174" y="15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198" y="10"/>
                    <a:pt x="198" y="10"/>
                    <a:pt x="198" y="10"/>
                  </a:cubicBezTo>
                  <a:moveTo>
                    <a:pt x="260" y="3"/>
                  </a:moveTo>
                  <a:cubicBezTo>
                    <a:pt x="118" y="85"/>
                    <a:pt x="118" y="85"/>
                    <a:pt x="118" y="85"/>
                  </a:cubicBezTo>
                  <a:cubicBezTo>
                    <a:pt x="126" y="90"/>
                    <a:pt x="126" y="90"/>
                    <a:pt x="126" y="90"/>
                  </a:cubicBezTo>
                  <a:cubicBezTo>
                    <a:pt x="271" y="6"/>
                    <a:pt x="271" y="6"/>
                    <a:pt x="271" y="6"/>
                  </a:cubicBezTo>
                  <a:cubicBezTo>
                    <a:pt x="260" y="3"/>
                    <a:pt x="260" y="3"/>
                    <a:pt x="260" y="3"/>
                  </a:cubicBezTo>
                  <a:moveTo>
                    <a:pt x="248" y="0"/>
                  </a:moveTo>
                  <a:cubicBezTo>
                    <a:pt x="225" y="5"/>
                    <a:pt x="225" y="5"/>
                    <a:pt x="225" y="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248" y="0"/>
                    <a:pt x="248" y="0"/>
                    <a:pt x="248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3" name="iṩḷídê">
              <a:extLst>
                <a:ext uri="{FF2B5EF4-FFF2-40B4-BE49-F238E27FC236}">
                  <a16:creationId xmlns:a16="http://schemas.microsoft.com/office/drawing/2014/main" xmlns="" id="{81C9AF59-9042-44B1-B0D3-C4C80E0FE2B9}"/>
                </a:ext>
              </a:extLst>
            </p:cNvPr>
            <p:cNvSpPr/>
            <p:nvPr userDrawn="1"/>
          </p:nvSpPr>
          <p:spPr bwMode="auto">
            <a:xfrm>
              <a:off x="4438651" y="4419601"/>
              <a:ext cx="58738" cy="36513"/>
            </a:xfrm>
            <a:custGeom>
              <a:avLst/>
              <a:gdLst>
                <a:gd name="T0" fmla="*/ 3 w 18"/>
                <a:gd name="T1" fmla="*/ 2 h 11"/>
                <a:gd name="T2" fmla="*/ 14 w 18"/>
                <a:gd name="T3" fmla="*/ 2 h 11"/>
                <a:gd name="T4" fmla="*/ 14 w 18"/>
                <a:gd name="T5" fmla="*/ 9 h 11"/>
                <a:gd name="T6" fmla="*/ 3 w 18"/>
                <a:gd name="T7" fmla="*/ 9 h 11"/>
                <a:gd name="T8" fmla="*/ 3 w 18"/>
                <a:gd name="T9" fmla="*/ 2 h 11"/>
                <a:gd name="T10" fmla="*/ 11 w 18"/>
                <a:gd name="T11" fmla="*/ 4 h 11"/>
                <a:gd name="T12" fmla="*/ 6 w 18"/>
                <a:gd name="T13" fmla="*/ 4 h 11"/>
                <a:gd name="T14" fmla="*/ 6 w 18"/>
                <a:gd name="T15" fmla="*/ 7 h 11"/>
                <a:gd name="T16" fmla="*/ 12 w 18"/>
                <a:gd name="T17" fmla="*/ 7 h 11"/>
                <a:gd name="T18" fmla="*/ 11 w 18"/>
                <a:gd name="T1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1">
                  <a:moveTo>
                    <a:pt x="3" y="2"/>
                  </a:moveTo>
                  <a:cubicBezTo>
                    <a:pt x="6" y="0"/>
                    <a:pt x="11" y="1"/>
                    <a:pt x="14" y="2"/>
                  </a:cubicBezTo>
                  <a:cubicBezTo>
                    <a:pt x="17" y="4"/>
                    <a:pt x="18" y="7"/>
                    <a:pt x="14" y="9"/>
                  </a:cubicBezTo>
                  <a:cubicBezTo>
                    <a:pt x="11" y="11"/>
                    <a:pt x="6" y="11"/>
                    <a:pt x="3" y="9"/>
                  </a:cubicBezTo>
                  <a:cubicBezTo>
                    <a:pt x="0" y="7"/>
                    <a:pt x="0" y="4"/>
                    <a:pt x="3" y="2"/>
                  </a:cubicBezTo>
                  <a:close/>
                  <a:moveTo>
                    <a:pt x="11" y="4"/>
                  </a:moveTo>
                  <a:cubicBezTo>
                    <a:pt x="9" y="3"/>
                    <a:pt x="7" y="3"/>
                    <a:pt x="6" y="4"/>
                  </a:cubicBezTo>
                  <a:cubicBezTo>
                    <a:pt x="5" y="5"/>
                    <a:pt x="5" y="6"/>
                    <a:pt x="6" y="7"/>
                  </a:cubicBezTo>
                  <a:cubicBezTo>
                    <a:pt x="8" y="8"/>
                    <a:pt x="10" y="8"/>
                    <a:pt x="12" y="7"/>
                  </a:cubicBezTo>
                  <a:cubicBezTo>
                    <a:pt x="13" y="6"/>
                    <a:pt x="13" y="5"/>
                    <a:pt x="11" y="4"/>
                  </a:cubicBezTo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4" name="ïṧḻîḋe">
              <a:extLst>
                <a:ext uri="{FF2B5EF4-FFF2-40B4-BE49-F238E27FC236}">
                  <a16:creationId xmlns:a16="http://schemas.microsoft.com/office/drawing/2014/main" xmlns="" id="{46868FA8-AF16-41DC-AA7B-5287479354D6}"/>
                </a:ext>
              </a:extLst>
            </p:cNvPr>
            <p:cNvSpPr/>
            <p:nvPr userDrawn="1"/>
          </p:nvSpPr>
          <p:spPr bwMode="auto">
            <a:xfrm>
              <a:off x="4454526" y="4429126"/>
              <a:ext cx="26988" cy="17463"/>
            </a:xfrm>
            <a:custGeom>
              <a:avLst/>
              <a:gdLst>
                <a:gd name="T0" fmla="*/ 1 w 8"/>
                <a:gd name="T1" fmla="*/ 4 h 5"/>
                <a:gd name="T2" fmla="*/ 7 w 8"/>
                <a:gd name="T3" fmla="*/ 4 h 5"/>
                <a:gd name="T4" fmla="*/ 6 w 8"/>
                <a:gd name="T5" fmla="*/ 1 h 5"/>
                <a:gd name="T6" fmla="*/ 1 w 8"/>
                <a:gd name="T7" fmla="*/ 1 h 5"/>
                <a:gd name="T8" fmla="*/ 1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1" y="4"/>
                  </a:moveTo>
                  <a:cubicBezTo>
                    <a:pt x="3" y="5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5" name="îšļiḋe">
              <a:extLst>
                <a:ext uri="{FF2B5EF4-FFF2-40B4-BE49-F238E27FC236}">
                  <a16:creationId xmlns:a16="http://schemas.microsoft.com/office/drawing/2014/main" xmlns="" id="{90F4EF85-11FD-4613-BA2E-2E5B73A7B38D}"/>
                </a:ext>
              </a:extLst>
            </p:cNvPr>
            <p:cNvSpPr/>
            <p:nvPr userDrawn="1"/>
          </p:nvSpPr>
          <p:spPr bwMode="auto">
            <a:xfrm>
              <a:off x="4395788" y="4452938"/>
              <a:ext cx="134938" cy="19050"/>
            </a:xfrm>
            <a:custGeom>
              <a:avLst/>
              <a:gdLst>
                <a:gd name="T0" fmla="*/ 8 w 85"/>
                <a:gd name="T1" fmla="*/ 0 h 12"/>
                <a:gd name="T2" fmla="*/ 0 w 85"/>
                <a:gd name="T3" fmla="*/ 4 h 12"/>
                <a:gd name="T4" fmla="*/ 76 w 85"/>
                <a:gd name="T5" fmla="*/ 12 h 12"/>
                <a:gd name="T6" fmla="*/ 85 w 85"/>
                <a:gd name="T7" fmla="*/ 8 h 12"/>
                <a:gd name="T8" fmla="*/ 8 w 8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2">
                  <a:moveTo>
                    <a:pt x="8" y="0"/>
                  </a:moveTo>
                  <a:lnTo>
                    <a:pt x="0" y="4"/>
                  </a:lnTo>
                  <a:lnTo>
                    <a:pt x="76" y="12"/>
                  </a:lnTo>
                  <a:lnTo>
                    <a:pt x="85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6" name="íşlïḋe">
              <a:extLst>
                <a:ext uri="{FF2B5EF4-FFF2-40B4-BE49-F238E27FC236}">
                  <a16:creationId xmlns:a16="http://schemas.microsoft.com/office/drawing/2014/main" xmlns="" id="{35DDC8C1-7EA6-4CF0-A94D-713441F45160}"/>
                </a:ext>
              </a:extLst>
            </p:cNvPr>
            <p:cNvSpPr/>
            <p:nvPr userDrawn="1"/>
          </p:nvSpPr>
          <p:spPr bwMode="auto">
            <a:xfrm>
              <a:off x="4445001" y="4475163"/>
              <a:ext cx="28575" cy="17463"/>
            </a:xfrm>
            <a:custGeom>
              <a:avLst/>
              <a:gdLst>
                <a:gd name="T0" fmla="*/ 7 w 9"/>
                <a:gd name="T1" fmla="*/ 1 h 5"/>
                <a:gd name="T2" fmla="*/ 2 w 9"/>
                <a:gd name="T3" fmla="*/ 1 h 5"/>
                <a:gd name="T4" fmla="*/ 2 w 9"/>
                <a:gd name="T5" fmla="*/ 4 h 5"/>
                <a:gd name="T6" fmla="*/ 7 w 9"/>
                <a:gd name="T7" fmla="*/ 4 h 5"/>
                <a:gd name="T8" fmla="*/ 7 w 9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7" y="1"/>
                  </a:moveTo>
                  <a:cubicBezTo>
                    <a:pt x="5" y="0"/>
                    <a:pt x="3" y="0"/>
                    <a:pt x="2" y="1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9" y="4"/>
                    <a:pt x="9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7" name="îşḻiḋê">
              <a:extLst>
                <a:ext uri="{FF2B5EF4-FFF2-40B4-BE49-F238E27FC236}">
                  <a16:creationId xmlns:a16="http://schemas.microsoft.com/office/drawing/2014/main" xmlns="" id="{8A9A7748-C4AC-49FB-8372-31E23AF5F8DA}"/>
                </a:ext>
              </a:extLst>
            </p:cNvPr>
            <p:cNvSpPr/>
            <p:nvPr userDrawn="1"/>
          </p:nvSpPr>
          <p:spPr bwMode="auto">
            <a:xfrm>
              <a:off x="4352926" y="4370388"/>
              <a:ext cx="263525" cy="177800"/>
            </a:xfrm>
            <a:custGeom>
              <a:avLst/>
              <a:gdLst>
                <a:gd name="T0" fmla="*/ 6 w 80"/>
                <a:gd name="T1" fmla="*/ 42 h 54"/>
                <a:gd name="T2" fmla="*/ 0 w 80"/>
                <a:gd name="T3" fmla="*/ 46 h 54"/>
                <a:gd name="T4" fmla="*/ 33 w 80"/>
                <a:gd name="T5" fmla="*/ 54 h 54"/>
                <a:gd name="T6" fmla="*/ 66 w 80"/>
                <a:gd name="T7" fmla="*/ 46 h 54"/>
                <a:gd name="T8" fmla="*/ 80 w 80"/>
                <a:gd name="T9" fmla="*/ 27 h 54"/>
                <a:gd name="T10" fmla="*/ 66 w 80"/>
                <a:gd name="T11" fmla="*/ 8 h 54"/>
                <a:gd name="T12" fmla="*/ 33 w 80"/>
                <a:gd name="T13" fmla="*/ 0 h 54"/>
                <a:gd name="T14" fmla="*/ 0 w 80"/>
                <a:gd name="T15" fmla="*/ 8 h 54"/>
                <a:gd name="T16" fmla="*/ 7 w 80"/>
                <a:gd name="T17" fmla="*/ 11 h 54"/>
                <a:gd name="T18" fmla="*/ 33 w 80"/>
                <a:gd name="T19" fmla="*/ 5 h 54"/>
                <a:gd name="T20" fmla="*/ 60 w 80"/>
                <a:gd name="T21" fmla="*/ 11 h 54"/>
                <a:gd name="T22" fmla="*/ 71 w 80"/>
                <a:gd name="T23" fmla="*/ 27 h 54"/>
                <a:gd name="T24" fmla="*/ 60 w 80"/>
                <a:gd name="T25" fmla="*/ 42 h 54"/>
                <a:gd name="T26" fmla="*/ 33 w 80"/>
                <a:gd name="T27" fmla="*/ 49 h 54"/>
                <a:gd name="T28" fmla="*/ 6 w 80"/>
                <a:gd name="T2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54">
                  <a:moveTo>
                    <a:pt x="6" y="42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9" y="51"/>
                    <a:pt x="21" y="54"/>
                    <a:pt x="33" y="54"/>
                  </a:cubicBezTo>
                  <a:cubicBezTo>
                    <a:pt x="45" y="54"/>
                    <a:pt x="57" y="51"/>
                    <a:pt x="66" y="46"/>
                  </a:cubicBezTo>
                  <a:cubicBezTo>
                    <a:pt x="75" y="41"/>
                    <a:pt x="80" y="34"/>
                    <a:pt x="80" y="27"/>
                  </a:cubicBezTo>
                  <a:cubicBezTo>
                    <a:pt x="80" y="20"/>
                    <a:pt x="75" y="13"/>
                    <a:pt x="66" y="8"/>
                  </a:cubicBezTo>
                  <a:cubicBezTo>
                    <a:pt x="57" y="3"/>
                    <a:pt x="46" y="0"/>
                    <a:pt x="33" y="0"/>
                  </a:cubicBezTo>
                  <a:cubicBezTo>
                    <a:pt x="21" y="0"/>
                    <a:pt x="9" y="3"/>
                    <a:pt x="0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4" y="7"/>
                    <a:pt x="23" y="5"/>
                    <a:pt x="33" y="5"/>
                  </a:cubicBezTo>
                  <a:cubicBezTo>
                    <a:pt x="43" y="5"/>
                    <a:pt x="53" y="7"/>
                    <a:pt x="60" y="11"/>
                  </a:cubicBezTo>
                  <a:cubicBezTo>
                    <a:pt x="67" y="16"/>
                    <a:pt x="71" y="21"/>
                    <a:pt x="71" y="27"/>
                  </a:cubicBezTo>
                  <a:cubicBezTo>
                    <a:pt x="71" y="33"/>
                    <a:pt x="67" y="38"/>
                    <a:pt x="60" y="42"/>
                  </a:cubicBezTo>
                  <a:cubicBezTo>
                    <a:pt x="53" y="46"/>
                    <a:pt x="43" y="49"/>
                    <a:pt x="33" y="49"/>
                  </a:cubicBezTo>
                  <a:cubicBezTo>
                    <a:pt x="23" y="49"/>
                    <a:pt x="13" y="46"/>
                    <a:pt x="6" y="42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8" name="îšḷîḋe">
              <a:extLst>
                <a:ext uri="{FF2B5EF4-FFF2-40B4-BE49-F238E27FC236}">
                  <a16:creationId xmlns:a16="http://schemas.microsoft.com/office/drawing/2014/main" xmlns="" id="{A4E05FE4-0ACD-48B1-A1F3-9C77BC1AE8F3}"/>
                </a:ext>
              </a:extLst>
            </p:cNvPr>
            <p:cNvSpPr/>
            <p:nvPr userDrawn="1"/>
          </p:nvSpPr>
          <p:spPr bwMode="auto">
            <a:xfrm>
              <a:off x="3365501" y="4122738"/>
              <a:ext cx="811213" cy="468313"/>
            </a:xfrm>
            <a:custGeom>
              <a:avLst/>
              <a:gdLst>
                <a:gd name="T0" fmla="*/ 0 w 511"/>
                <a:gd name="T1" fmla="*/ 274 h 295"/>
                <a:gd name="T2" fmla="*/ 35 w 511"/>
                <a:gd name="T3" fmla="*/ 295 h 295"/>
                <a:gd name="T4" fmla="*/ 511 w 511"/>
                <a:gd name="T5" fmla="*/ 19 h 295"/>
                <a:gd name="T6" fmla="*/ 478 w 511"/>
                <a:gd name="T7" fmla="*/ 0 h 295"/>
                <a:gd name="T8" fmla="*/ 0 w 511"/>
                <a:gd name="T9" fmla="*/ 27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1" h="295">
                  <a:moveTo>
                    <a:pt x="0" y="274"/>
                  </a:moveTo>
                  <a:lnTo>
                    <a:pt x="35" y="295"/>
                  </a:lnTo>
                  <a:lnTo>
                    <a:pt x="511" y="19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9" name="işľíḋê">
              <a:extLst>
                <a:ext uri="{FF2B5EF4-FFF2-40B4-BE49-F238E27FC236}">
                  <a16:creationId xmlns:a16="http://schemas.microsoft.com/office/drawing/2014/main" xmlns="" id="{71687ACB-6061-41E9-998E-910380C3E680}"/>
                </a:ext>
              </a:extLst>
            </p:cNvPr>
            <p:cNvSpPr/>
            <p:nvPr userDrawn="1"/>
          </p:nvSpPr>
          <p:spPr bwMode="auto">
            <a:xfrm>
              <a:off x="4197351" y="4578351"/>
              <a:ext cx="25400" cy="15875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4 h 5"/>
                <a:gd name="T4" fmla="*/ 7 w 8"/>
                <a:gd name="T5" fmla="*/ 1 h 5"/>
                <a:gd name="T6" fmla="*/ 2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0" y="1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0" name="îṣḷide">
              <a:extLst>
                <a:ext uri="{FF2B5EF4-FFF2-40B4-BE49-F238E27FC236}">
                  <a16:creationId xmlns:a16="http://schemas.microsoft.com/office/drawing/2014/main" xmlns="" id="{79296AD1-B3F5-4765-936A-A9E7987D8615}"/>
                </a:ext>
              </a:extLst>
            </p:cNvPr>
            <p:cNvSpPr/>
            <p:nvPr userDrawn="1"/>
          </p:nvSpPr>
          <p:spPr bwMode="auto">
            <a:xfrm>
              <a:off x="4078288" y="4535488"/>
              <a:ext cx="250825" cy="144463"/>
            </a:xfrm>
            <a:custGeom>
              <a:avLst/>
              <a:gdLst>
                <a:gd name="T0" fmla="*/ 12 w 76"/>
                <a:gd name="T1" fmla="*/ 37 h 44"/>
                <a:gd name="T2" fmla="*/ 1 w 76"/>
                <a:gd name="T3" fmla="*/ 21 h 44"/>
                <a:gd name="T4" fmla="*/ 12 w 76"/>
                <a:gd name="T5" fmla="*/ 6 h 44"/>
                <a:gd name="T6" fmla="*/ 39 w 76"/>
                <a:gd name="T7" fmla="*/ 0 h 44"/>
                <a:gd name="T8" fmla="*/ 65 w 76"/>
                <a:gd name="T9" fmla="*/ 6 h 44"/>
                <a:gd name="T10" fmla="*/ 76 w 76"/>
                <a:gd name="T11" fmla="*/ 22 h 44"/>
                <a:gd name="T12" fmla="*/ 65 w 76"/>
                <a:gd name="T13" fmla="*/ 37 h 44"/>
                <a:gd name="T14" fmla="*/ 38 w 76"/>
                <a:gd name="T15" fmla="*/ 44 h 44"/>
                <a:gd name="T16" fmla="*/ 12 w 76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12" y="37"/>
                  </a:moveTo>
                  <a:cubicBezTo>
                    <a:pt x="4" y="33"/>
                    <a:pt x="0" y="27"/>
                    <a:pt x="1" y="21"/>
                  </a:cubicBezTo>
                  <a:cubicBezTo>
                    <a:pt x="1" y="16"/>
                    <a:pt x="5" y="10"/>
                    <a:pt x="12" y="6"/>
                  </a:cubicBezTo>
                  <a:cubicBezTo>
                    <a:pt x="19" y="2"/>
                    <a:pt x="29" y="0"/>
                    <a:pt x="39" y="0"/>
                  </a:cubicBezTo>
                  <a:cubicBezTo>
                    <a:pt x="49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8"/>
                    <a:pt x="72" y="33"/>
                    <a:pt x="65" y="37"/>
                  </a:cubicBezTo>
                  <a:cubicBezTo>
                    <a:pt x="58" y="41"/>
                    <a:pt x="48" y="44"/>
                    <a:pt x="38" y="44"/>
                  </a:cubicBezTo>
                  <a:cubicBezTo>
                    <a:pt x="28" y="44"/>
                    <a:pt x="19" y="41"/>
                    <a:pt x="12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1" name="iṣḻídé">
              <a:extLst>
                <a:ext uri="{FF2B5EF4-FFF2-40B4-BE49-F238E27FC236}">
                  <a16:creationId xmlns:a16="http://schemas.microsoft.com/office/drawing/2014/main" xmlns="" id="{B5EC0E9F-27DF-48DD-AD3B-776338584D99}"/>
                </a:ext>
              </a:extLst>
            </p:cNvPr>
            <p:cNvSpPr/>
            <p:nvPr userDrawn="1"/>
          </p:nvSpPr>
          <p:spPr bwMode="auto">
            <a:xfrm>
              <a:off x="4191001" y="4624388"/>
              <a:ext cx="25400" cy="15875"/>
            </a:xfrm>
            <a:custGeom>
              <a:avLst/>
              <a:gdLst>
                <a:gd name="T0" fmla="*/ 7 w 8"/>
                <a:gd name="T1" fmla="*/ 1 h 5"/>
                <a:gd name="T2" fmla="*/ 1 w 8"/>
                <a:gd name="T3" fmla="*/ 1 h 5"/>
                <a:gd name="T4" fmla="*/ 2 w 8"/>
                <a:gd name="T5" fmla="*/ 4 h 5"/>
                <a:gd name="T6" fmla="*/ 7 w 8"/>
                <a:gd name="T7" fmla="*/ 4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5" y="0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2" name="i$lîḓe">
              <a:extLst>
                <a:ext uri="{FF2B5EF4-FFF2-40B4-BE49-F238E27FC236}">
                  <a16:creationId xmlns:a16="http://schemas.microsoft.com/office/drawing/2014/main" xmlns="" id="{90156F32-A35C-4763-B827-BCCBC814BF41}"/>
                </a:ext>
              </a:extLst>
            </p:cNvPr>
            <p:cNvSpPr/>
            <p:nvPr userDrawn="1"/>
          </p:nvSpPr>
          <p:spPr bwMode="auto">
            <a:xfrm>
              <a:off x="3521076" y="4208463"/>
              <a:ext cx="781050" cy="455613"/>
            </a:xfrm>
            <a:custGeom>
              <a:avLst/>
              <a:gdLst>
                <a:gd name="T0" fmla="*/ 0 w 492"/>
                <a:gd name="T1" fmla="*/ 276 h 287"/>
                <a:gd name="T2" fmla="*/ 14 w 492"/>
                <a:gd name="T3" fmla="*/ 287 h 287"/>
                <a:gd name="T4" fmla="*/ 492 w 492"/>
                <a:gd name="T5" fmla="*/ 11 h 287"/>
                <a:gd name="T6" fmla="*/ 476 w 492"/>
                <a:gd name="T7" fmla="*/ 0 h 287"/>
                <a:gd name="T8" fmla="*/ 0 w 492"/>
                <a:gd name="T9" fmla="*/ 27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7">
                  <a:moveTo>
                    <a:pt x="0" y="276"/>
                  </a:moveTo>
                  <a:lnTo>
                    <a:pt x="14" y="287"/>
                  </a:lnTo>
                  <a:lnTo>
                    <a:pt x="492" y="11"/>
                  </a:lnTo>
                  <a:lnTo>
                    <a:pt x="476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3" name="ïŝļidè">
              <a:extLst>
                <a:ext uri="{FF2B5EF4-FFF2-40B4-BE49-F238E27FC236}">
                  <a16:creationId xmlns:a16="http://schemas.microsoft.com/office/drawing/2014/main" xmlns="" id="{FA7D25DC-C217-48E0-A622-853FF0C899C7}"/>
                </a:ext>
              </a:extLst>
            </p:cNvPr>
            <p:cNvSpPr/>
            <p:nvPr userDrawn="1"/>
          </p:nvSpPr>
          <p:spPr bwMode="auto">
            <a:xfrm>
              <a:off x="3573463" y="4241801"/>
              <a:ext cx="782638" cy="450850"/>
            </a:xfrm>
            <a:custGeom>
              <a:avLst/>
              <a:gdLst>
                <a:gd name="T0" fmla="*/ 0 w 493"/>
                <a:gd name="T1" fmla="*/ 276 h 284"/>
                <a:gd name="T2" fmla="*/ 15 w 493"/>
                <a:gd name="T3" fmla="*/ 284 h 284"/>
                <a:gd name="T4" fmla="*/ 493 w 493"/>
                <a:gd name="T5" fmla="*/ 8 h 284"/>
                <a:gd name="T6" fmla="*/ 478 w 493"/>
                <a:gd name="T7" fmla="*/ 0 h 284"/>
                <a:gd name="T8" fmla="*/ 0 w 493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3" h="284">
                  <a:moveTo>
                    <a:pt x="0" y="276"/>
                  </a:moveTo>
                  <a:lnTo>
                    <a:pt x="15" y="284"/>
                  </a:lnTo>
                  <a:lnTo>
                    <a:pt x="493" y="8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4" name="íşļíďe">
              <a:extLst>
                <a:ext uri="{FF2B5EF4-FFF2-40B4-BE49-F238E27FC236}">
                  <a16:creationId xmlns:a16="http://schemas.microsoft.com/office/drawing/2014/main" xmlns="" id="{3C698D0F-237F-4C65-8E38-4010A3F6EF96}"/>
                </a:ext>
              </a:extLst>
            </p:cNvPr>
            <p:cNvSpPr/>
            <p:nvPr userDrawn="1"/>
          </p:nvSpPr>
          <p:spPr bwMode="auto">
            <a:xfrm>
              <a:off x="4078288" y="4518026"/>
              <a:ext cx="280988" cy="179388"/>
            </a:xfrm>
            <a:custGeom>
              <a:avLst/>
              <a:gdLst>
                <a:gd name="T0" fmla="*/ 6 w 85"/>
                <a:gd name="T1" fmla="*/ 8 h 54"/>
                <a:gd name="T2" fmla="*/ 12 w 85"/>
                <a:gd name="T3" fmla="*/ 11 h 54"/>
                <a:gd name="T4" fmla="*/ 1 w 85"/>
                <a:gd name="T5" fmla="*/ 26 h 54"/>
                <a:gd name="T6" fmla="*/ 12 w 85"/>
                <a:gd name="T7" fmla="*/ 42 h 54"/>
                <a:gd name="T8" fmla="*/ 1 w 85"/>
                <a:gd name="T9" fmla="*/ 26 h 54"/>
                <a:gd name="T10" fmla="*/ 12 w 85"/>
                <a:gd name="T11" fmla="*/ 11 h 54"/>
                <a:gd name="T12" fmla="*/ 39 w 85"/>
                <a:gd name="T13" fmla="*/ 5 h 54"/>
                <a:gd name="T14" fmla="*/ 65 w 85"/>
                <a:gd name="T15" fmla="*/ 11 h 54"/>
                <a:gd name="T16" fmla="*/ 76 w 85"/>
                <a:gd name="T17" fmla="*/ 27 h 54"/>
                <a:gd name="T18" fmla="*/ 65 w 85"/>
                <a:gd name="T19" fmla="*/ 42 h 54"/>
                <a:gd name="T20" fmla="*/ 71 w 85"/>
                <a:gd name="T21" fmla="*/ 46 h 54"/>
                <a:gd name="T22" fmla="*/ 38 w 85"/>
                <a:gd name="T23" fmla="*/ 54 h 54"/>
                <a:gd name="T24" fmla="*/ 5 w 85"/>
                <a:gd name="T25" fmla="*/ 46 h 54"/>
                <a:gd name="T26" fmla="*/ 38 w 85"/>
                <a:gd name="T27" fmla="*/ 54 h 54"/>
                <a:gd name="T28" fmla="*/ 71 w 85"/>
                <a:gd name="T29" fmla="*/ 46 h 54"/>
                <a:gd name="T30" fmla="*/ 85 w 85"/>
                <a:gd name="T31" fmla="*/ 27 h 54"/>
                <a:gd name="T32" fmla="*/ 72 w 85"/>
                <a:gd name="T33" fmla="*/ 8 h 54"/>
                <a:gd name="T34" fmla="*/ 39 w 85"/>
                <a:gd name="T35" fmla="*/ 0 h 54"/>
                <a:gd name="T36" fmla="*/ 6 w 85"/>
                <a:gd name="T37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54">
                  <a:moveTo>
                    <a:pt x="6" y="8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5" y="15"/>
                    <a:pt x="1" y="21"/>
                    <a:pt x="1" y="26"/>
                  </a:cubicBezTo>
                  <a:cubicBezTo>
                    <a:pt x="0" y="32"/>
                    <a:pt x="4" y="38"/>
                    <a:pt x="12" y="42"/>
                  </a:cubicBezTo>
                  <a:cubicBezTo>
                    <a:pt x="4" y="38"/>
                    <a:pt x="0" y="32"/>
                    <a:pt x="1" y="26"/>
                  </a:cubicBezTo>
                  <a:cubicBezTo>
                    <a:pt x="1" y="21"/>
                    <a:pt x="5" y="15"/>
                    <a:pt x="12" y="11"/>
                  </a:cubicBezTo>
                  <a:cubicBezTo>
                    <a:pt x="19" y="7"/>
                    <a:pt x="29" y="5"/>
                    <a:pt x="39" y="5"/>
                  </a:cubicBezTo>
                  <a:cubicBezTo>
                    <a:pt x="49" y="5"/>
                    <a:pt x="58" y="7"/>
                    <a:pt x="65" y="11"/>
                  </a:cubicBezTo>
                  <a:cubicBezTo>
                    <a:pt x="72" y="15"/>
                    <a:pt x="76" y="21"/>
                    <a:pt x="76" y="27"/>
                  </a:cubicBezTo>
                  <a:cubicBezTo>
                    <a:pt x="76" y="33"/>
                    <a:pt x="72" y="38"/>
                    <a:pt x="65" y="42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63" y="51"/>
                    <a:pt x="51" y="54"/>
                    <a:pt x="38" y="54"/>
                  </a:cubicBezTo>
                  <a:cubicBezTo>
                    <a:pt x="26" y="54"/>
                    <a:pt x="14" y="51"/>
                    <a:pt x="5" y="46"/>
                  </a:cubicBezTo>
                  <a:cubicBezTo>
                    <a:pt x="14" y="51"/>
                    <a:pt x="26" y="54"/>
                    <a:pt x="38" y="54"/>
                  </a:cubicBezTo>
                  <a:cubicBezTo>
                    <a:pt x="51" y="54"/>
                    <a:pt x="63" y="51"/>
                    <a:pt x="71" y="46"/>
                  </a:cubicBezTo>
                  <a:cubicBezTo>
                    <a:pt x="80" y="41"/>
                    <a:pt x="85" y="34"/>
                    <a:pt x="85" y="27"/>
                  </a:cubicBezTo>
                  <a:cubicBezTo>
                    <a:pt x="85" y="19"/>
                    <a:pt x="80" y="13"/>
                    <a:pt x="72" y="8"/>
                  </a:cubicBezTo>
                  <a:cubicBezTo>
                    <a:pt x="63" y="2"/>
                    <a:pt x="51" y="0"/>
                    <a:pt x="39" y="0"/>
                  </a:cubicBezTo>
                  <a:cubicBezTo>
                    <a:pt x="26" y="0"/>
                    <a:pt x="14" y="2"/>
                    <a:pt x="6" y="8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5" name="îsļíḋé">
              <a:extLst>
                <a:ext uri="{FF2B5EF4-FFF2-40B4-BE49-F238E27FC236}">
                  <a16:creationId xmlns:a16="http://schemas.microsoft.com/office/drawing/2014/main" xmlns="" id="{601F520E-F541-4F09-94DB-64CF14B54E73}"/>
                </a:ext>
              </a:extLst>
            </p:cNvPr>
            <p:cNvSpPr/>
            <p:nvPr userDrawn="1"/>
          </p:nvSpPr>
          <p:spPr bwMode="auto">
            <a:xfrm>
              <a:off x="4048126" y="4545013"/>
              <a:ext cx="265113" cy="152400"/>
            </a:xfrm>
            <a:custGeom>
              <a:avLst/>
              <a:gdLst>
                <a:gd name="T0" fmla="*/ 15 w 80"/>
                <a:gd name="T1" fmla="*/ 0 h 46"/>
                <a:gd name="T2" fmla="*/ 1 w 80"/>
                <a:gd name="T3" fmla="*/ 18 h 46"/>
                <a:gd name="T4" fmla="*/ 14 w 80"/>
                <a:gd name="T5" fmla="*/ 38 h 46"/>
                <a:gd name="T6" fmla="*/ 47 w 80"/>
                <a:gd name="T7" fmla="*/ 46 h 46"/>
                <a:gd name="T8" fmla="*/ 80 w 80"/>
                <a:gd name="T9" fmla="*/ 38 h 46"/>
                <a:gd name="T10" fmla="*/ 74 w 80"/>
                <a:gd name="T11" fmla="*/ 34 h 46"/>
                <a:gd name="T12" fmla="*/ 47 w 80"/>
                <a:gd name="T13" fmla="*/ 41 h 46"/>
                <a:gd name="T14" fmla="*/ 21 w 80"/>
                <a:gd name="T15" fmla="*/ 34 h 46"/>
                <a:gd name="T16" fmla="*/ 10 w 80"/>
                <a:gd name="T17" fmla="*/ 18 h 46"/>
                <a:gd name="T18" fmla="*/ 21 w 80"/>
                <a:gd name="T19" fmla="*/ 3 h 46"/>
                <a:gd name="T20" fmla="*/ 15 w 80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46">
                  <a:moveTo>
                    <a:pt x="15" y="0"/>
                  </a:moveTo>
                  <a:cubicBezTo>
                    <a:pt x="6" y="5"/>
                    <a:pt x="1" y="11"/>
                    <a:pt x="1" y="18"/>
                  </a:cubicBezTo>
                  <a:cubicBezTo>
                    <a:pt x="0" y="25"/>
                    <a:pt x="5" y="33"/>
                    <a:pt x="14" y="38"/>
                  </a:cubicBezTo>
                  <a:cubicBezTo>
                    <a:pt x="23" y="43"/>
                    <a:pt x="35" y="46"/>
                    <a:pt x="47" y="46"/>
                  </a:cubicBezTo>
                  <a:cubicBezTo>
                    <a:pt x="60" y="46"/>
                    <a:pt x="72" y="43"/>
                    <a:pt x="80" y="38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67" y="38"/>
                    <a:pt x="57" y="41"/>
                    <a:pt x="47" y="41"/>
                  </a:cubicBezTo>
                  <a:cubicBezTo>
                    <a:pt x="37" y="41"/>
                    <a:pt x="28" y="38"/>
                    <a:pt x="21" y="34"/>
                  </a:cubicBezTo>
                  <a:cubicBezTo>
                    <a:pt x="13" y="30"/>
                    <a:pt x="9" y="24"/>
                    <a:pt x="10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6" name="íṣḻïdé">
              <a:extLst>
                <a:ext uri="{FF2B5EF4-FFF2-40B4-BE49-F238E27FC236}">
                  <a16:creationId xmlns:a16="http://schemas.microsoft.com/office/drawing/2014/main" xmlns="" id="{8CAAAE56-04CB-4951-BE38-ACD024623FAC}"/>
                </a:ext>
              </a:extLst>
            </p:cNvPr>
            <p:cNvSpPr/>
            <p:nvPr userDrawn="1"/>
          </p:nvSpPr>
          <p:spPr bwMode="auto">
            <a:xfrm>
              <a:off x="3625851" y="4271963"/>
              <a:ext cx="785813" cy="454025"/>
            </a:xfrm>
            <a:custGeom>
              <a:avLst/>
              <a:gdLst>
                <a:gd name="T0" fmla="*/ 0 w 495"/>
                <a:gd name="T1" fmla="*/ 276 h 286"/>
                <a:gd name="T2" fmla="*/ 17 w 495"/>
                <a:gd name="T3" fmla="*/ 286 h 286"/>
                <a:gd name="T4" fmla="*/ 495 w 495"/>
                <a:gd name="T5" fmla="*/ 10 h 286"/>
                <a:gd name="T6" fmla="*/ 478 w 495"/>
                <a:gd name="T7" fmla="*/ 0 h 286"/>
                <a:gd name="T8" fmla="*/ 0 w 495"/>
                <a:gd name="T9" fmla="*/ 27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6">
                  <a:moveTo>
                    <a:pt x="0" y="276"/>
                  </a:moveTo>
                  <a:lnTo>
                    <a:pt x="17" y="286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7" name="ïsḷiḑe">
              <a:extLst>
                <a:ext uri="{FF2B5EF4-FFF2-40B4-BE49-F238E27FC236}">
                  <a16:creationId xmlns:a16="http://schemas.microsoft.com/office/drawing/2014/main" xmlns="" id="{34CC7713-D081-445D-8ECB-73ADD9D3E4A6}"/>
                </a:ext>
              </a:extLst>
            </p:cNvPr>
            <p:cNvSpPr/>
            <p:nvPr userDrawn="1"/>
          </p:nvSpPr>
          <p:spPr bwMode="auto">
            <a:xfrm>
              <a:off x="3943351" y="4722813"/>
              <a:ext cx="25400" cy="17463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5 h 5"/>
                <a:gd name="T4" fmla="*/ 6 w 8"/>
                <a:gd name="T5" fmla="*/ 2 h 5"/>
                <a:gd name="T6" fmla="*/ 1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3" y="5"/>
                    <a:pt x="5" y="5"/>
                    <a:pt x="7" y="5"/>
                  </a:cubicBezTo>
                  <a:cubicBezTo>
                    <a:pt x="8" y="4"/>
                    <a:pt x="8" y="3"/>
                    <a:pt x="6" y="2"/>
                  </a:cubicBezTo>
                  <a:cubicBezTo>
                    <a:pt x="5" y="1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8" name="ïṣ1íḍé">
              <a:extLst>
                <a:ext uri="{FF2B5EF4-FFF2-40B4-BE49-F238E27FC236}">
                  <a16:creationId xmlns:a16="http://schemas.microsoft.com/office/drawing/2014/main" xmlns="" id="{7284EE1F-DAA4-465B-8A79-03EF8BCDBB5B}"/>
                </a:ext>
              </a:extLst>
            </p:cNvPr>
            <p:cNvSpPr/>
            <p:nvPr userDrawn="1"/>
          </p:nvSpPr>
          <p:spPr bwMode="auto">
            <a:xfrm>
              <a:off x="3824288" y="4683126"/>
              <a:ext cx="250825" cy="142875"/>
            </a:xfrm>
            <a:custGeom>
              <a:avLst/>
              <a:gdLst>
                <a:gd name="T0" fmla="*/ 11 w 76"/>
                <a:gd name="T1" fmla="*/ 37 h 43"/>
                <a:gd name="T2" fmla="*/ 0 w 76"/>
                <a:gd name="T3" fmla="*/ 21 h 43"/>
                <a:gd name="T4" fmla="*/ 11 w 76"/>
                <a:gd name="T5" fmla="*/ 6 h 43"/>
                <a:gd name="T6" fmla="*/ 38 w 76"/>
                <a:gd name="T7" fmla="*/ 0 h 43"/>
                <a:gd name="T8" fmla="*/ 65 w 76"/>
                <a:gd name="T9" fmla="*/ 6 h 43"/>
                <a:gd name="T10" fmla="*/ 76 w 76"/>
                <a:gd name="T11" fmla="*/ 22 h 43"/>
                <a:gd name="T12" fmla="*/ 64 w 76"/>
                <a:gd name="T13" fmla="*/ 37 h 43"/>
                <a:gd name="T14" fmla="*/ 38 w 76"/>
                <a:gd name="T15" fmla="*/ 43 h 43"/>
                <a:gd name="T16" fmla="*/ 11 w 76"/>
                <a:gd name="T17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3">
                  <a:moveTo>
                    <a:pt x="11" y="37"/>
                  </a:moveTo>
                  <a:cubicBezTo>
                    <a:pt x="4" y="33"/>
                    <a:pt x="0" y="27"/>
                    <a:pt x="0" y="21"/>
                  </a:cubicBezTo>
                  <a:cubicBezTo>
                    <a:pt x="0" y="15"/>
                    <a:pt x="4" y="10"/>
                    <a:pt x="11" y="6"/>
                  </a:cubicBezTo>
                  <a:cubicBezTo>
                    <a:pt x="18" y="2"/>
                    <a:pt x="28" y="0"/>
                    <a:pt x="38" y="0"/>
                  </a:cubicBezTo>
                  <a:cubicBezTo>
                    <a:pt x="48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7"/>
                    <a:pt x="72" y="33"/>
                    <a:pt x="64" y="37"/>
                  </a:cubicBezTo>
                  <a:cubicBezTo>
                    <a:pt x="57" y="41"/>
                    <a:pt x="48" y="43"/>
                    <a:pt x="38" y="43"/>
                  </a:cubicBezTo>
                  <a:cubicBezTo>
                    <a:pt x="28" y="43"/>
                    <a:pt x="18" y="41"/>
                    <a:pt x="11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9" name="íṥľíḓe">
              <a:extLst>
                <a:ext uri="{FF2B5EF4-FFF2-40B4-BE49-F238E27FC236}">
                  <a16:creationId xmlns:a16="http://schemas.microsoft.com/office/drawing/2014/main" xmlns="" id="{7A7EB734-57EE-45BB-ABCC-2B2808DE8779}"/>
                </a:ext>
              </a:extLst>
            </p:cNvPr>
            <p:cNvSpPr/>
            <p:nvPr userDrawn="1"/>
          </p:nvSpPr>
          <p:spPr bwMode="auto">
            <a:xfrm>
              <a:off x="3937001" y="4772026"/>
              <a:ext cx="25400" cy="17463"/>
            </a:xfrm>
            <a:custGeom>
              <a:avLst/>
              <a:gdLst>
                <a:gd name="T0" fmla="*/ 6 w 8"/>
                <a:gd name="T1" fmla="*/ 1 h 5"/>
                <a:gd name="T2" fmla="*/ 1 w 8"/>
                <a:gd name="T3" fmla="*/ 0 h 5"/>
                <a:gd name="T4" fmla="*/ 1 w 8"/>
                <a:gd name="T5" fmla="*/ 3 h 5"/>
                <a:gd name="T6" fmla="*/ 7 w 8"/>
                <a:gd name="T7" fmla="*/ 4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4" y="0"/>
                    <a:pt x="2" y="0"/>
                    <a:pt x="1" y="0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3" y="4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0" name="íŝḷîḓê">
              <a:extLst>
                <a:ext uri="{FF2B5EF4-FFF2-40B4-BE49-F238E27FC236}">
                  <a16:creationId xmlns:a16="http://schemas.microsoft.com/office/drawing/2014/main" xmlns="" id="{0CC136B3-AAD3-49EA-9CE5-5254C121792E}"/>
                </a:ext>
              </a:extLst>
            </p:cNvPr>
            <p:cNvSpPr/>
            <p:nvPr userDrawn="1"/>
          </p:nvSpPr>
          <p:spPr bwMode="auto">
            <a:xfrm>
              <a:off x="4895851" y="4606926"/>
              <a:ext cx="320675" cy="188913"/>
            </a:xfrm>
            <a:custGeom>
              <a:avLst/>
              <a:gdLst>
                <a:gd name="T0" fmla="*/ 0 w 202"/>
                <a:gd name="T1" fmla="*/ 27 h 119"/>
                <a:gd name="T2" fmla="*/ 156 w 202"/>
                <a:gd name="T3" fmla="*/ 119 h 119"/>
                <a:gd name="T4" fmla="*/ 202 w 202"/>
                <a:gd name="T5" fmla="*/ 92 h 119"/>
                <a:gd name="T6" fmla="*/ 44 w 202"/>
                <a:gd name="T7" fmla="*/ 0 h 119"/>
                <a:gd name="T8" fmla="*/ 0 w 202"/>
                <a:gd name="T9" fmla="*/ 2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119">
                  <a:moveTo>
                    <a:pt x="0" y="27"/>
                  </a:moveTo>
                  <a:lnTo>
                    <a:pt x="156" y="119"/>
                  </a:lnTo>
                  <a:lnTo>
                    <a:pt x="202" y="92"/>
                  </a:lnTo>
                  <a:lnTo>
                    <a:pt x="44" y="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1" name="ïṧḻîde">
              <a:extLst>
                <a:ext uri="{FF2B5EF4-FFF2-40B4-BE49-F238E27FC236}">
                  <a16:creationId xmlns:a16="http://schemas.microsoft.com/office/drawing/2014/main" xmlns="" id="{C4872023-D4F1-43E7-9264-5D63237013B9}"/>
                </a:ext>
              </a:extLst>
            </p:cNvPr>
            <p:cNvSpPr/>
            <p:nvPr userDrawn="1"/>
          </p:nvSpPr>
          <p:spPr bwMode="auto">
            <a:xfrm>
              <a:off x="3824288" y="4667251"/>
              <a:ext cx="234950" cy="138113"/>
            </a:xfrm>
            <a:custGeom>
              <a:avLst/>
              <a:gdLst>
                <a:gd name="T0" fmla="*/ 5 w 71"/>
                <a:gd name="T1" fmla="*/ 7 h 42"/>
                <a:gd name="T2" fmla="*/ 11 w 71"/>
                <a:gd name="T3" fmla="*/ 11 h 42"/>
                <a:gd name="T4" fmla="*/ 0 w 71"/>
                <a:gd name="T5" fmla="*/ 26 h 42"/>
                <a:gd name="T6" fmla="*/ 11 w 71"/>
                <a:gd name="T7" fmla="*/ 42 h 42"/>
                <a:gd name="T8" fmla="*/ 0 w 71"/>
                <a:gd name="T9" fmla="*/ 26 h 42"/>
                <a:gd name="T10" fmla="*/ 11 w 71"/>
                <a:gd name="T11" fmla="*/ 11 h 42"/>
                <a:gd name="T12" fmla="*/ 38 w 71"/>
                <a:gd name="T13" fmla="*/ 5 h 42"/>
                <a:gd name="T14" fmla="*/ 65 w 71"/>
                <a:gd name="T15" fmla="*/ 11 h 42"/>
                <a:gd name="T16" fmla="*/ 71 w 71"/>
                <a:gd name="T17" fmla="*/ 7 h 42"/>
                <a:gd name="T18" fmla="*/ 38 w 71"/>
                <a:gd name="T19" fmla="*/ 0 h 42"/>
                <a:gd name="T20" fmla="*/ 5 w 71"/>
                <a:gd name="T21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42">
                  <a:moveTo>
                    <a:pt x="5" y="7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4" y="15"/>
                    <a:pt x="0" y="20"/>
                    <a:pt x="0" y="26"/>
                  </a:cubicBezTo>
                  <a:cubicBezTo>
                    <a:pt x="0" y="32"/>
                    <a:pt x="4" y="38"/>
                    <a:pt x="11" y="42"/>
                  </a:cubicBezTo>
                  <a:cubicBezTo>
                    <a:pt x="4" y="38"/>
                    <a:pt x="0" y="32"/>
                    <a:pt x="0" y="26"/>
                  </a:cubicBezTo>
                  <a:cubicBezTo>
                    <a:pt x="0" y="20"/>
                    <a:pt x="4" y="15"/>
                    <a:pt x="11" y="11"/>
                  </a:cubicBezTo>
                  <a:cubicBezTo>
                    <a:pt x="18" y="7"/>
                    <a:pt x="28" y="5"/>
                    <a:pt x="38" y="5"/>
                  </a:cubicBezTo>
                  <a:cubicBezTo>
                    <a:pt x="48" y="5"/>
                    <a:pt x="58" y="7"/>
                    <a:pt x="65" y="1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2" y="2"/>
                    <a:pt x="50" y="0"/>
                    <a:pt x="38" y="0"/>
                  </a:cubicBezTo>
                  <a:cubicBezTo>
                    <a:pt x="26" y="0"/>
                    <a:pt x="14" y="2"/>
                    <a:pt x="5" y="7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2" name="i$ļiḋe">
              <a:extLst>
                <a:ext uri="{FF2B5EF4-FFF2-40B4-BE49-F238E27FC236}">
                  <a16:creationId xmlns:a16="http://schemas.microsoft.com/office/drawing/2014/main" xmlns="" id="{DDA3A9E1-1032-42FB-A218-FE0AF5FF68D4}"/>
                </a:ext>
              </a:extLst>
            </p:cNvPr>
            <p:cNvSpPr/>
            <p:nvPr userDrawn="1"/>
          </p:nvSpPr>
          <p:spPr bwMode="auto">
            <a:xfrm>
              <a:off x="4938713" y="4725988"/>
              <a:ext cx="198438" cy="115888"/>
            </a:xfrm>
            <a:custGeom>
              <a:avLst/>
              <a:gdLst>
                <a:gd name="T0" fmla="*/ 0 w 125"/>
                <a:gd name="T1" fmla="*/ 25 h 73"/>
                <a:gd name="T2" fmla="*/ 79 w 125"/>
                <a:gd name="T3" fmla="*/ 73 h 73"/>
                <a:gd name="T4" fmla="*/ 125 w 125"/>
                <a:gd name="T5" fmla="*/ 46 h 73"/>
                <a:gd name="T6" fmla="*/ 44 w 125"/>
                <a:gd name="T7" fmla="*/ 0 h 73"/>
                <a:gd name="T8" fmla="*/ 0 w 125"/>
                <a:gd name="T9" fmla="*/ 2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73">
                  <a:moveTo>
                    <a:pt x="0" y="25"/>
                  </a:moveTo>
                  <a:lnTo>
                    <a:pt x="79" y="73"/>
                  </a:lnTo>
                  <a:lnTo>
                    <a:pt x="125" y="46"/>
                  </a:lnTo>
                  <a:lnTo>
                    <a:pt x="44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3" name="îslîḍè">
              <a:extLst>
                <a:ext uri="{FF2B5EF4-FFF2-40B4-BE49-F238E27FC236}">
                  <a16:creationId xmlns:a16="http://schemas.microsoft.com/office/drawing/2014/main" xmlns="" id="{2D7BED4C-B59B-4884-9E3C-43D6F4ED50F5}"/>
                </a:ext>
              </a:extLst>
            </p:cNvPr>
            <p:cNvSpPr/>
            <p:nvPr userDrawn="1"/>
          </p:nvSpPr>
          <p:spPr bwMode="auto">
            <a:xfrm>
              <a:off x="4810126" y="4835526"/>
              <a:ext cx="168275" cy="95250"/>
            </a:xfrm>
            <a:custGeom>
              <a:avLst/>
              <a:gdLst>
                <a:gd name="T0" fmla="*/ 0 w 106"/>
                <a:gd name="T1" fmla="*/ 25 h 60"/>
                <a:gd name="T2" fmla="*/ 61 w 106"/>
                <a:gd name="T3" fmla="*/ 60 h 60"/>
                <a:gd name="T4" fmla="*/ 106 w 106"/>
                <a:gd name="T5" fmla="*/ 35 h 60"/>
                <a:gd name="T6" fmla="*/ 46 w 106"/>
                <a:gd name="T7" fmla="*/ 0 h 60"/>
                <a:gd name="T8" fmla="*/ 0 w 106"/>
                <a:gd name="T9" fmla="*/ 2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60">
                  <a:moveTo>
                    <a:pt x="0" y="25"/>
                  </a:moveTo>
                  <a:lnTo>
                    <a:pt x="61" y="60"/>
                  </a:lnTo>
                  <a:lnTo>
                    <a:pt x="106" y="35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4" name="iśḷiďê">
              <a:extLst>
                <a:ext uri="{FF2B5EF4-FFF2-40B4-BE49-F238E27FC236}">
                  <a16:creationId xmlns:a16="http://schemas.microsoft.com/office/drawing/2014/main" xmlns="" id="{37E6A579-5E2F-46E7-9A14-AC4053641A7A}"/>
                </a:ext>
              </a:extLst>
            </p:cNvPr>
            <p:cNvSpPr/>
            <p:nvPr userDrawn="1"/>
          </p:nvSpPr>
          <p:spPr bwMode="auto">
            <a:xfrm>
              <a:off x="4081463" y="4538663"/>
              <a:ext cx="785813" cy="450850"/>
            </a:xfrm>
            <a:custGeom>
              <a:avLst/>
              <a:gdLst>
                <a:gd name="T0" fmla="*/ 0 w 495"/>
                <a:gd name="T1" fmla="*/ 274 h 284"/>
                <a:gd name="T2" fmla="*/ 17 w 495"/>
                <a:gd name="T3" fmla="*/ 284 h 284"/>
                <a:gd name="T4" fmla="*/ 495 w 495"/>
                <a:gd name="T5" fmla="*/ 8 h 284"/>
                <a:gd name="T6" fmla="*/ 478 w 495"/>
                <a:gd name="T7" fmla="*/ 0 h 284"/>
                <a:gd name="T8" fmla="*/ 0 w 495"/>
                <a:gd name="T9" fmla="*/ 27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4"/>
                  </a:moveTo>
                  <a:lnTo>
                    <a:pt x="17" y="284"/>
                  </a:lnTo>
                  <a:lnTo>
                    <a:pt x="495" y="8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5" name="i$ḻïḍè">
              <a:extLst>
                <a:ext uri="{FF2B5EF4-FFF2-40B4-BE49-F238E27FC236}">
                  <a16:creationId xmlns:a16="http://schemas.microsoft.com/office/drawing/2014/main" xmlns="" id="{7A85B819-1A88-42C0-B671-C2328854977F}"/>
                </a:ext>
              </a:extLst>
            </p:cNvPr>
            <p:cNvSpPr/>
            <p:nvPr userDrawn="1"/>
          </p:nvSpPr>
          <p:spPr bwMode="auto">
            <a:xfrm>
              <a:off x="4154488" y="4578351"/>
              <a:ext cx="781050" cy="450850"/>
            </a:xfrm>
            <a:custGeom>
              <a:avLst/>
              <a:gdLst>
                <a:gd name="T0" fmla="*/ 0 w 492"/>
                <a:gd name="T1" fmla="*/ 276 h 284"/>
                <a:gd name="T2" fmla="*/ 14 w 492"/>
                <a:gd name="T3" fmla="*/ 284 h 284"/>
                <a:gd name="T4" fmla="*/ 492 w 492"/>
                <a:gd name="T5" fmla="*/ 10 h 284"/>
                <a:gd name="T6" fmla="*/ 478 w 492"/>
                <a:gd name="T7" fmla="*/ 0 h 284"/>
                <a:gd name="T8" fmla="*/ 0 w 492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4">
                  <a:moveTo>
                    <a:pt x="0" y="276"/>
                  </a:moveTo>
                  <a:lnTo>
                    <a:pt x="14" y="284"/>
                  </a:lnTo>
                  <a:lnTo>
                    <a:pt x="492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6" name="ï$lïḍê">
              <a:extLst>
                <a:ext uri="{FF2B5EF4-FFF2-40B4-BE49-F238E27FC236}">
                  <a16:creationId xmlns:a16="http://schemas.microsoft.com/office/drawing/2014/main" xmlns="" id="{A4051E30-DBA7-4A04-8257-47C20CF97C7E}"/>
                </a:ext>
              </a:extLst>
            </p:cNvPr>
            <p:cNvSpPr/>
            <p:nvPr userDrawn="1"/>
          </p:nvSpPr>
          <p:spPr bwMode="auto">
            <a:xfrm>
              <a:off x="4295776" y="4848226"/>
              <a:ext cx="379413" cy="217488"/>
            </a:xfrm>
            <a:custGeom>
              <a:avLst/>
              <a:gdLst>
                <a:gd name="T0" fmla="*/ 0 w 239"/>
                <a:gd name="T1" fmla="*/ 129 h 137"/>
                <a:gd name="T2" fmla="*/ 15 w 239"/>
                <a:gd name="T3" fmla="*/ 137 h 137"/>
                <a:gd name="T4" fmla="*/ 239 w 239"/>
                <a:gd name="T5" fmla="*/ 8 h 137"/>
                <a:gd name="T6" fmla="*/ 225 w 239"/>
                <a:gd name="T7" fmla="*/ 0 h 137"/>
                <a:gd name="T8" fmla="*/ 0 w 239"/>
                <a:gd name="T9" fmla="*/ 12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9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5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7" name="iṡļïḋe">
              <a:extLst>
                <a:ext uri="{FF2B5EF4-FFF2-40B4-BE49-F238E27FC236}">
                  <a16:creationId xmlns:a16="http://schemas.microsoft.com/office/drawing/2014/main" xmlns="" id="{217D5261-1D05-42C3-A72A-3C46FF094ED1}"/>
                </a:ext>
              </a:extLst>
            </p:cNvPr>
            <p:cNvSpPr/>
            <p:nvPr userDrawn="1"/>
          </p:nvSpPr>
          <p:spPr bwMode="auto">
            <a:xfrm>
              <a:off x="4356101" y="4881563"/>
              <a:ext cx="379413" cy="220663"/>
            </a:xfrm>
            <a:custGeom>
              <a:avLst/>
              <a:gdLst>
                <a:gd name="T0" fmla="*/ 0 w 239"/>
                <a:gd name="T1" fmla="*/ 129 h 139"/>
                <a:gd name="T2" fmla="*/ 14 w 239"/>
                <a:gd name="T3" fmla="*/ 139 h 139"/>
                <a:gd name="T4" fmla="*/ 239 w 239"/>
                <a:gd name="T5" fmla="*/ 8 h 139"/>
                <a:gd name="T6" fmla="*/ 224 w 239"/>
                <a:gd name="T7" fmla="*/ 0 h 139"/>
                <a:gd name="T8" fmla="*/ 0 w 239"/>
                <a:gd name="T9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9">
                  <a:moveTo>
                    <a:pt x="0" y="129"/>
                  </a:moveTo>
                  <a:lnTo>
                    <a:pt x="14" y="139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8" name="ï$líḓé">
              <a:extLst>
                <a:ext uri="{FF2B5EF4-FFF2-40B4-BE49-F238E27FC236}">
                  <a16:creationId xmlns:a16="http://schemas.microsoft.com/office/drawing/2014/main" xmlns="" id="{268197A6-259C-4465-A889-9390731365A8}"/>
                </a:ext>
              </a:extLst>
            </p:cNvPr>
            <p:cNvSpPr/>
            <p:nvPr userDrawn="1"/>
          </p:nvSpPr>
          <p:spPr bwMode="auto">
            <a:xfrm>
              <a:off x="4414838" y="4918076"/>
              <a:ext cx="379413" cy="217488"/>
            </a:xfrm>
            <a:custGeom>
              <a:avLst/>
              <a:gdLst>
                <a:gd name="T0" fmla="*/ 0 w 239"/>
                <a:gd name="T1" fmla="*/ 128 h 137"/>
                <a:gd name="T2" fmla="*/ 15 w 239"/>
                <a:gd name="T3" fmla="*/ 137 h 137"/>
                <a:gd name="T4" fmla="*/ 239 w 239"/>
                <a:gd name="T5" fmla="*/ 8 h 137"/>
                <a:gd name="T6" fmla="*/ 224 w 239"/>
                <a:gd name="T7" fmla="*/ 0 h 137"/>
                <a:gd name="T8" fmla="*/ 0 w 239"/>
                <a:gd name="T9" fmla="*/ 12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8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9" name="ïşľíḑè">
              <a:extLst>
                <a:ext uri="{FF2B5EF4-FFF2-40B4-BE49-F238E27FC236}">
                  <a16:creationId xmlns:a16="http://schemas.microsoft.com/office/drawing/2014/main" xmlns="" id="{6EA84D29-E7CF-4FAA-8C17-E2508AB603C7}"/>
                </a:ext>
              </a:extLst>
            </p:cNvPr>
            <p:cNvSpPr/>
            <p:nvPr userDrawn="1"/>
          </p:nvSpPr>
          <p:spPr bwMode="auto">
            <a:xfrm>
              <a:off x="4464051" y="4943476"/>
              <a:ext cx="382588" cy="220663"/>
            </a:xfrm>
            <a:custGeom>
              <a:avLst/>
              <a:gdLst>
                <a:gd name="T0" fmla="*/ 0 w 241"/>
                <a:gd name="T1" fmla="*/ 131 h 139"/>
                <a:gd name="T2" fmla="*/ 17 w 241"/>
                <a:gd name="T3" fmla="*/ 139 h 139"/>
                <a:gd name="T4" fmla="*/ 241 w 241"/>
                <a:gd name="T5" fmla="*/ 11 h 139"/>
                <a:gd name="T6" fmla="*/ 225 w 241"/>
                <a:gd name="T7" fmla="*/ 0 h 139"/>
                <a:gd name="T8" fmla="*/ 0 w 241"/>
                <a:gd name="T9" fmla="*/ 13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0" y="131"/>
                  </a:moveTo>
                  <a:lnTo>
                    <a:pt x="17" y="139"/>
                  </a:lnTo>
                  <a:lnTo>
                    <a:pt x="241" y="11"/>
                  </a:lnTo>
                  <a:lnTo>
                    <a:pt x="225" y="0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0" name="iŝḻiḑê">
              <a:extLst>
                <a:ext uri="{FF2B5EF4-FFF2-40B4-BE49-F238E27FC236}">
                  <a16:creationId xmlns:a16="http://schemas.microsoft.com/office/drawing/2014/main" xmlns="" id="{BD42FB21-B526-4BA8-94D8-48A82A7472A3}"/>
                </a:ext>
              </a:extLst>
            </p:cNvPr>
            <p:cNvSpPr/>
            <p:nvPr userDrawn="1"/>
          </p:nvSpPr>
          <p:spPr bwMode="auto">
            <a:xfrm>
              <a:off x="3249613" y="4054476"/>
              <a:ext cx="2132013" cy="1231900"/>
            </a:xfrm>
            <a:custGeom>
              <a:avLst/>
              <a:gdLst>
                <a:gd name="T0" fmla="*/ 378 w 646"/>
                <a:gd name="T1" fmla="*/ 374 h 374"/>
                <a:gd name="T2" fmla="*/ 268 w 646"/>
                <a:gd name="T3" fmla="*/ 0 h 374"/>
                <a:gd name="T4" fmla="*/ 323 w 646"/>
                <a:gd name="T5" fmla="*/ 149 h 374"/>
                <a:gd name="T6" fmla="*/ 257 w 646"/>
                <a:gd name="T7" fmla="*/ 149 h 374"/>
                <a:gd name="T8" fmla="*/ 256 w 646"/>
                <a:gd name="T9" fmla="*/ 187 h 374"/>
                <a:gd name="T10" fmla="*/ 322 w 646"/>
                <a:gd name="T11" fmla="*/ 187 h 374"/>
                <a:gd name="T12" fmla="*/ 323 w 646"/>
                <a:gd name="T13" fmla="*/ 149 h 374"/>
                <a:gd name="T14" fmla="*/ 212 w 646"/>
                <a:gd name="T15" fmla="*/ 186 h 374"/>
                <a:gd name="T16" fmla="*/ 165 w 646"/>
                <a:gd name="T17" fmla="*/ 212 h 374"/>
                <a:gd name="T18" fmla="*/ 212 w 646"/>
                <a:gd name="T19" fmla="*/ 240 h 374"/>
                <a:gd name="T20" fmla="*/ 258 w 646"/>
                <a:gd name="T21" fmla="*/ 213 h 374"/>
                <a:gd name="T22" fmla="*/ 400 w 646"/>
                <a:gd name="T23" fmla="*/ 104 h 374"/>
                <a:gd name="T24" fmla="*/ 334 w 646"/>
                <a:gd name="T25" fmla="*/ 104 h 374"/>
                <a:gd name="T26" fmla="*/ 334 w 646"/>
                <a:gd name="T27" fmla="*/ 142 h 374"/>
                <a:gd name="T28" fmla="*/ 400 w 646"/>
                <a:gd name="T29" fmla="*/ 142 h 374"/>
                <a:gd name="T30" fmla="*/ 400 w 646"/>
                <a:gd name="T31" fmla="*/ 104 h 374"/>
                <a:gd name="T32" fmla="*/ 281 w 646"/>
                <a:gd name="T33" fmla="*/ 30 h 374"/>
                <a:gd name="T34" fmla="*/ 35 w 646"/>
                <a:gd name="T35" fmla="*/ 153 h 374"/>
                <a:gd name="T36" fmla="*/ 105 w 646"/>
                <a:gd name="T37" fmla="*/ 194 h 374"/>
                <a:gd name="T38" fmla="*/ 328 w 646"/>
                <a:gd name="T39" fmla="*/ 57 h 374"/>
                <a:gd name="T40" fmla="*/ 105 w 646"/>
                <a:gd name="T41" fmla="*/ 194 h 374"/>
                <a:gd name="T42" fmla="*/ 303 w 646"/>
                <a:gd name="T43" fmla="*/ 42 h 374"/>
                <a:gd name="T44" fmla="*/ 65 w 646"/>
                <a:gd name="T45" fmla="*/ 171 h 374"/>
                <a:gd name="T46" fmla="*/ 89 w 646"/>
                <a:gd name="T47" fmla="*/ 185 h 374"/>
                <a:gd name="T48" fmla="*/ 311 w 646"/>
                <a:gd name="T49" fmla="*/ 47 h 374"/>
                <a:gd name="T50" fmla="*/ 89 w 646"/>
                <a:gd name="T51" fmla="*/ 185 h 374"/>
                <a:gd name="T52" fmla="*/ 352 w 646"/>
                <a:gd name="T53" fmla="*/ 71 h 374"/>
                <a:gd name="T54" fmla="*/ 114 w 646"/>
                <a:gd name="T55" fmla="*/ 199 h 374"/>
                <a:gd name="T56" fmla="*/ 281 w 646"/>
                <a:gd name="T57" fmla="*/ 296 h 374"/>
                <a:gd name="T58" fmla="*/ 504 w 646"/>
                <a:gd name="T59" fmla="*/ 159 h 374"/>
                <a:gd name="T60" fmla="*/ 281 w 646"/>
                <a:gd name="T61" fmla="*/ 296 h 374"/>
                <a:gd name="T62" fmla="*/ 490 w 646"/>
                <a:gd name="T63" fmla="*/ 151 h 374"/>
                <a:gd name="T64" fmla="*/ 252 w 646"/>
                <a:gd name="T65" fmla="*/ 279 h 374"/>
                <a:gd name="T66" fmla="*/ 237 w 646"/>
                <a:gd name="T67" fmla="*/ 270 h 374"/>
                <a:gd name="T68" fmla="*/ 459 w 646"/>
                <a:gd name="T69" fmla="*/ 133 h 374"/>
                <a:gd name="T70" fmla="*/ 237 w 646"/>
                <a:gd name="T71" fmla="*/ 270 h 374"/>
                <a:gd name="T72" fmla="*/ 596 w 646"/>
                <a:gd name="T73" fmla="*/ 212 h 374"/>
                <a:gd name="T74" fmla="*/ 499 w 646"/>
                <a:gd name="T75" fmla="*/ 181 h 374"/>
                <a:gd name="T76" fmla="*/ 526 w 646"/>
                <a:gd name="T77" fmla="*/ 252 h 374"/>
                <a:gd name="T78" fmla="*/ 491 w 646"/>
                <a:gd name="T79" fmla="*/ 207 h 374"/>
                <a:gd name="T80" fmla="*/ 526 w 646"/>
                <a:gd name="T81" fmla="*/ 252 h 374"/>
                <a:gd name="T82" fmla="*/ 572 w 646"/>
                <a:gd name="T83" fmla="*/ 226 h 374"/>
                <a:gd name="T84" fmla="*/ 512 w 646"/>
                <a:gd name="T85" fmla="*/ 216 h 374"/>
                <a:gd name="T86" fmla="*/ 342 w 646"/>
                <a:gd name="T87" fmla="*/ 318 h 374"/>
                <a:gd name="T88" fmla="*/ 443 w 646"/>
                <a:gd name="T89" fmla="*/ 251 h 374"/>
                <a:gd name="T90" fmla="*/ 342 w 646"/>
                <a:gd name="T91" fmla="*/ 318 h 374"/>
                <a:gd name="T92" fmla="*/ 432 w 646"/>
                <a:gd name="T93" fmla="*/ 245 h 374"/>
                <a:gd name="T94" fmla="*/ 317 w 646"/>
                <a:gd name="T95" fmla="*/ 303 h 374"/>
                <a:gd name="T96" fmla="*/ 360 w 646"/>
                <a:gd name="T97" fmla="*/ 328 h 374"/>
                <a:gd name="T98" fmla="*/ 461 w 646"/>
                <a:gd name="T99" fmla="*/ 262 h 374"/>
                <a:gd name="T100" fmla="*/ 360 w 646"/>
                <a:gd name="T101" fmla="*/ 328 h 374"/>
                <a:gd name="T102" fmla="*/ 484 w 646"/>
                <a:gd name="T103" fmla="*/ 275 h 374"/>
                <a:gd name="T104" fmla="*/ 368 w 646"/>
                <a:gd name="T105" fmla="*/ 333 h 374"/>
                <a:gd name="T106" fmla="*/ 502 w 646"/>
                <a:gd name="T107" fmla="*/ 266 h 374"/>
                <a:gd name="T108" fmla="*/ 495 w 646"/>
                <a:gd name="T109" fmla="*/ 237 h 374"/>
                <a:gd name="T110" fmla="*/ 502 w 646"/>
                <a:gd name="T111" fmla="*/ 26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6" h="374">
                  <a:moveTo>
                    <a:pt x="646" y="219"/>
                  </a:moveTo>
                  <a:cubicBezTo>
                    <a:pt x="378" y="374"/>
                    <a:pt x="378" y="374"/>
                    <a:pt x="378" y="37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646" y="219"/>
                    <a:pt x="646" y="219"/>
                    <a:pt x="646" y="219"/>
                  </a:cubicBezTo>
                  <a:moveTo>
                    <a:pt x="323" y="149"/>
                  </a:moveTo>
                  <a:cubicBezTo>
                    <a:pt x="314" y="143"/>
                    <a:pt x="302" y="141"/>
                    <a:pt x="290" y="141"/>
                  </a:cubicBezTo>
                  <a:cubicBezTo>
                    <a:pt x="277" y="141"/>
                    <a:pt x="265" y="143"/>
                    <a:pt x="257" y="149"/>
                  </a:cubicBezTo>
                  <a:cubicBezTo>
                    <a:pt x="248" y="154"/>
                    <a:pt x="243" y="160"/>
                    <a:pt x="243" y="167"/>
                  </a:cubicBezTo>
                  <a:cubicBezTo>
                    <a:pt x="242" y="174"/>
                    <a:pt x="247" y="182"/>
                    <a:pt x="256" y="187"/>
                  </a:cubicBezTo>
                  <a:cubicBezTo>
                    <a:pt x="265" y="192"/>
                    <a:pt x="277" y="195"/>
                    <a:pt x="289" y="195"/>
                  </a:cubicBezTo>
                  <a:cubicBezTo>
                    <a:pt x="302" y="195"/>
                    <a:pt x="314" y="192"/>
                    <a:pt x="322" y="187"/>
                  </a:cubicBezTo>
                  <a:cubicBezTo>
                    <a:pt x="331" y="182"/>
                    <a:pt x="336" y="175"/>
                    <a:pt x="336" y="168"/>
                  </a:cubicBezTo>
                  <a:cubicBezTo>
                    <a:pt x="336" y="160"/>
                    <a:pt x="331" y="154"/>
                    <a:pt x="323" y="149"/>
                  </a:cubicBezTo>
                  <a:moveTo>
                    <a:pt x="245" y="193"/>
                  </a:moveTo>
                  <a:cubicBezTo>
                    <a:pt x="236" y="188"/>
                    <a:pt x="224" y="186"/>
                    <a:pt x="212" y="186"/>
                  </a:cubicBezTo>
                  <a:cubicBezTo>
                    <a:pt x="200" y="186"/>
                    <a:pt x="188" y="188"/>
                    <a:pt x="179" y="193"/>
                  </a:cubicBezTo>
                  <a:cubicBezTo>
                    <a:pt x="170" y="198"/>
                    <a:pt x="166" y="205"/>
                    <a:pt x="165" y="212"/>
                  </a:cubicBezTo>
                  <a:cubicBezTo>
                    <a:pt x="165" y="219"/>
                    <a:pt x="170" y="226"/>
                    <a:pt x="179" y="232"/>
                  </a:cubicBezTo>
                  <a:cubicBezTo>
                    <a:pt x="187" y="237"/>
                    <a:pt x="199" y="240"/>
                    <a:pt x="212" y="240"/>
                  </a:cubicBezTo>
                  <a:cubicBezTo>
                    <a:pt x="224" y="240"/>
                    <a:pt x="236" y="237"/>
                    <a:pt x="245" y="232"/>
                  </a:cubicBezTo>
                  <a:cubicBezTo>
                    <a:pt x="254" y="227"/>
                    <a:pt x="258" y="220"/>
                    <a:pt x="258" y="213"/>
                  </a:cubicBezTo>
                  <a:cubicBezTo>
                    <a:pt x="259" y="205"/>
                    <a:pt x="254" y="199"/>
                    <a:pt x="245" y="193"/>
                  </a:cubicBezTo>
                  <a:moveTo>
                    <a:pt x="400" y="104"/>
                  </a:moveTo>
                  <a:cubicBezTo>
                    <a:pt x="391" y="99"/>
                    <a:pt x="380" y="96"/>
                    <a:pt x="367" y="96"/>
                  </a:cubicBezTo>
                  <a:cubicBezTo>
                    <a:pt x="355" y="96"/>
                    <a:pt x="343" y="99"/>
                    <a:pt x="334" y="104"/>
                  </a:cubicBezTo>
                  <a:cubicBezTo>
                    <a:pt x="326" y="109"/>
                    <a:pt x="321" y="115"/>
                    <a:pt x="320" y="122"/>
                  </a:cubicBezTo>
                  <a:cubicBezTo>
                    <a:pt x="320" y="130"/>
                    <a:pt x="325" y="137"/>
                    <a:pt x="334" y="142"/>
                  </a:cubicBezTo>
                  <a:cubicBezTo>
                    <a:pt x="343" y="147"/>
                    <a:pt x="355" y="150"/>
                    <a:pt x="367" y="150"/>
                  </a:cubicBezTo>
                  <a:cubicBezTo>
                    <a:pt x="379" y="150"/>
                    <a:pt x="391" y="147"/>
                    <a:pt x="400" y="142"/>
                  </a:cubicBezTo>
                  <a:cubicBezTo>
                    <a:pt x="409" y="137"/>
                    <a:pt x="414" y="130"/>
                    <a:pt x="414" y="123"/>
                  </a:cubicBezTo>
                  <a:cubicBezTo>
                    <a:pt x="414" y="116"/>
                    <a:pt x="409" y="109"/>
                    <a:pt x="400" y="104"/>
                  </a:cubicBezTo>
                  <a:moveTo>
                    <a:pt x="52" y="163"/>
                  </a:moveTo>
                  <a:cubicBezTo>
                    <a:pt x="281" y="30"/>
                    <a:pt x="281" y="30"/>
                    <a:pt x="281" y="30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52" y="163"/>
                    <a:pt x="52" y="163"/>
                    <a:pt x="52" y="163"/>
                  </a:cubicBezTo>
                  <a:moveTo>
                    <a:pt x="105" y="194"/>
                  </a:moveTo>
                  <a:cubicBezTo>
                    <a:pt x="335" y="61"/>
                    <a:pt x="335" y="61"/>
                    <a:pt x="335" y="61"/>
                  </a:cubicBezTo>
                  <a:cubicBezTo>
                    <a:pt x="328" y="57"/>
                    <a:pt x="328" y="57"/>
                    <a:pt x="328" y="57"/>
                  </a:cubicBezTo>
                  <a:cubicBezTo>
                    <a:pt x="98" y="190"/>
                    <a:pt x="98" y="190"/>
                    <a:pt x="98" y="190"/>
                  </a:cubicBezTo>
                  <a:cubicBezTo>
                    <a:pt x="105" y="194"/>
                    <a:pt x="105" y="194"/>
                    <a:pt x="105" y="194"/>
                  </a:cubicBezTo>
                  <a:moveTo>
                    <a:pt x="73" y="175"/>
                  </a:moveTo>
                  <a:cubicBezTo>
                    <a:pt x="303" y="42"/>
                    <a:pt x="303" y="42"/>
                    <a:pt x="303" y="42"/>
                  </a:cubicBezTo>
                  <a:cubicBezTo>
                    <a:pt x="295" y="38"/>
                    <a:pt x="295" y="38"/>
                    <a:pt x="295" y="38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73" y="175"/>
                    <a:pt x="73" y="175"/>
                    <a:pt x="73" y="175"/>
                  </a:cubicBezTo>
                  <a:moveTo>
                    <a:pt x="89" y="185"/>
                  </a:moveTo>
                  <a:cubicBezTo>
                    <a:pt x="319" y="52"/>
                    <a:pt x="319" y="52"/>
                    <a:pt x="319" y="52"/>
                  </a:cubicBezTo>
                  <a:cubicBezTo>
                    <a:pt x="311" y="47"/>
                    <a:pt x="311" y="47"/>
                    <a:pt x="311" y="47"/>
                  </a:cubicBezTo>
                  <a:cubicBezTo>
                    <a:pt x="82" y="180"/>
                    <a:pt x="82" y="180"/>
                    <a:pt x="82" y="180"/>
                  </a:cubicBezTo>
                  <a:cubicBezTo>
                    <a:pt x="89" y="185"/>
                    <a:pt x="89" y="185"/>
                    <a:pt x="89" y="185"/>
                  </a:cubicBezTo>
                  <a:moveTo>
                    <a:pt x="122" y="204"/>
                  </a:moveTo>
                  <a:cubicBezTo>
                    <a:pt x="352" y="71"/>
                    <a:pt x="352" y="71"/>
                    <a:pt x="352" y="71"/>
                  </a:cubicBezTo>
                  <a:cubicBezTo>
                    <a:pt x="344" y="66"/>
                    <a:pt x="344" y="66"/>
                    <a:pt x="344" y="66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122" y="204"/>
                    <a:pt x="122" y="204"/>
                    <a:pt x="122" y="204"/>
                  </a:cubicBezTo>
                  <a:moveTo>
                    <a:pt x="281" y="296"/>
                  </a:moveTo>
                  <a:cubicBezTo>
                    <a:pt x="511" y="164"/>
                    <a:pt x="511" y="164"/>
                    <a:pt x="511" y="164"/>
                  </a:cubicBezTo>
                  <a:cubicBezTo>
                    <a:pt x="504" y="159"/>
                    <a:pt x="504" y="159"/>
                    <a:pt x="504" y="159"/>
                  </a:cubicBezTo>
                  <a:cubicBezTo>
                    <a:pt x="274" y="292"/>
                    <a:pt x="274" y="292"/>
                    <a:pt x="274" y="292"/>
                  </a:cubicBezTo>
                  <a:cubicBezTo>
                    <a:pt x="281" y="296"/>
                    <a:pt x="281" y="296"/>
                    <a:pt x="281" y="296"/>
                  </a:cubicBezTo>
                  <a:moveTo>
                    <a:pt x="260" y="284"/>
                  </a:moveTo>
                  <a:cubicBezTo>
                    <a:pt x="490" y="151"/>
                    <a:pt x="490" y="151"/>
                    <a:pt x="490" y="151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252" y="279"/>
                    <a:pt x="252" y="279"/>
                    <a:pt x="252" y="279"/>
                  </a:cubicBezTo>
                  <a:cubicBezTo>
                    <a:pt x="260" y="284"/>
                    <a:pt x="260" y="284"/>
                    <a:pt x="260" y="284"/>
                  </a:cubicBezTo>
                  <a:moveTo>
                    <a:pt x="237" y="270"/>
                  </a:moveTo>
                  <a:cubicBezTo>
                    <a:pt x="467" y="138"/>
                    <a:pt x="467" y="138"/>
                    <a:pt x="467" y="138"/>
                  </a:cubicBezTo>
                  <a:cubicBezTo>
                    <a:pt x="459" y="133"/>
                    <a:pt x="459" y="133"/>
                    <a:pt x="459" y="133"/>
                  </a:cubicBezTo>
                  <a:cubicBezTo>
                    <a:pt x="229" y="266"/>
                    <a:pt x="229" y="266"/>
                    <a:pt x="229" y="266"/>
                  </a:cubicBezTo>
                  <a:cubicBezTo>
                    <a:pt x="237" y="270"/>
                    <a:pt x="237" y="270"/>
                    <a:pt x="237" y="270"/>
                  </a:cubicBezTo>
                  <a:moveTo>
                    <a:pt x="574" y="225"/>
                  </a:moveTo>
                  <a:cubicBezTo>
                    <a:pt x="596" y="212"/>
                    <a:pt x="596" y="212"/>
                    <a:pt x="596" y="212"/>
                  </a:cubicBezTo>
                  <a:cubicBezTo>
                    <a:pt x="520" y="168"/>
                    <a:pt x="520" y="168"/>
                    <a:pt x="520" y="168"/>
                  </a:cubicBezTo>
                  <a:cubicBezTo>
                    <a:pt x="499" y="181"/>
                    <a:pt x="499" y="181"/>
                    <a:pt x="499" y="181"/>
                  </a:cubicBezTo>
                  <a:cubicBezTo>
                    <a:pt x="574" y="225"/>
                    <a:pt x="574" y="225"/>
                    <a:pt x="574" y="225"/>
                  </a:cubicBezTo>
                  <a:moveTo>
                    <a:pt x="526" y="252"/>
                  </a:moveTo>
                  <a:cubicBezTo>
                    <a:pt x="548" y="240"/>
                    <a:pt x="548" y="240"/>
                    <a:pt x="548" y="240"/>
                  </a:cubicBezTo>
                  <a:cubicBezTo>
                    <a:pt x="491" y="207"/>
                    <a:pt x="491" y="207"/>
                    <a:pt x="491" y="207"/>
                  </a:cubicBezTo>
                  <a:cubicBezTo>
                    <a:pt x="469" y="219"/>
                    <a:pt x="469" y="219"/>
                    <a:pt x="469" y="219"/>
                  </a:cubicBezTo>
                  <a:cubicBezTo>
                    <a:pt x="526" y="252"/>
                    <a:pt x="526" y="252"/>
                    <a:pt x="526" y="252"/>
                  </a:cubicBezTo>
                  <a:moveTo>
                    <a:pt x="550" y="239"/>
                  </a:moveTo>
                  <a:cubicBezTo>
                    <a:pt x="572" y="226"/>
                    <a:pt x="572" y="226"/>
                    <a:pt x="572" y="226"/>
                  </a:cubicBezTo>
                  <a:cubicBezTo>
                    <a:pt x="533" y="204"/>
                    <a:pt x="533" y="204"/>
                    <a:pt x="533" y="204"/>
                  </a:cubicBezTo>
                  <a:cubicBezTo>
                    <a:pt x="512" y="216"/>
                    <a:pt x="512" y="216"/>
                    <a:pt x="512" y="216"/>
                  </a:cubicBezTo>
                  <a:cubicBezTo>
                    <a:pt x="550" y="239"/>
                    <a:pt x="550" y="239"/>
                    <a:pt x="550" y="239"/>
                  </a:cubicBezTo>
                  <a:moveTo>
                    <a:pt x="342" y="318"/>
                  </a:moveTo>
                  <a:cubicBezTo>
                    <a:pt x="450" y="255"/>
                    <a:pt x="450" y="255"/>
                    <a:pt x="450" y="255"/>
                  </a:cubicBezTo>
                  <a:cubicBezTo>
                    <a:pt x="443" y="251"/>
                    <a:pt x="443" y="251"/>
                    <a:pt x="443" y="251"/>
                  </a:cubicBezTo>
                  <a:cubicBezTo>
                    <a:pt x="335" y="313"/>
                    <a:pt x="335" y="313"/>
                    <a:pt x="335" y="313"/>
                  </a:cubicBezTo>
                  <a:cubicBezTo>
                    <a:pt x="342" y="318"/>
                    <a:pt x="342" y="318"/>
                    <a:pt x="342" y="318"/>
                  </a:cubicBezTo>
                  <a:moveTo>
                    <a:pt x="324" y="307"/>
                  </a:moveTo>
                  <a:cubicBezTo>
                    <a:pt x="432" y="245"/>
                    <a:pt x="432" y="245"/>
                    <a:pt x="432" y="245"/>
                  </a:cubicBezTo>
                  <a:cubicBezTo>
                    <a:pt x="425" y="241"/>
                    <a:pt x="425" y="241"/>
                    <a:pt x="425" y="241"/>
                  </a:cubicBezTo>
                  <a:cubicBezTo>
                    <a:pt x="317" y="303"/>
                    <a:pt x="317" y="303"/>
                    <a:pt x="317" y="303"/>
                  </a:cubicBezTo>
                  <a:cubicBezTo>
                    <a:pt x="324" y="307"/>
                    <a:pt x="324" y="307"/>
                    <a:pt x="324" y="307"/>
                  </a:cubicBezTo>
                  <a:moveTo>
                    <a:pt x="360" y="328"/>
                  </a:moveTo>
                  <a:cubicBezTo>
                    <a:pt x="468" y="266"/>
                    <a:pt x="468" y="266"/>
                    <a:pt x="468" y="266"/>
                  </a:cubicBezTo>
                  <a:cubicBezTo>
                    <a:pt x="461" y="262"/>
                    <a:pt x="461" y="262"/>
                    <a:pt x="461" y="262"/>
                  </a:cubicBezTo>
                  <a:cubicBezTo>
                    <a:pt x="353" y="324"/>
                    <a:pt x="353" y="324"/>
                    <a:pt x="353" y="324"/>
                  </a:cubicBezTo>
                  <a:cubicBezTo>
                    <a:pt x="360" y="328"/>
                    <a:pt x="360" y="328"/>
                    <a:pt x="360" y="328"/>
                  </a:cubicBezTo>
                  <a:moveTo>
                    <a:pt x="376" y="337"/>
                  </a:moveTo>
                  <a:cubicBezTo>
                    <a:pt x="484" y="275"/>
                    <a:pt x="484" y="275"/>
                    <a:pt x="484" y="275"/>
                  </a:cubicBezTo>
                  <a:cubicBezTo>
                    <a:pt x="476" y="270"/>
                    <a:pt x="476" y="270"/>
                    <a:pt x="476" y="270"/>
                  </a:cubicBezTo>
                  <a:cubicBezTo>
                    <a:pt x="368" y="333"/>
                    <a:pt x="368" y="333"/>
                    <a:pt x="368" y="333"/>
                  </a:cubicBezTo>
                  <a:cubicBezTo>
                    <a:pt x="376" y="337"/>
                    <a:pt x="376" y="337"/>
                    <a:pt x="376" y="337"/>
                  </a:cubicBezTo>
                  <a:moveTo>
                    <a:pt x="502" y="266"/>
                  </a:moveTo>
                  <a:cubicBezTo>
                    <a:pt x="524" y="254"/>
                    <a:pt x="524" y="254"/>
                    <a:pt x="524" y="254"/>
                  </a:cubicBezTo>
                  <a:cubicBezTo>
                    <a:pt x="495" y="237"/>
                    <a:pt x="495" y="237"/>
                    <a:pt x="495" y="237"/>
                  </a:cubicBezTo>
                  <a:cubicBezTo>
                    <a:pt x="473" y="249"/>
                    <a:pt x="473" y="249"/>
                    <a:pt x="473" y="249"/>
                  </a:cubicBezTo>
                  <a:cubicBezTo>
                    <a:pt x="502" y="266"/>
                    <a:pt x="502" y="266"/>
                    <a:pt x="502" y="266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1" name="iśḷíḋe">
              <a:extLst>
                <a:ext uri="{FF2B5EF4-FFF2-40B4-BE49-F238E27FC236}">
                  <a16:creationId xmlns:a16="http://schemas.microsoft.com/office/drawing/2014/main" xmlns="" id="{A3E0E8A0-C930-4F76-9797-AC6BD1D758CB}"/>
                </a:ext>
              </a:extLst>
            </p:cNvPr>
            <p:cNvSpPr/>
            <p:nvPr userDrawn="1"/>
          </p:nvSpPr>
          <p:spPr bwMode="auto">
            <a:xfrm>
              <a:off x="4305301" y="4397376"/>
              <a:ext cx="69850" cy="123825"/>
            </a:xfrm>
            <a:custGeom>
              <a:avLst/>
              <a:gdLst>
                <a:gd name="T0" fmla="*/ 14 w 21"/>
                <a:gd name="T1" fmla="*/ 0 h 38"/>
                <a:gd name="T2" fmla="*/ 0 w 21"/>
                <a:gd name="T3" fmla="*/ 18 h 38"/>
                <a:gd name="T4" fmla="*/ 14 w 21"/>
                <a:gd name="T5" fmla="*/ 38 h 38"/>
                <a:gd name="T6" fmla="*/ 20 w 21"/>
                <a:gd name="T7" fmla="*/ 34 h 38"/>
                <a:gd name="T8" fmla="*/ 9 w 21"/>
                <a:gd name="T9" fmla="*/ 18 h 38"/>
                <a:gd name="T10" fmla="*/ 21 w 21"/>
                <a:gd name="T11" fmla="*/ 3 h 38"/>
                <a:gd name="T12" fmla="*/ 14 w 21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8">
                  <a:moveTo>
                    <a:pt x="14" y="0"/>
                  </a:moveTo>
                  <a:cubicBezTo>
                    <a:pt x="6" y="5"/>
                    <a:pt x="1" y="11"/>
                    <a:pt x="0" y="18"/>
                  </a:cubicBezTo>
                  <a:cubicBezTo>
                    <a:pt x="0" y="26"/>
                    <a:pt x="5" y="33"/>
                    <a:pt x="14" y="38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3" y="30"/>
                    <a:pt x="9" y="24"/>
                    <a:pt x="9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2" name="îŝḷíḍe">
              <a:extLst>
                <a:ext uri="{FF2B5EF4-FFF2-40B4-BE49-F238E27FC236}">
                  <a16:creationId xmlns:a16="http://schemas.microsoft.com/office/drawing/2014/main" xmlns="" id="{807DD1FB-498A-4EE2-B7E1-B879281816BE}"/>
                </a:ext>
              </a:extLst>
            </p:cNvPr>
            <p:cNvSpPr/>
            <p:nvPr userDrawn="1"/>
          </p:nvSpPr>
          <p:spPr bwMode="auto">
            <a:xfrm>
              <a:off x="4335463" y="4386263"/>
              <a:ext cx="250825" cy="146050"/>
            </a:xfrm>
            <a:custGeom>
              <a:avLst/>
              <a:gdLst>
                <a:gd name="T0" fmla="*/ 76 w 76"/>
                <a:gd name="T1" fmla="*/ 22 h 44"/>
                <a:gd name="T2" fmla="*/ 65 w 76"/>
                <a:gd name="T3" fmla="*/ 6 h 44"/>
                <a:gd name="T4" fmla="*/ 38 w 76"/>
                <a:gd name="T5" fmla="*/ 0 h 44"/>
                <a:gd name="T6" fmla="*/ 12 w 76"/>
                <a:gd name="T7" fmla="*/ 6 h 44"/>
                <a:gd name="T8" fmla="*/ 0 w 76"/>
                <a:gd name="T9" fmla="*/ 21 h 44"/>
                <a:gd name="T10" fmla="*/ 11 w 76"/>
                <a:gd name="T11" fmla="*/ 37 h 44"/>
                <a:gd name="T12" fmla="*/ 38 w 76"/>
                <a:gd name="T13" fmla="*/ 44 h 44"/>
                <a:gd name="T14" fmla="*/ 65 w 76"/>
                <a:gd name="T15" fmla="*/ 37 h 44"/>
                <a:gd name="T16" fmla="*/ 76 w 76"/>
                <a:gd name="T17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76" y="22"/>
                  </a:moveTo>
                  <a:cubicBezTo>
                    <a:pt x="76" y="16"/>
                    <a:pt x="72" y="11"/>
                    <a:pt x="65" y="6"/>
                  </a:cubicBezTo>
                  <a:cubicBezTo>
                    <a:pt x="58" y="2"/>
                    <a:pt x="48" y="0"/>
                    <a:pt x="38" y="0"/>
                  </a:cubicBezTo>
                  <a:cubicBezTo>
                    <a:pt x="28" y="0"/>
                    <a:pt x="19" y="2"/>
                    <a:pt x="12" y="6"/>
                  </a:cubicBezTo>
                  <a:cubicBezTo>
                    <a:pt x="5" y="10"/>
                    <a:pt x="1" y="16"/>
                    <a:pt x="0" y="21"/>
                  </a:cubicBezTo>
                  <a:cubicBezTo>
                    <a:pt x="0" y="27"/>
                    <a:pt x="4" y="33"/>
                    <a:pt x="11" y="37"/>
                  </a:cubicBezTo>
                  <a:cubicBezTo>
                    <a:pt x="18" y="41"/>
                    <a:pt x="28" y="44"/>
                    <a:pt x="38" y="44"/>
                  </a:cubicBezTo>
                  <a:cubicBezTo>
                    <a:pt x="48" y="44"/>
                    <a:pt x="58" y="41"/>
                    <a:pt x="65" y="37"/>
                  </a:cubicBezTo>
                  <a:cubicBezTo>
                    <a:pt x="72" y="33"/>
                    <a:pt x="76" y="28"/>
                    <a:pt x="76" y="22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3" name="ïs1îḋé">
              <a:extLst>
                <a:ext uri="{FF2B5EF4-FFF2-40B4-BE49-F238E27FC236}">
                  <a16:creationId xmlns:a16="http://schemas.microsoft.com/office/drawing/2014/main" xmlns="" id="{7F08CC01-B872-412E-99D6-2323B2958686}"/>
                </a:ext>
              </a:extLst>
            </p:cNvPr>
            <p:cNvSpPr/>
            <p:nvPr userDrawn="1"/>
          </p:nvSpPr>
          <p:spPr bwMode="auto">
            <a:xfrm>
              <a:off x="3463926" y="4178301"/>
              <a:ext cx="785813" cy="452438"/>
            </a:xfrm>
            <a:custGeom>
              <a:avLst/>
              <a:gdLst>
                <a:gd name="T0" fmla="*/ 0 w 495"/>
                <a:gd name="T1" fmla="*/ 277 h 285"/>
                <a:gd name="T2" fmla="*/ 17 w 495"/>
                <a:gd name="T3" fmla="*/ 285 h 285"/>
                <a:gd name="T4" fmla="*/ 495 w 495"/>
                <a:gd name="T5" fmla="*/ 9 h 285"/>
                <a:gd name="T6" fmla="*/ 478 w 495"/>
                <a:gd name="T7" fmla="*/ 0 h 285"/>
                <a:gd name="T8" fmla="*/ 0 w 495"/>
                <a:gd name="T9" fmla="*/ 27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5">
                  <a:moveTo>
                    <a:pt x="0" y="277"/>
                  </a:moveTo>
                  <a:lnTo>
                    <a:pt x="17" y="285"/>
                  </a:lnTo>
                  <a:lnTo>
                    <a:pt x="495" y="9"/>
                  </a:lnTo>
                  <a:lnTo>
                    <a:pt x="478" y="0"/>
                  </a:lnTo>
                  <a:lnTo>
                    <a:pt x="0" y="27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4" name="íṣľídè">
              <a:extLst>
                <a:ext uri="{FF2B5EF4-FFF2-40B4-BE49-F238E27FC236}">
                  <a16:creationId xmlns:a16="http://schemas.microsoft.com/office/drawing/2014/main" xmlns="" id="{4A299C80-69F4-4054-8421-2EB6E9031B3C}"/>
                </a:ext>
              </a:extLst>
            </p:cNvPr>
            <p:cNvSpPr/>
            <p:nvPr userDrawn="1"/>
          </p:nvSpPr>
          <p:spPr bwMode="auto">
            <a:xfrm>
              <a:off x="3794126" y="4689476"/>
              <a:ext cx="311150" cy="155575"/>
            </a:xfrm>
            <a:custGeom>
              <a:avLst/>
              <a:gdLst>
                <a:gd name="T0" fmla="*/ 14 w 94"/>
                <a:gd name="T1" fmla="*/ 0 h 47"/>
                <a:gd name="T2" fmla="*/ 0 w 94"/>
                <a:gd name="T3" fmla="*/ 19 h 47"/>
                <a:gd name="T4" fmla="*/ 14 w 94"/>
                <a:gd name="T5" fmla="*/ 39 h 47"/>
                <a:gd name="T6" fmla="*/ 47 w 94"/>
                <a:gd name="T7" fmla="*/ 47 h 47"/>
                <a:gd name="T8" fmla="*/ 80 w 94"/>
                <a:gd name="T9" fmla="*/ 39 h 47"/>
                <a:gd name="T10" fmla="*/ 93 w 94"/>
                <a:gd name="T11" fmla="*/ 20 h 47"/>
                <a:gd name="T12" fmla="*/ 80 w 94"/>
                <a:gd name="T13" fmla="*/ 0 h 47"/>
                <a:gd name="T14" fmla="*/ 74 w 94"/>
                <a:gd name="T15" fmla="*/ 4 h 47"/>
                <a:gd name="T16" fmla="*/ 85 w 94"/>
                <a:gd name="T17" fmla="*/ 20 h 47"/>
                <a:gd name="T18" fmla="*/ 73 w 94"/>
                <a:gd name="T19" fmla="*/ 35 h 47"/>
                <a:gd name="T20" fmla="*/ 47 w 94"/>
                <a:gd name="T21" fmla="*/ 41 h 47"/>
                <a:gd name="T22" fmla="*/ 20 w 94"/>
                <a:gd name="T23" fmla="*/ 35 h 47"/>
                <a:gd name="T24" fmla="*/ 9 w 94"/>
                <a:gd name="T25" fmla="*/ 19 h 47"/>
                <a:gd name="T26" fmla="*/ 20 w 94"/>
                <a:gd name="T27" fmla="*/ 4 h 47"/>
                <a:gd name="T28" fmla="*/ 14 w 94"/>
                <a:gd name="T2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47">
                  <a:moveTo>
                    <a:pt x="14" y="0"/>
                  </a:moveTo>
                  <a:cubicBezTo>
                    <a:pt x="5" y="5"/>
                    <a:pt x="1" y="12"/>
                    <a:pt x="0" y="19"/>
                  </a:cubicBezTo>
                  <a:cubicBezTo>
                    <a:pt x="0" y="26"/>
                    <a:pt x="5" y="33"/>
                    <a:pt x="14" y="39"/>
                  </a:cubicBezTo>
                  <a:cubicBezTo>
                    <a:pt x="22" y="44"/>
                    <a:pt x="34" y="47"/>
                    <a:pt x="47" y="47"/>
                  </a:cubicBezTo>
                  <a:cubicBezTo>
                    <a:pt x="59" y="47"/>
                    <a:pt x="71" y="44"/>
                    <a:pt x="80" y="39"/>
                  </a:cubicBezTo>
                  <a:cubicBezTo>
                    <a:pt x="89" y="34"/>
                    <a:pt x="93" y="27"/>
                    <a:pt x="93" y="20"/>
                  </a:cubicBezTo>
                  <a:cubicBezTo>
                    <a:pt x="94" y="12"/>
                    <a:pt x="89" y="6"/>
                    <a:pt x="80" y="0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81" y="8"/>
                    <a:pt x="85" y="14"/>
                    <a:pt x="85" y="20"/>
                  </a:cubicBezTo>
                  <a:cubicBezTo>
                    <a:pt x="85" y="25"/>
                    <a:pt x="81" y="31"/>
                    <a:pt x="73" y="35"/>
                  </a:cubicBezTo>
                  <a:cubicBezTo>
                    <a:pt x="66" y="39"/>
                    <a:pt x="57" y="41"/>
                    <a:pt x="47" y="41"/>
                  </a:cubicBezTo>
                  <a:cubicBezTo>
                    <a:pt x="37" y="41"/>
                    <a:pt x="27" y="39"/>
                    <a:pt x="20" y="35"/>
                  </a:cubicBezTo>
                  <a:cubicBezTo>
                    <a:pt x="13" y="31"/>
                    <a:pt x="9" y="25"/>
                    <a:pt x="9" y="19"/>
                  </a:cubicBezTo>
                  <a:cubicBezTo>
                    <a:pt x="9" y="13"/>
                    <a:pt x="13" y="8"/>
                    <a:pt x="20" y="4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5" name="iṥļïḑé">
              <a:extLst>
                <a:ext uri="{FF2B5EF4-FFF2-40B4-BE49-F238E27FC236}">
                  <a16:creationId xmlns:a16="http://schemas.microsoft.com/office/drawing/2014/main" xmlns="" id="{BEBA7879-D6A3-4AF2-968C-9CA72B8EF510}"/>
                </a:ext>
              </a:extLst>
            </p:cNvPr>
            <p:cNvSpPr/>
            <p:nvPr userDrawn="1"/>
          </p:nvSpPr>
          <p:spPr bwMode="auto">
            <a:xfrm>
              <a:off x="4797426" y="4735513"/>
              <a:ext cx="260350" cy="149225"/>
            </a:xfrm>
            <a:custGeom>
              <a:avLst/>
              <a:gdLst>
                <a:gd name="T0" fmla="*/ 0 w 164"/>
                <a:gd name="T1" fmla="*/ 25 h 94"/>
                <a:gd name="T2" fmla="*/ 119 w 164"/>
                <a:gd name="T3" fmla="*/ 94 h 94"/>
                <a:gd name="T4" fmla="*/ 164 w 164"/>
                <a:gd name="T5" fmla="*/ 69 h 94"/>
                <a:gd name="T6" fmla="*/ 46 w 164"/>
                <a:gd name="T7" fmla="*/ 0 h 94"/>
                <a:gd name="T8" fmla="*/ 0 w 164"/>
                <a:gd name="T9" fmla="*/ 2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94">
                  <a:moveTo>
                    <a:pt x="0" y="25"/>
                  </a:moveTo>
                  <a:lnTo>
                    <a:pt x="119" y="94"/>
                  </a:lnTo>
                  <a:lnTo>
                    <a:pt x="164" y="69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6" name="işḷîḓê">
              <a:extLst>
                <a:ext uri="{FF2B5EF4-FFF2-40B4-BE49-F238E27FC236}">
                  <a16:creationId xmlns:a16="http://schemas.microsoft.com/office/drawing/2014/main" xmlns="" id="{31E28CC9-AA8A-4B6C-9C22-BAD98C4E58A0}"/>
                </a:ext>
              </a:extLst>
            </p:cNvPr>
            <p:cNvSpPr/>
            <p:nvPr userDrawn="1"/>
          </p:nvSpPr>
          <p:spPr bwMode="auto">
            <a:xfrm>
              <a:off x="4005263" y="4492626"/>
              <a:ext cx="785813" cy="450850"/>
            </a:xfrm>
            <a:custGeom>
              <a:avLst/>
              <a:gdLst>
                <a:gd name="T0" fmla="*/ 0 w 495"/>
                <a:gd name="T1" fmla="*/ 276 h 284"/>
                <a:gd name="T2" fmla="*/ 17 w 495"/>
                <a:gd name="T3" fmla="*/ 284 h 284"/>
                <a:gd name="T4" fmla="*/ 495 w 495"/>
                <a:gd name="T5" fmla="*/ 10 h 284"/>
                <a:gd name="T6" fmla="*/ 478 w 495"/>
                <a:gd name="T7" fmla="*/ 0 h 284"/>
                <a:gd name="T8" fmla="*/ 0 w 495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6"/>
                  </a:moveTo>
                  <a:lnTo>
                    <a:pt x="17" y="284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7" name="íṣ1íḓe">
              <a:extLst>
                <a:ext uri="{FF2B5EF4-FFF2-40B4-BE49-F238E27FC236}">
                  <a16:creationId xmlns:a16="http://schemas.microsoft.com/office/drawing/2014/main" xmlns="" id="{E2D797C3-362A-4E56-9EF8-BFFFEB2286DA}"/>
                </a:ext>
              </a:extLst>
            </p:cNvPr>
            <p:cNvSpPr/>
            <p:nvPr userDrawn="1"/>
          </p:nvSpPr>
          <p:spPr bwMode="auto">
            <a:xfrm>
              <a:off x="4203701" y="3414713"/>
              <a:ext cx="1122363" cy="800100"/>
            </a:xfrm>
            <a:custGeom>
              <a:avLst/>
              <a:gdLst>
                <a:gd name="T0" fmla="*/ 82 w 340"/>
                <a:gd name="T1" fmla="*/ 0 h 243"/>
                <a:gd name="T2" fmla="*/ 0 w 340"/>
                <a:gd name="T3" fmla="*/ 45 h 243"/>
                <a:gd name="T4" fmla="*/ 32 w 340"/>
                <a:gd name="T5" fmla="*/ 79 h 243"/>
                <a:gd name="T6" fmla="*/ 18 w 340"/>
                <a:gd name="T7" fmla="*/ 102 h 243"/>
                <a:gd name="T8" fmla="*/ 340 w 340"/>
                <a:gd name="T9" fmla="*/ 243 h 243"/>
                <a:gd name="T10" fmla="*/ 89 w 340"/>
                <a:gd name="T11" fmla="*/ 98 h 243"/>
                <a:gd name="T12" fmla="*/ 83 w 340"/>
                <a:gd name="T13" fmla="*/ 87 h 243"/>
                <a:gd name="T14" fmla="*/ 82 w 340"/>
                <a:gd name="T1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0" h="243">
                  <a:moveTo>
                    <a:pt x="82" y="0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20" y="54"/>
                    <a:pt x="32" y="66"/>
                    <a:pt x="32" y="79"/>
                  </a:cubicBezTo>
                  <a:cubicBezTo>
                    <a:pt x="32" y="87"/>
                    <a:pt x="27" y="95"/>
                    <a:pt x="18" y="102"/>
                  </a:cubicBezTo>
                  <a:cubicBezTo>
                    <a:pt x="340" y="243"/>
                    <a:pt x="340" y="243"/>
                    <a:pt x="340" y="243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5" y="95"/>
                    <a:pt x="83" y="91"/>
                    <a:pt x="83" y="87"/>
                  </a:cubicBezTo>
                  <a:cubicBezTo>
                    <a:pt x="82" y="0"/>
                    <a:pt x="82" y="0"/>
                    <a:pt x="82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8" name="îṡľíḑè">
              <a:extLst>
                <a:ext uri="{FF2B5EF4-FFF2-40B4-BE49-F238E27FC236}">
                  <a16:creationId xmlns:a16="http://schemas.microsoft.com/office/drawing/2014/main" xmlns="" id="{7CABDAAD-02ED-4BAC-82BA-CD19053FD87B}"/>
                </a:ext>
              </a:extLst>
            </p:cNvPr>
            <p:cNvSpPr/>
            <p:nvPr userDrawn="1"/>
          </p:nvSpPr>
          <p:spPr bwMode="auto">
            <a:xfrm>
              <a:off x="6292851" y="2686051"/>
              <a:ext cx="709613" cy="288925"/>
            </a:xfrm>
            <a:custGeom>
              <a:avLst/>
              <a:gdLst>
                <a:gd name="T0" fmla="*/ 107 w 215"/>
                <a:gd name="T1" fmla="*/ 0 h 88"/>
                <a:gd name="T2" fmla="*/ 0 w 215"/>
                <a:gd name="T3" fmla="*/ 44 h 88"/>
                <a:gd name="T4" fmla="*/ 0 w 215"/>
                <a:gd name="T5" fmla="*/ 49 h 88"/>
                <a:gd name="T6" fmla="*/ 60 w 215"/>
                <a:gd name="T7" fmla="*/ 83 h 88"/>
                <a:gd name="T8" fmla="*/ 107 w 215"/>
                <a:gd name="T9" fmla="*/ 88 h 88"/>
                <a:gd name="T10" fmla="*/ 215 w 215"/>
                <a:gd name="T11" fmla="*/ 44 h 88"/>
                <a:gd name="T12" fmla="*/ 107 w 215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88">
                  <a:moveTo>
                    <a:pt x="107" y="0"/>
                  </a:moveTo>
                  <a:cubicBezTo>
                    <a:pt x="48" y="0"/>
                    <a:pt x="0" y="19"/>
                    <a:pt x="0" y="44"/>
                  </a:cubicBezTo>
                  <a:cubicBezTo>
                    <a:pt x="0" y="45"/>
                    <a:pt x="0" y="47"/>
                    <a:pt x="0" y="49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74" y="86"/>
                    <a:pt x="90" y="88"/>
                    <a:pt x="107" y="88"/>
                  </a:cubicBezTo>
                  <a:cubicBezTo>
                    <a:pt x="166" y="88"/>
                    <a:pt x="215" y="68"/>
                    <a:pt x="215" y="44"/>
                  </a:cubicBezTo>
                  <a:cubicBezTo>
                    <a:pt x="215" y="19"/>
                    <a:pt x="166" y="0"/>
                    <a:pt x="107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9" name="íŝľiḓê">
              <a:extLst>
                <a:ext uri="{FF2B5EF4-FFF2-40B4-BE49-F238E27FC236}">
                  <a16:creationId xmlns:a16="http://schemas.microsoft.com/office/drawing/2014/main" xmlns="" id="{9D221679-CE36-4DD3-B953-0821C4E69C63}"/>
                </a:ext>
              </a:extLst>
            </p:cNvPr>
            <p:cNvSpPr/>
            <p:nvPr userDrawn="1"/>
          </p:nvSpPr>
          <p:spPr bwMode="auto">
            <a:xfrm>
              <a:off x="3506788" y="3509963"/>
              <a:ext cx="755650" cy="328613"/>
            </a:xfrm>
            <a:custGeom>
              <a:avLst/>
              <a:gdLst>
                <a:gd name="T0" fmla="*/ 122 w 229"/>
                <a:gd name="T1" fmla="*/ 0 h 100"/>
                <a:gd name="T2" fmla="*/ 0 w 229"/>
                <a:gd name="T3" fmla="*/ 50 h 100"/>
                <a:gd name="T4" fmla="*/ 122 w 229"/>
                <a:gd name="T5" fmla="*/ 100 h 100"/>
                <a:gd name="T6" fmla="*/ 229 w 229"/>
                <a:gd name="T7" fmla="*/ 73 h 100"/>
                <a:gd name="T8" fmla="*/ 161 w 229"/>
                <a:gd name="T9" fmla="*/ 44 h 100"/>
                <a:gd name="T10" fmla="*/ 211 w 229"/>
                <a:gd name="T11" fmla="*/ 16 h 100"/>
                <a:gd name="T12" fmla="*/ 122 w 229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0">
                  <a:moveTo>
                    <a:pt x="122" y="0"/>
                  </a:moveTo>
                  <a:cubicBezTo>
                    <a:pt x="54" y="0"/>
                    <a:pt x="0" y="22"/>
                    <a:pt x="0" y="50"/>
                  </a:cubicBezTo>
                  <a:cubicBezTo>
                    <a:pt x="0" y="77"/>
                    <a:pt x="54" y="100"/>
                    <a:pt x="122" y="100"/>
                  </a:cubicBezTo>
                  <a:cubicBezTo>
                    <a:pt x="168" y="100"/>
                    <a:pt x="208" y="89"/>
                    <a:pt x="229" y="73"/>
                  </a:cubicBezTo>
                  <a:cubicBezTo>
                    <a:pt x="161" y="44"/>
                    <a:pt x="161" y="44"/>
                    <a:pt x="161" y="44"/>
                  </a:cubicBezTo>
                  <a:cubicBezTo>
                    <a:pt x="211" y="16"/>
                    <a:pt x="211" y="16"/>
                    <a:pt x="211" y="16"/>
                  </a:cubicBezTo>
                  <a:cubicBezTo>
                    <a:pt x="189" y="6"/>
                    <a:pt x="157" y="0"/>
                    <a:pt x="122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0" name="íṧlíḋé">
              <a:extLst>
                <a:ext uri="{FF2B5EF4-FFF2-40B4-BE49-F238E27FC236}">
                  <a16:creationId xmlns:a16="http://schemas.microsoft.com/office/drawing/2014/main" xmlns="" id="{AE4AAB5C-A04A-450B-A64E-EBB59CA4D07B}"/>
                </a:ext>
              </a:extLst>
            </p:cNvPr>
            <p:cNvSpPr/>
            <p:nvPr userDrawn="1"/>
          </p:nvSpPr>
          <p:spPr bwMode="auto">
            <a:xfrm>
              <a:off x="4038601" y="3562351"/>
              <a:ext cx="269875" cy="187325"/>
            </a:xfrm>
            <a:custGeom>
              <a:avLst/>
              <a:gdLst>
                <a:gd name="T0" fmla="*/ 50 w 82"/>
                <a:gd name="T1" fmla="*/ 0 h 57"/>
                <a:gd name="T2" fmla="*/ 0 w 82"/>
                <a:gd name="T3" fmla="*/ 28 h 57"/>
                <a:gd name="T4" fmla="*/ 68 w 82"/>
                <a:gd name="T5" fmla="*/ 57 h 57"/>
                <a:gd name="T6" fmla="*/ 82 w 82"/>
                <a:gd name="T7" fmla="*/ 34 h 57"/>
                <a:gd name="T8" fmla="*/ 50 w 82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7">
                  <a:moveTo>
                    <a:pt x="5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77" y="50"/>
                    <a:pt x="82" y="42"/>
                    <a:pt x="82" y="34"/>
                  </a:cubicBezTo>
                  <a:cubicBezTo>
                    <a:pt x="82" y="21"/>
                    <a:pt x="70" y="9"/>
                    <a:pt x="50" y="0"/>
                  </a:cubicBezTo>
                </a:path>
              </a:pathLst>
            </a:custGeom>
            <a:solidFill>
              <a:srgbClr val="8A9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1" name="íš1iḍè">
              <a:extLst>
                <a:ext uri="{FF2B5EF4-FFF2-40B4-BE49-F238E27FC236}">
                  <a16:creationId xmlns:a16="http://schemas.microsoft.com/office/drawing/2014/main" xmlns="" id="{C82EB3BC-D25D-480F-AAFB-4252D3576372}"/>
                </a:ext>
              </a:extLst>
            </p:cNvPr>
            <p:cNvSpPr/>
            <p:nvPr userDrawn="1"/>
          </p:nvSpPr>
          <p:spPr bwMode="auto">
            <a:xfrm>
              <a:off x="3797301" y="3136901"/>
              <a:ext cx="495300" cy="673100"/>
            </a:xfrm>
            <a:custGeom>
              <a:avLst/>
              <a:gdLst>
                <a:gd name="T0" fmla="*/ 99 w 150"/>
                <a:gd name="T1" fmla="*/ 0 h 204"/>
                <a:gd name="T2" fmla="*/ 0 w 150"/>
                <a:gd name="T3" fmla="*/ 33 h 204"/>
                <a:gd name="T4" fmla="*/ 0 w 150"/>
                <a:gd name="T5" fmla="*/ 158 h 204"/>
                <a:gd name="T6" fmla="*/ 75 w 150"/>
                <a:gd name="T7" fmla="*/ 204 h 204"/>
                <a:gd name="T8" fmla="*/ 150 w 150"/>
                <a:gd name="T9" fmla="*/ 158 h 204"/>
                <a:gd name="T10" fmla="*/ 150 w 150"/>
                <a:gd name="T11" fmla="*/ 33 h 204"/>
                <a:gd name="T12" fmla="*/ 99 w 150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4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3" y="204"/>
                    <a:pt x="75" y="204"/>
                  </a:cubicBezTo>
                  <a:cubicBezTo>
                    <a:pt x="116" y="204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2" name="i$lídé">
              <a:extLst>
                <a:ext uri="{FF2B5EF4-FFF2-40B4-BE49-F238E27FC236}">
                  <a16:creationId xmlns:a16="http://schemas.microsoft.com/office/drawing/2014/main" xmlns="" id="{8B50FA07-9DB1-4356-92A5-613F89CF8079}"/>
                </a:ext>
              </a:extLst>
            </p:cNvPr>
            <p:cNvSpPr/>
            <p:nvPr userDrawn="1"/>
          </p:nvSpPr>
          <p:spPr bwMode="auto">
            <a:xfrm>
              <a:off x="3797301" y="3097213"/>
              <a:ext cx="495300" cy="300038"/>
            </a:xfrm>
            <a:prstGeom prst="ellipse">
              <a:avLst/>
            </a:prstGeom>
            <a:solidFill>
              <a:srgbClr val="D3B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3" name="îsḻíḓé">
              <a:extLst>
                <a:ext uri="{FF2B5EF4-FFF2-40B4-BE49-F238E27FC236}">
                  <a16:creationId xmlns:a16="http://schemas.microsoft.com/office/drawing/2014/main" xmlns="" id="{FD015441-8CC1-4479-A6A9-A571B9D73F5D}"/>
                </a:ext>
              </a:extLst>
            </p:cNvPr>
            <p:cNvSpPr/>
            <p:nvPr userDrawn="1"/>
          </p:nvSpPr>
          <p:spPr bwMode="auto">
            <a:xfrm>
              <a:off x="3827463" y="3167063"/>
              <a:ext cx="431800" cy="230188"/>
            </a:xfrm>
            <a:custGeom>
              <a:avLst/>
              <a:gdLst>
                <a:gd name="T0" fmla="*/ 2 w 131"/>
                <a:gd name="T1" fmla="*/ 48 h 70"/>
                <a:gd name="T2" fmla="*/ 66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6 w 131"/>
                <a:gd name="T9" fmla="*/ 0 h 70"/>
                <a:gd name="T10" fmla="*/ 0 w 131"/>
                <a:gd name="T11" fmla="*/ 40 h 70"/>
                <a:gd name="T12" fmla="*/ 2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2" y="48"/>
                  </a:moveTo>
                  <a:cubicBezTo>
                    <a:pt x="15" y="61"/>
                    <a:pt x="39" y="70"/>
                    <a:pt x="66" y="70"/>
                  </a:cubicBezTo>
                  <a:cubicBezTo>
                    <a:pt x="93" y="70"/>
                    <a:pt x="116" y="61"/>
                    <a:pt x="129" y="48"/>
                  </a:cubicBezTo>
                  <a:cubicBezTo>
                    <a:pt x="130" y="46"/>
                    <a:pt x="131" y="43"/>
                    <a:pt x="131" y="40"/>
                  </a:cubicBezTo>
                  <a:cubicBezTo>
                    <a:pt x="131" y="18"/>
                    <a:pt x="102" y="0"/>
                    <a:pt x="66" y="0"/>
                  </a:cubicBezTo>
                  <a:cubicBezTo>
                    <a:pt x="30" y="0"/>
                    <a:pt x="0" y="18"/>
                    <a:pt x="0" y="40"/>
                  </a:cubicBezTo>
                  <a:cubicBezTo>
                    <a:pt x="0" y="43"/>
                    <a:pt x="1" y="46"/>
                    <a:pt x="2" y="48"/>
                  </a:cubicBezTo>
                  <a:close/>
                </a:path>
              </a:pathLst>
            </a:custGeom>
            <a:solidFill>
              <a:srgbClr val="752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4" name="ïŝḻiḍê">
              <a:extLst>
                <a:ext uri="{FF2B5EF4-FFF2-40B4-BE49-F238E27FC236}">
                  <a16:creationId xmlns:a16="http://schemas.microsoft.com/office/drawing/2014/main" xmlns="" id="{FB74E8ED-299B-4CB0-8A9E-717326063BE8}"/>
                </a:ext>
              </a:extLst>
            </p:cNvPr>
            <p:cNvSpPr/>
            <p:nvPr userDrawn="1"/>
          </p:nvSpPr>
          <p:spPr bwMode="auto">
            <a:xfrm>
              <a:off x="3797301" y="3097213"/>
              <a:ext cx="495300" cy="300038"/>
            </a:xfrm>
            <a:custGeom>
              <a:avLst/>
              <a:gdLst>
                <a:gd name="T0" fmla="*/ 75 w 150"/>
                <a:gd name="T1" fmla="*/ 5 h 91"/>
                <a:gd name="T2" fmla="*/ 144 w 150"/>
                <a:gd name="T3" fmla="*/ 45 h 91"/>
                <a:gd name="T4" fmla="*/ 75 w 150"/>
                <a:gd name="T5" fmla="*/ 86 h 91"/>
                <a:gd name="T6" fmla="*/ 5 w 150"/>
                <a:gd name="T7" fmla="*/ 45 h 91"/>
                <a:gd name="T8" fmla="*/ 75 w 150"/>
                <a:gd name="T9" fmla="*/ 5 h 91"/>
                <a:gd name="T10" fmla="*/ 75 w 150"/>
                <a:gd name="T11" fmla="*/ 0 h 91"/>
                <a:gd name="T12" fmla="*/ 0 w 150"/>
                <a:gd name="T13" fmla="*/ 45 h 91"/>
                <a:gd name="T14" fmla="*/ 75 w 150"/>
                <a:gd name="T15" fmla="*/ 91 h 91"/>
                <a:gd name="T16" fmla="*/ 150 w 150"/>
                <a:gd name="T17" fmla="*/ 45 h 91"/>
                <a:gd name="T18" fmla="*/ 75 w 15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1">
                  <a:moveTo>
                    <a:pt x="75" y="5"/>
                  </a:moveTo>
                  <a:cubicBezTo>
                    <a:pt x="112" y="5"/>
                    <a:pt x="144" y="23"/>
                    <a:pt x="144" y="45"/>
                  </a:cubicBezTo>
                  <a:cubicBezTo>
                    <a:pt x="144" y="67"/>
                    <a:pt x="112" y="86"/>
                    <a:pt x="75" y="86"/>
                  </a:cubicBezTo>
                  <a:cubicBezTo>
                    <a:pt x="37" y="86"/>
                    <a:pt x="5" y="67"/>
                    <a:pt x="5" y="45"/>
                  </a:cubicBezTo>
                  <a:cubicBezTo>
                    <a:pt x="5" y="23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3" y="0"/>
                    <a:pt x="0" y="20"/>
                    <a:pt x="0" y="45"/>
                  </a:cubicBezTo>
                  <a:cubicBezTo>
                    <a:pt x="0" y="71"/>
                    <a:pt x="33" y="91"/>
                    <a:pt x="75" y="91"/>
                  </a:cubicBezTo>
                  <a:cubicBezTo>
                    <a:pt x="116" y="91"/>
                    <a:pt x="150" y="71"/>
                    <a:pt x="150" y="45"/>
                  </a:cubicBezTo>
                  <a:cubicBezTo>
                    <a:pt x="150" y="20"/>
                    <a:pt x="116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5" name="išlïde">
              <a:extLst>
                <a:ext uri="{FF2B5EF4-FFF2-40B4-BE49-F238E27FC236}">
                  <a16:creationId xmlns:a16="http://schemas.microsoft.com/office/drawing/2014/main" xmlns="" id="{80EAC2D9-C4D4-44F9-95B1-29087AA378F5}"/>
                </a:ext>
              </a:extLst>
            </p:cNvPr>
            <p:cNvSpPr/>
            <p:nvPr userDrawn="1"/>
          </p:nvSpPr>
          <p:spPr bwMode="auto">
            <a:xfrm>
              <a:off x="3929063" y="2552701"/>
              <a:ext cx="323850" cy="657225"/>
            </a:xfrm>
            <a:custGeom>
              <a:avLst/>
              <a:gdLst>
                <a:gd name="T0" fmla="*/ 98 w 98"/>
                <a:gd name="T1" fmla="*/ 0 h 199"/>
                <a:gd name="T2" fmla="*/ 92 w 98"/>
                <a:gd name="T3" fmla="*/ 43 h 199"/>
                <a:gd name="T4" fmla="*/ 92 w 98"/>
                <a:gd name="T5" fmla="*/ 93 h 199"/>
                <a:gd name="T6" fmla="*/ 87 w 98"/>
                <a:gd name="T7" fmla="*/ 149 h 199"/>
                <a:gd name="T8" fmla="*/ 54 w 98"/>
                <a:gd name="T9" fmla="*/ 193 h 199"/>
                <a:gd name="T10" fmla="*/ 27 w 98"/>
                <a:gd name="T11" fmla="*/ 194 h 199"/>
                <a:gd name="T12" fmla="*/ 19 w 98"/>
                <a:gd name="T13" fmla="*/ 185 h 199"/>
                <a:gd name="T14" fmla="*/ 31 w 98"/>
                <a:gd name="T15" fmla="*/ 86 h 199"/>
                <a:gd name="T16" fmla="*/ 98 w 98"/>
                <a:gd name="T17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199">
                  <a:moveTo>
                    <a:pt x="98" y="0"/>
                  </a:moveTo>
                  <a:cubicBezTo>
                    <a:pt x="92" y="13"/>
                    <a:pt x="92" y="29"/>
                    <a:pt x="92" y="43"/>
                  </a:cubicBezTo>
                  <a:cubicBezTo>
                    <a:pt x="92" y="60"/>
                    <a:pt x="92" y="76"/>
                    <a:pt x="92" y="93"/>
                  </a:cubicBezTo>
                  <a:cubicBezTo>
                    <a:pt x="92" y="112"/>
                    <a:pt x="92" y="131"/>
                    <a:pt x="87" y="149"/>
                  </a:cubicBezTo>
                  <a:cubicBezTo>
                    <a:pt x="82" y="167"/>
                    <a:pt x="71" y="185"/>
                    <a:pt x="54" y="193"/>
                  </a:cubicBezTo>
                  <a:cubicBezTo>
                    <a:pt x="46" y="197"/>
                    <a:pt x="35" y="199"/>
                    <a:pt x="27" y="194"/>
                  </a:cubicBezTo>
                  <a:cubicBezTo>
                    <a:pt x="24" y="192"/>
                    <a:pt x="21" y="188"/>
                    <a:pt x="19" y="185"/>
                  </a:cubicBezTo>
                  <a:cubicBezTo>
                    <a:pt x="0" y="155"/>
                    <a:pt x="17" y="115"/>
                    <a:pt x="31" y="86"/>
                  </a:cubicBezTo>
                  <a:cubicBezTo>
                    <a:pt x="47" y="53"/>
                    <a:pt x="70" y="23"/>
                    <a:pt x="98" y="0"/>
                  </a:cubicBezTo>
                  <a:close/>
                </a:path>
              </a:pathLst>
            </a:custGeom>
            <a:solidFill>
              <a:srgbClr val="1A68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6" name="îşlíďê">
              <a:extLst>
                <a:ext uri="{FF2B5EF4-FFF2-40B4-BE49-F238E27FC236}">
                  <a16:creationId xmlns:a16="http://schemas.microsoft.com/office/drawing/2014/main" xmlns="" id="{716EFBD0-E6F7-4A64-BB1D-C638BA4F95D7}"/>
                </a:ext>
              </a:extLst>
            </p:cNvPr>
            <p:cNvSpPr/>
            <p:nvPr userDrawn="1"/>
          </p:nvSpPr>
          <p:spPr bwMode="auto">
            <a:xfrm>
              <a:off x="3729038" y="2322513"/>
              <a:ext cx="646113" cy="1049338"/>
            </a:xfrm>
            <a:custGeom>
              <a:avLst/>
              <a:gdLst>
                <a:gd name="T0" fmla="*/ 17 w 196"/>
                <a:gd name="T1" fmla="*/ 206 h 318"/>
                <a:gd name="T2" fmla="*/ 0 w 196"/>
                <a:gd name="T3" fmla="*/ 21 h 318"/>
                <a:gd name="T4" fmla="*/ 55 w 196"/>
                <a:gd name="T5" fmla="*/ 203 h 318"/>
                <a:gd name="T6" fmla="*/ 82 w 196"/>
                <a:gd name="T7" fmla="*/ 72 h 318"/>
                <a:gd name="T8" fmla="*/ 95 w 196"/>
                <a:gd name="T9" fmla="*/ 0 h 318"/>
                <a:gd name="T10" fmla="*/ 110 w 196"/>
                <a:gd name="T11" fmla="*/ 72 h 318"/>
                <a:gd name="T12" fmla="*/ 117 w 196"/>
                <a:gd name="T13" fmla="*/ 122 h 318"/>
                <a:gd name="T14" fmla="*/ 121 w 196"/>
                <a:gd name="T15" fmla="*/ 195 h 318"/>
                <a:gd name="T16" fmla="*/ 196 w 196"/>
                <a:gd name="T17" fmla="*/ 49 h 318"/>
                <a:gd name="T18" fmla="*/ 165 w 196"/>
                <a:gd name="T19" fmla="*/ 247 h 318"/>
                <a:gd name="T20" fmla="*/ 69 w 196"/>
                <a:gd name="T21" fmla="*/ 308 h 318"/>
                <a:gd name="T22" fmla="*/ 17 w 196"/>
                <a:gd name="T23" fmla="*/ 206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318">
                  <a:moveTo>
                    <a:pt x="17" y="206"/>
                  </a:moveTo>
                  <a:cubicBezTo>
                    <a:pt x="12" y="144"/>
                    <a:pt x="15" y="81"/>
                    <a:pt x="0" y="21"/>
                  </a:cubicBezTo>
                  <a:cubicBezTo>
                    <a:pt x="42" y="71"/>
                    <a:pt x="62" y="139"/>
                    <a:pt x="55" y="203"/>
                  </a:cubicBezTo>
                  <a:cubicBezTo>
                    <a:pt x="69" y="161"/>
                    <a:pt x="82" y="117"/>
                    <a:pt x="82" y="72"/>
                  </a:cubicBezTo>
                  <a:cubicBezTo>
                    <a:pt x="82" y="51"/>
                    <a:pt x="95" y="0"/>
                    <a:pt x="95" y="0"/>
                  </a:cubicBezTo>
                  <a:cubicBezTo>
                    <a:pt x="95" y="0"/>
                    <a:pt x="103" y="48"/>
                    <a:pt x="110" y="72"/>
                  </a:cubicBezTo>
                  <a:cubicBezTo>
                    <a:pt x="115" y="88"/>
                    <a:pt x="116" y="105"/>
                    <a:pt x="117" y="122"/>
                  </a:cubicBezTo>
                  <a:cubicBezTo>
                    <a:pt x="118" y="146"/>
                    <a:pt x="120" y="171"/>
                    <a:pt x="121" y="195"/>
                  </a:cubicBezTo>
                  <a:cubicBezTo>
                    <a:pt x="142" y="134"/>
                    <a:pt x="196" y="49"/>
                    <a:pt x="196" y="49"/>
                  </a:cubicBezTo>
                  <a:cubicBezTo>
                    <a:pt x="196" y="49"/>
                    <a:pt x="176" y="210"/>
                    <a:pt x="165" y="247"/>
                  </a:cubicBezTo>
                  <a:cubicBezTo>
                    <a:pt x="153" y="289"/>
                    <a:pt x="114" y="318"/>
                    <a:pt x="69" y="308"/>
                  </a:cubicBezTo>
                  <a:cubicBezTo>
                    <a:pt x="28" y="299"/>
                    <a:pt x="20" y="240"/>
                    <a:pt x="17" y="206"/>
                  </a:cubicBezTo>
                  <a:close/>
                </a:path>
              </a:pathLst>
            </a:custGeom>
            <a:solidFill>
              <a:srgbClr val="409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7" name="ïṣḻiḋè">
              <a:extLst>
                <a:ext uri="{FF2B5EF4-FFF2-40B4-BE49-F238E27FC236}">
                  <a16:creationId xmlns:a16="http://schemas.microsoft.com/office/drawing/2014/main" xmlns="" id="{F8A27832-B9D0-4E22-8CA2-48B8E7D85879}"/>
                </a:ext>
              </a:extLst>
            </p:cNvPr>
            <p:cNvSpPr/>
            <p:nvPr userDrawn="1"/>
          </p:nvSpPr>
          <p:spPr bwMode="auto">
            <a:xfrm>
              <a:off x="3860801" y="2668588"/>
              <a:ext cx="266700" cy="692150"/>
            </a:xfrm>
            <a:custGeom>
              <a:avLst/>
              <a:gdLst>
                <a:gd name="T0" fmla="*/ 9 w 81"/>
                <a:gd name="T1" fmla="*/ 162 h 210"/>
                <a:gd name="T2" fmla="*/ 14 w 81"/>
                <a:gd name="T3" fmla="*/ 88 h 210"/>
                <a:gd name="T4" fmla="*/ 16 w 81"/>
                <a:gd name="T5" fmla="*/ 0 h 210"/>
                <a:gd name="T6" fmla="*/ 73 w 81"/>
                <a:gd name="T7" fmla="*/ 139 h 210"/>
                <a:gd name="T8" fmla="*/ 77 w 81"/>
                <a:gd name="T9" fmla="*/ 177 h 210"/>
                <a:gd name="T10" fmla="*/ 38 w 81"/>
                <a:gd name="T11" fmla="*/ 206 h 210"/>
                <a:gd name="T12" fmla="*/ 9 w 81"/>
                <a:gd name="T13" fmla="*/ 1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210">
                  <a:moveTo>
                    <a:pt x="9" y="162"/>
                  </a:moveTo>
                  <a:cubicBezTo>
                    <a:pt x="0" y="139"/>
                    <a:pt x="8" y="113"/>
                    <a:pt x="14" y="88"/>
                  </a:cubicBezTo>
                  <a:cubicBezTo>
                    <a:pt x="20" y="59"/>
                    <a:pt x="22" y="29"/>
                    <a:pt x="16" y="0"/>
                  </a:cubicBezTo>
                  <a:cubicBezTo>
                    <a:pt x="38" y="45"/>
                    <a:pt x="56" y="92"/>
                    <a:pt x="73" y="139"/>
                  </a:cubicBezTo>
                  <a:cubicBezTo>
                    <a:pt x="77" y="152"/>
                    <a:pt x="81" y="165"/>
                    <a:pt x="77" y="177"/>
                  </a:cubicBezTo>
                  <a:cubicBezTo>
                    <a:pt x="73" y="189"/>
                    <a:pt x="52" y="210"/>
                    <a:pt x="38" y="206"/>
                  </a:cubicBezTo>
                  <a:cubicBezTo>
                    <a:pt x="27" y="203"/>
                    <a:pt x="13" y="172"/>
                    <a:pt x="9" y="162"/>
                  </a:cubicBezTo>
                  <a:close/>
                </a:path>
              </a:pathLst>
            </a:custGeom>
            <a:solidFill>
              <a:srgbClr val="4EAF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8" name="iSļïḍé">
              <a:extLst>
                <a:ext uri="{FF2B5EF4-FFF2-40B4-BE49-F238E27FC236}">
                  <a16:creationId xmlns:a16="http://schemas.microsoft.com/office/drawing/2014/main" xmlns="" id="{0F61E907-2F3F-411F-B2FA-790691AB6891}"/>
                </a:ext>
              </a:extLst>
            </p:cNvPr>
            <p:cNvSpPr/>
            <p:nvPr userDrawn="1"/>
          </p:nvSpPr>
          <p:spPr bwMode="auto">
            <a:xfrm>
              <a:off x="6510338" y="2257426"/>
              <a:ext cx="495300" cy="668338"/>
            </a:xfrm>
            <a:custGeom>
              <a:avLst/>
              <a:gdLst>
                <a:gd name="T0" fmla="*/ 99 w 150"/>
                <a:gd name="T1" fmla="*/ 0 h 203"/>
                <a:gd name="T2" fmla="*/ 0 w 150"/>
                <a:gd name="T3" fmla="*/ 33 h 203"/>
                <a:gd name="T4" fmla="*/ 0 w 150"/>
                <a:gd name="T5" fmla="*/ 158 h 203"/>
                <a:gd name="T6" fmla="*/ 75 w 150"/>
                <a:gd name="T7" fmla="*/ 203 h 203"/>
                <a:gd name="T8" fmla="*/ 150 w 150"/>
                <a:gd name="T9" fmla="*/ 158 h 203"/>
                <a:gd name="T10" fmla="*/ 150 w 150"/>
                <a:gd name="T11" fmla="*/ 33 h 203"/>
                <a:gd name="T12" fmla="*/ 99 w 150"/>
                <a:gd name="T13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3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4" y="203"/>
                    <a:pt x="75" y="203"/>
                  </a:cubicBezTo>
                  <a:cubicBezTo>
                    <a:pt x="117" y="203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9" name="ïS1îḑé">
              <a:extLst>
                <a:ext uri="{FF2B5EF4-FFF2-40B4-BE49-F238E27FC236}">
                  <a16:creationId xmlns:a16="http://schemas.microsoft.com/office/drawing/2014/main" xmlns="" id="{BCB4DE63-03F8-40D7-ADB7-CFBE9DABFFBD}"/>
                </a:ext>
              </a:extLst>
            </p:cNvPr>
            <p:cNvSpPr/>
            <p:nvPr userDrawn="1"/>
          </p:nvSpPr>
          <p:spPr bwMode="auto">
            <a:xfrm>
              <a:off x="6510338" y="2214563"/>
              <a:ext cx="495300" cy="303213"/>
            </a:xfrm>
            <a:prstGeom prst="ellipse">
              <a:avLst/>
            </a:pr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0" name="ï$ľíďé">
              <a:extLst>
                <a:ext uri="{FF2B5EF4-FFF2-40B4-BE49-F238E27FC236}">
                  <a16:creationId xmlns:a16="http://schemas.microsoft.com/office/drawing/2014/main" xmlns="" id="{47675CC9-3A09-44FB-9C8D-FB905C5F9FF9}"/>
                </a:ext>
              </a:extLst>
            </p:cNvPr>
            <p:cNvSpPr/>
            <p:nvPr userDrawn="1"/>
          </p:nvSpPr>
          <p:spPr bwMode="auto">
            <a:xfrm>
              <a:off x="6543676" y="2286001"/>
              <a:ext cx="431800" cy="231775"/>
            </a:xfrm>
            <a:custGeom>
              <a:avLst/>
              <a:gdLst>
                <a:gd name="T0" fmla="*/ 1 w 131"/>
                <a:gd name="T1" fmla="*/ 48 h 70"/>
                <a:gd name="T2" fmla="*/ 65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5 w 131"/>
                <a:gd name="T9" fmla="*/ 0 h 70"/>
                <a:gd name="T10" fmla="*/ 0 w 131"/>
                <a:gd name="T11" fmla="*/ 40 h 70"/>
                <a:gd name="T12" fmla="*/ 1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1" y="48"/>
                  </a:moveTo>
                  <a:cubicBezTo>
                    <a:pt x="15" y="61"/>
                    <a:pt x="38" y="70"/>
                    <a:pt x="65" y="70"/>
                  </a:cubicBezTo>
                  <a:cubicBezTo>
                    <a:pt x="92" y="70"/>
                    <a:pt x="116" y="61"/>
                    <a:pt x="129" y="48"/>
                  </a:cubicBezTo>
                  <a:cubicBezTo>
                    <a:pt x="130" y="45"/>
                    <a:pt x="131" y="42"/>
                    <a:pt x="131" y="40"/>
                  </a:cubicBezTo>
                  <a:cubicBezTo>
                    <a:pt x="131" y="18"/>
                    <a:pt x="101" y="0"/>
                    <a:pt x="65" y="0"/>
                  </a:cubicBezTo>
                  <a:cubicBezTo>
                    <a:pt x="29" y="0"/>
                    <a:pt x="0" y="18"/>
                    <a:pt x="0" y="40"/>
                  </a:cubicBezTo>
                  <a:cubicBezTo>
                    <a:pt x="0" y="42"/>
                    <a:pt x="0" y="45"/>
                    <a:pt x="1" y="48"/>
                  </a:cubicBezTo>
                  <a:close/>
                </a:path>
              </a:pathLst>
            </a:custGeom>
            <a:solidFill>
              <a:srgbClr val="A04A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1" name="i$1íḓe">
              <a:extLst>
                <a:ext uri="{FF2B5EF4-FFF2-40B4-BE49-F238E27FC236}">
                  <a16:creationId xmlns:a16="http://schemas.microsoft.com/office/drawing/2014/main" xmlns="" id="{2EF07F6D-9FA4-4A90-B8C9-F871F1C7D577}"/>
                </a:ext>
              </a:extLst>
            </p:cNvPr>
            <p:cNvSpPr/>
            <p:nvPr userDrawn="1"/>
          </p:nvSpPr>
          <p:spPr bwMode="auto">
            <a:xfrm>
              <a:off x="6510338" y="2214563"/>
              <a:ext cx="495300" cy="303213"/>
            </a:xfrm>
            <a:custGeom>
              <a:avLst/>
              <a:gdLst>
                <a:gd name="T0" fmla="*/ 75 w 150"/>
                <a:gd name="T1" fmla="*/ 5 h 92"/>
                <a:gd name="T2" fmla="*/ 145 w 150"/>
                <a:gd name="T3" fmla="*/ 46 h 92"/>
                <a:gd name="T4" fmla="*/ 75 w 150"/>
                <a:gd name="T5" fmla="*/ 86 h 92"/>
                <a:gd name="T6" fmla="*/ 5 w 150"/>
                <a:gd name="T7" fmla="*/ 46 h 92"/>
                <a:gd name="T8" fmla="*/ 75 w 150"/>
                <a:gd name="T9" fmla="*/ 5 h 92"/>
                <a:gd name="T10" fmla="*/ 75 w 150"/>
                <a:gd name="T11" fmla="*/ 0 h 92"/>
                <a:gd name="T12" fmla="*/ 0 w 150"/>
                <a:gd name="T13" fmla="*/ 46 h 92"/>
                <a:gd name="T14" fmla="*/ 75 w 150"/>
                <a:gd name="T15" fmla="*/ 92 h 92"/>
                <a:gd name="T16" fmla="*/ 150 w 150"/>
                <a:gd name="T17" fmla="*/ 46 h 92"/>
                <a:gd name="T18" fmla="*/ 75 w 150"/>
                <a:gd name="T1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2">
                  <a:moveTo>
                    <a:pt x="75" y="5"/>
                  </a:moveTo>
                  <a:cubicBezTo>
                    <a:pt x="113" y="5"/>
                    <a:pt x="145" y="24"/>
                    <a:pt x="145" y="46"/>
                  </a:cubicBezTo>
                  <a:cubicBezTo>
                    <a:pt x="145" y="68"/>
                    <a:pt x="113" y="86"/>
                    <a:pt x="75" y="86"/>
                  </a:cubicBezTo>
                  <a:cubicBezTo>
                    <a:pt x="37" y="86"/>
                    <a:pt x="5" y="68"/>
                    <a:pt x="5" y="46"/>
                  </a:cubicBezTo>
                  <a:cubicBezTo>
                    <a:pt x="5" y="24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4" y="0"/>
                    <a:pt x="0" y="21"/>
                    <a:pt x="0" y="46"/>
                  </a:cubicBezTo>
                  <a:cubicBezTo>
                    <a:pt x="0" y="71"/>
                    <a:pt x="34" y="92"/>
                    <a:pt x="75" y="92"/>
                  </a:cubicBezTo>
                  <a:cubicBezTo>
                    <a:pt x="117" y="92"/>
                    <a:pt x="150" y="71"/>
                    <a:pt x="150" y="46"/>
                  </a:cubicBezTo>
                  <a:cubicBezTo>
                    <a:pt x="150" y="21"/>
                    <a:pt x="117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2" name="íśliḑe">
              <a:extLst>
                <a:ext uri="{FF2B5EF4-FFF2-40B4-BE49-F238E27FC236}">
                  <a16:creationId xmlns:a16="http://schemas.microsoft.com/office/drawing/2014/main" xmlns="" id="{5B5565FE-2010-4EA9-887D-D8ABC03A1B2F}"/>
                </a:ext>
              </a:extLst>
            </p:cNvPr>
            <p:cNvSpPr/>
            <p:nvPr userDrawn="1"/>
          </p:nvSpPr>
          <p:spPr bwMode="auto">
            <a:xfrm>
              <a:off x="6919913" y="2527301"/>
              <a:ext cx="144463" cy="296863"/>
            </a:xfrm>
            <a:custGeom>
              <a:avLst/>
              <a:gdLst>
                <a:gd name="T0" fmla="*/ 12 w 44"/>
                <a:gd name="T1" fmla="*/ 0 h 90"/>
                <a:gd name="T2" fmla="*/ 11 w 44"/>
                <a:gd name="T3" fmla="*/ 0 h 90"/>
                <a:gd name="T4" fmla="*/ 11 w 44"/>
                <a:gd name="T5" fmla="*/ 1 h 90"/>
                <a:gd name="T6" fmla="*/ 10 w 44"/>
                <a:gd name="T7" fmla="*/ 1 h 90"/>
                <a:gd name="T8" fmla="*/ 10 w 44"/>
                <a:gd name="T9" fmla="*/ 1 h 90"/>
                <a:gd name="T10" fmla="*/ 9 w 44"/>
                <a:gd name="T11" fmla="*/ 2 h 90"/>
                <a:gd name="T12" fmla="*/ 8 w 44"/>
                <a:gd name="T13" fmla="*/ 2 h 90"/>
                <a:gd name="T14" fmla="*/ 8 w 44"/>
                <a:gd name="T15" fmla="*/ 3 h 90"/>
                <a:gd name="T16" fmla="*/ 7 w 44"/>
                <a:gd name="T17" fmla="*/ 3 h 90"/>
                <a:gd name="T18" fmla="*/ 6 w 44"/>
                <a:gd name="T19" fmla="*/ 3 h 90"/>
                <a:gd name="T20" fmla="*/ 6 w 44"/>
                <a:gd name="T21" fmla="*/ 4 h 90"/>
                <a:gd name="T22" fmla="*/ 5 w 44"/>
                <a:gd name="T23" fmla="*/ 4 h 90"/>
                <a:gd name="T24" fmla="*/ 5 w 44"/>
                <a:gd name="T25" fmla="*/ 4 h 90"/>
                <a:gd name="T26" fmla="*/ 4 w 44"/>
                <a:gd name="T27" fmla="*/ 5 h 90"/>
                <a:gd name="T28" fmla="*/ 3 w 44"/>
                <a:gd name="T29" fmla="*/ 5 h 90"/>
                <a:gd name="T30" fmla="*/ 3 w 44"/>
                <a:gd name="T31" fmla="*/ 5 h 90"/>
                <a:gd name="T32" fmla="*/ 2 w 44"/>
                <a:gd name="T33" fmla="*/ 6 h 90"/>
                <a:gd name="T34" fmla="*/ 1 w 44"/>
                <a:gd name="T35" fmla="*/ 6 h 90"/>
                <a:gd name="T36" fmla="*/ 1 w 44"/>
                <a:gd name="T37" fmla="*/ 6 h 90"/>
                <a:gd name="T38" fmla="*/ 0 w 44"/>
                <a:gd name="T39" fmla="*/ 7 h 90"/>
                <a:gd name="T40" fmla="*/ 13 w 44"/>
                <a:gd name="T41" fmla="*/ 72 h 90"/>
                <a:gd name="T42" fmla="*/ 12 w 44"/>
                <a:gd name="T43" fmla="*/ 72 h 90"/>
                <a:gd name="T44" fmla="*/ 11 w 44"/>
                <a:gd name="T45" fmla="*/ 72 h 90"/>
                <a:gd name="T46" fmla="*/ 11 w 44"/>
                <a:gd name="T47" fmla="*/ 73 h 90"/>
                <a:gd name="T48" fmla="*/ 10 w 44"/>
                <a:gd name="T49" fmla="*/ 73 h 90"/>
                <a:gd name="T50" fmla="*/ 9 w 44"/>
                <a:gd name="T51" fmla="*/ 73 h 90"/>
                <a:gd name="T52" fmla="*/ 9 w 44"/>
                <a:gd name="T53" fmla="*/ 74 h 90"/>
                <a:gd name="T54" fmla="*/ 8 w 44"/>
                <a:gd name="T55" fmla="*/ 74 h 90"/>
                <a:gd name="T56" fmla="*/ 8 w 44"/>
                <a:gd name="T57" fmla="*/ 74 h 90"/>
                <a:gd name="T58" fmla="*/ 7 w 44"/>
                <a:gd name="T59" fmla="*/ 75 h 90"/>
                <a:gd name="T60" fmla="*/ 6 w 44"/>
                <a:gd name="T61" fmla="*/ 75 h 90"/>
                <a:gd name="T62" fmla="*/ 6 w 44"/>
                <a:gd name="T63" fmla="*/ 75 h 90"/>
                <a:gd name="T64" fmla="*/ 5 w 44"/>
                <a:gd name="T65" fmla="*/ 76 h 90"/>
                <a:gd name="T66" fmla="*/ 4 w 44"/>
                <a:gd name="T67" fmla="*/ 76 h 90"/>
                <a:gd name="T68" fmla="*/ 4 w 44"/>
                <a:gd name="T69" fmla="*/ 76 h 90"/>
                <a:gd name="T70" fmla="*/ 3 w 44"/>
                <a:gd name="T71" fmla="*/ 77 h 90"/>
                <a:gd name="T72" fmla="*/ 3 w 44"/>
                <a:gd name="T73" fmla="*/ 77 h 90"/>
                <a:gd name="T74" fmla="*/ 2 w 44"/>
                <a:gd name="T75" fmla="*/ 77 h 90"/>
                <a:gd name="T76" fmla="*/ 1 w 44"/>
                <a:gd name="T77" fmla="*/ 78 h 90"/>
                <a:gd name="T78" fmla="*/ 1 w 44"/>
                <a:gd name="T79" fmla="*/ 78 h 90"/>
                <a:gd name="T80" fmla="*/ 0 w 44"/>
                <a:gd name="T81" fmla="*/ 79 h 90"/>
                <a:gd name="T82" fmla="*/ 15 w 44"/>
                <a:gd name="T83" fmla="*/ 85 h 90"/>
                <a:gd name="T84" fmla="*/ 16 w 44"/>
                <a:gd name="T85" fmla="*/ 85 h 90"/>
                <a:gd name="T86" fmla="*/ 17 w 44"/>
                <a:gd name="T87" fmla="*/ 85 h 90"/>
                <a:gd name="T88" fmla="*/ 17 w 44"/>
                <a:gd name="T89" fmla="*/ 84 h 90"/>
                <a:gd name="T90" fmla="*/ 18 w 44"/>
                <a:gd name="T91" fmla="*/ 84 h 90"/>
                <a:gd name="T92" fmla="*/ 19 w 44"/>
                <a:gd name="T93" fmla="*/ 84 h 90"/>
                <a:gd name="T94" fmla="*/ 19 w 44"/>
                <a:gd name="T95" fmla="*/ 83 h 90"/>
                <a:gd name="T96" fmla="*/ 20 w 44"/>
                <a:gd name="T97" fmla="*/ 83 h 90"/>
                <a:gd name="T98" fmla="*/ 20 w 44"/>
                <a:gd name="T99" fmla="*/ 83 h 90"/>
                <a:gd name="T100" fmla="*/ 21 w 44"/>
                <a:gd name="T101" fmla="*/ 82 h 90"/>
                <a:gd name="T102" fmla="*/ 22 w 44"/>
                <a:gd name="T103" fmla="*/ 82 h 90"/>
                <a:gd name="T104" fmla="*/ 22 w 44"/>
                <a:gd name="T105" fmla="*/ 81 h 90"/>
                <a:gd name="T106" fmla="*/ 23 w 44"/>
                <a:gd name="T107" fmla="*/ 81 h 90"/>
                <a:gd name="T108" fmla="*/ 24 w 44"/>
                <a:gd name="T109" fmla="*/ 81 h 90"/>
                <a:gd name="T110" fmla="*/ 24 w 44"/>
                <a:gd name="T111" fmla="*/ 80 h 90"/>
                <a:gd name="T112" fmla="*/ 25 w 44"/>
                <a:gd name="T113" fmla="*/ 80 h 90"/>
                <a:gd name="T114" fmla="*/ 25 w 44"/>
                <a:gd name="T115" fmla="*/ 80 h 90"/>
                <a:gd name="T116" fmla="*/ 26 w 44"/>
                <a:gd name="T117" fmla="*/ 79 h 90"/>
                <a:gd name="T118" fmla="*/ 27 w 44"/>
                <a:gd name="T119" fmla="*/ 79 h 90"/>
                <a:gd name="T120" fmla="*/ 27 w 44"/>
                <a:gd name="T121" fmla="*/ 79 h 90"/>
                <a:gd name="T122" fmla="*/ 28 w 44"/>
                <a:gd name="T123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" h="90">
                  <a:moveTo>
                    <a:pt x="15" y="1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2" y="28"/>
                    <a:pt x="20" y="43"/>
                    <a:pt x="20" y="58"/>
                  </a:cubicBezTo>
                  <a:cubicBezTo>
                    <a:pt x="20" y="63"/>
                    <a:pt x="18" y="68"/>
                    <a:pt x="15" y="71"/>
                  </a:cubicBezTo>
                  <a:cubicBezTo>
                    <a:pt x="14" y="71"/>
                    <a:pt x="14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5" y="90"/>
                    <a:pt x="10" y="88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8" y="72"/>
                    <a:pt x="44" y="62"/>
                    <a:pt x="44" y="51"/>
                  </a:cubicBezTo>
                  <a:cubicBezTo>
                    <a:pt x="44" y="31"/>
                    <a:pt x="33" y="12"/>
                    <a:pt x="15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3" name="ïšļîdè">
              <a:extLst>
                <a:ext uri="{FF2B5EF4-FFF2-40B4-BE49-F238E27FC236}">
                  <a16:creationId xmlns:a16="http://schemas.microsoft.com/office/drawing/2014/main" xmlns="" id="{E430AEA2-2A98-4264-94CD-49E4607F818F}"/>
                </a:ext>
              </a:extLst>
            </p:cNvPr>
            <p:cNvSpPr/>
            <p:nvPr userDrawn="1"/>
          </p:nvSpPr>
          <p:spPr bwMode="auto">
            <a:xfrm>
              <a:off x="6919913" y="2549526"/>
              <a:ext cx="101600" cy="274638"/>
            </a:xfrm>
            <a:custGeom>
              <a:avLst/>
              <a:gdLst>
                <a:gd name="T0" fmla="*/ 2 w 31"/>
                <a:gd name="T1" fmla="*/ 2 h 83"/>
                <a:gd name="T2" fmla="*/ 0 w 31"/>
                <a:gd name="T3" fmla="*/ 0 h 83"/>
                <a:gd name="T4" fmla="*/ 0 w 31"/>
                <a:gd name="T5" fmla="*/ 13 h 83"/>
                <a:gd name="T6" fmla="*/ 20 w 31"/>
                <a:gd name="T7" fmla="*/ 51 h 83"/>
                <a:gd name="T8" fmla="*/ 10 w 31"/>
                <a:gd name="T9" fmla="*/ 69 h 83"/>
                <a:gd name="T10" fmla="*/ 0 w 31"/>
                <a:gd name="T11" fmla="*/ 72 h 83"/>
                <a:gd name="T12" fmla="*/ 0 w 31"/>
                <a:gd name="T13" fmla="*/ 83 h 83"/>
                <a:gd name="T14" fmla="*/ 15 w 31"/>
                <a:gd name="T15" fmla="*/ 78 h 83"/>
                <a:gd name="T16" fmla="*/ 31 w 31"/>
                <a:gd name="T17" fmla="*/ 51 h 83"/>
                <a:gd name="T18" fmla="*/ 2 w 31"/>
                <a:gd name="T19" fmla="*/ 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83">
                  <a:moveTo>
                    <a:pt x="2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2" y="21"/>
                    <a:pt x="20" y="36"/>
                    <a:pt x="20" y="51"/>
                  </a:cubicBezTo>
                  <a:cubicBezTo>
                    <a:pt x="20" y="59"/>
                    <a:pt x="16" y="65"/>
                    <a:pt x="10" y="69"/>
                  </a:cubicBezTo>
                  <a:cubicBezTo>
                    <a:pt x="7" y="71"/>
                    <a:pt x="3" y="72"/>
                    <a:pt x="0" y="7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5" y="83"/>
                    <a:pt x="10" y="81"/>
                    <a:pt x="15" y="78"/>
                  </a:cubicBezTo>
                  <a:cubicBezTo>
                    <a:pt x="25" y="73"/>
                    <a:pt x="31" y="63"/>
                    <a:pt x="31" y="51"/>
                  </a:cubicBezTo>
                  <a:cubicBezTo>
                    <a:pt x="31" y="31"/>
                    <a:pt x="20" y="12"/>
                    <a:pt x="2" y="2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4" name="iṡľîdê">
              <a:extLst>
                <a:ext uri="{FF2B5EF4-FFF2-40B4-BE49-F238E27FC236}">
                  <a16:creationId xmlns:a16="http://schemas.microsoft.com/office/drawing/2014/main" xmlns="" id="{551E01E0-4E93-4489-BC10-77E849CDF3BB}"/>
                </a:ext>
              </a:extLst>
            </p:cNvPr>
            <p:cNvSpPr/>
            <p:nvPr userDrawn="1"/>
          </p:nvSpPr>
          <p:spPr bwMode="auto">
            <a:xfrm>
              <a:off x="4473576" y="1370013"/>
              <a:ext cx="2847975" cy="3079750"/>
            </a:xfrm>
            <a:custGeom>
              <a:avLst/>
              <a:gdLst>
                <a:gd name="T0" fmla="*/ 20 w 863"/>
                <a:gd name="T1" fmla="*/ 255 h 934"/>
                <a:gd name="T2" fmla="*/ 454 w 863"/>
                <a:gd name="T3" fmla="*/ 6 h 934"/>
                <a:gd name="T4" fmla="*/ 481 w 863"/>
                <a:gd name="T5" fmla="*/ 2 h 934"/>
                <a:gd name="T6" fmla="*/ 505 w 863"/>
                <a:gd name="T7" fmla="*/ 19 h 934"/>
                <a:gd name="T8" fmla="*/ 506 w 863"/>
                <a:gd name="T9" fmla="*/ 423 h 934"/>
                <a:gd name="T10" fmla="*/ 467 w 863"/>
                <a:gd name="T11" fmla="*/ 445 h 934"/>
                <a:gd name="T12" fmla="*/ 862 w 863"/>
                <a:gd name="T13" fmla="*/ 637 h 934"/>
                <a:gd name="T14" fmla="*/ 863 w 863"/>
                <a:gd name="T15" fmla="*/ 653 h 934"/>
                <a:gd name="T16" fmla="*/ 853 w 863"/>
                <a:gd name="T17" fmla="*/ 669 h 934"/>
                <a:gd name="T18" fmla="*/ 408 w 863"/>
                <a:gd name="T19" fmla="*/ 926 h 934"/>
                <a:gd name="T20" fmla="*/ 368 w 863"/>
                <a:gd name="T21" fmla="*/ 926 h 934"/>
                <a:gd name="T22" fmla="*/ 7 w 863"/>
                <a:gd name="T23" fmla="*/ 718 h 934"/>
                <a:gd name="T24" fmla="*/ 1 w 863"/>
                <a:gd name="T25" fmla="*/ 707 h 934"/>
                <a:gd name="T26" fmla="*/ 0 w 863"/>
                <a:gd name="T27" fmla="*/ 290 h 934"/>
                <a:gd name="T28" fmla="*/ 20 w 863"/>
                <a:gd name="T29" fmla="*/ 255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3" h="934">
                  <a:moveTo>
                    <a:pt x="20" y="255"/>
                  </a:moveTo>
                  <a:cubicBezTo>
                    <a:pt x="454" y="6"/>
                    <a:pt x="454" y="6"/>
                    <a:pt x="454" y="6"/>
                  </a:cubicBezTo>
                  <a:cubicBezTo>
                    <a:pt x="462" y="2"/>
                    <a:pt x="472" y="0"/>
                    <a:pt x="481" y="2"/>
                  </a:cubicBezTo>
                  <a:cubicBezTo>
                    <a:pt x="493" y="5"/>
                    <a:pt x="505" y="8"/>
                    <a:pt x="505" y="19"/>
                  </a:cubicBezTo>
                  <a:cubicBezTo>
                    <a:pt x="506" y="423"/>
                    <a:pt x="506" y="423"/>
                    <a:pt x="506" y="423"/>
                  </a:cubicBezTo>
                  <a:cubicBezTo>
                    <a:pt x="467" y="445"/>
                    <a:pt x="467" y="445"/>
                    <a:pt x="467" y="445"/>
                  </a:cubicBezTo>
                  <a:cubicBezTo>
                    <a:pt x="480" y="451"/>
                    <a:pt x="861" y="637"/>
                    <a:pt x="862" y="637"/>
                  </a:cubicBezTo>
                  <a:cubicBezTo>
                    <a:pt x="863" y="653"/>
                    <a:pt x="863" y="653"/>
                    <a:pt x="863" y="653"/>
                  </a:cubicBezTo>
                  <a:cubicBezTo>
                    <a:pt x="863" y="660"/>
                    <a:pt x="859" y="666"/>
                    <a:pt x="853" y="669"/>
                  </a:cubicBezTo>
                  <a:cubicBezTo>
                    <a:pt x="788" y="707"/>
                    <a:pt x="408" y="926"/>
                    <a:pt x="408" y="926"/>
                  </a:cubicBezTo>
                  <a:cubicBezTo>
                    <a:pt x="396" y="934"/>
                    <a:pt x="380" y="934"/>
                    <a:pt x="368" y="926"/>
                  </a:cubicBezTo>
                  <a:cubicBezTo>
                    <a:pt x="7" y="718"/>
                    <a:pt x="7" y="718"/>
                    <a:pt x="7" y="718"/>
                  </a:cubicBezTo>
                  <a:cubicBezTo>
                    <a:pt x="3" y="715"/>
                    <a:pt x="1" y="711"/>
                    <a:pt x="1" y="707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0" y="276"/>
                    <a:pt x="8" y="262"/>
                    <a:pt x="20" y="255"/>
                  </a:cubicBezTo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5" name="ïSľîḑé">
              <a:extLst>
                <a:ext uri="{FF2B5EF4-FFF2-40B4-BE49-F238E27FC236}">
                  <a16:creationId xmlns:a16="http://schemas.microsoft.com/office/drawing/2014/main" xmlns="" id="{58383546-5A35-4E9E-8F23-99AB7B668813}"/>
                </a:ext>
              </a:extLst>
            </p:cNvPr>
            <p:cNvSpPr/>
            <p:nvPr userDrawn="1"/>
          </p:nvSpPr>
          <p:spPr bwMode="auto">
            <a:xfrm>
              <a:off x="4516438" y="1379538"/>
              <a:ext cx="1630363" cy="2317750"/>
            </a:xfrm>
            <a:custGeom>
              <a:avLst/>
              <a:gdLst>
                <a:gd name="T0" fmla="*/ 0 w 494"/>
                <a:gd name="T1" fmla="*/ 703 h 703"/>
                <a:gd name="T2" fmla="*/ 493 w 494"/>
                <a:gd name="T3" fmla="*/ 421 h 703"/>
                <a:gd name="T4" fmla="*/ 494 w 494"/>
                <a:gd name="T5" fmla="*/ 19 h 703"/>
                <a:gd name="T6" fmla="*/ 471 w 494"/>
                <a:gd name="T7" fmla="*/ 6 h 703"/>
                <a:gd name="T8" fmla="*/ 17 w 494"/>
                <a:gd name="T9" fmla="*/ 266 h 703"/>
                <a:gd name="T10" fmla="*/ 1 w 494"/>
                <a:gd name="T11" fmla="*/ 294 h 703"/>
                <a:gd name="T12" fmla="*/ 0 w 494"/>
                <a:gd name="T13" fmla="*/ 703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4" h="703">
                  <a:moveTo>
                    <a:pt x="0" y="703"/>
                  </a:moveTo>
                  <a:cubicBezTo>
                    <a:pt x="493" y="421"/>
                    <a:pt x="493" y="421"/>
                    <a:pt x="493" y="421"/>
                  </a:cubicBezTo>
                  <a:cubicBezTo>
                    <a:pt x="494" y="19"/>
                    <a:pt x="494" y="19"/>
                    <a:pt x="494" y="19"/>
                  </a:cubicBezTo>
                  <a:cubicBezTo>
                    <a:pt x="494" y="7"/>
                    <a:pt x="481" y="0"/>
                    <a:pt x="471" y="6"/>
                  </a:cubicBezTo>
                  <a:cubicBezTo>
                    <a:pt x="17" y="266"/>
                    <a:pt x="17" y="266"/>
                    <a:pt x="17" y="266"/>
                  </a:cubicBezTo>
                  <a:cubicBezTo>
                    <a:pt x="7" y="272"/>
                    <a:pt x="1" y="282"/>
                    <a:pt x="1" y="294"/>
                  </a:cubicBezTo>
                  <a:cubicBezTo>
                    <a:pt x="0" y="703"/>
                    <a:pt x="0" y="703"/>
                    <a:pt x="0" y="703"/>
                  </a:cubicBezTo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6" name="íṣļíďê">
              <a:extLst>
                <a:ext uri="{FF2B5EF4-FFF2-40B4-BE49-F238E27FC236}">
                  <a16:creationId xmlns:a16="http://schemas.microsoft.com/office/drawing/2014/main" xmlns="" id="{12F1CBF0-C03D-419B-B26B-92B19B76763D}"/>
                </a:ext>
              </a:extLst>
            </p:cNvPr>
            <p:cNvSpPr/>
            <p:nvPr userDrawn="1"/>
          </p:nvSpPr>
          <p:spPr bwMode="auto">
            <a:xfrm>
              <a:off x="4586288" y="1474788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7" name="išľíḍe">
              <a:extLst>
                <a:ext uri="{FF2B5EF4-FFF2-40B4-BE49-F238E27FC236}">
                  <a16:creationId xmlns:a16="http://schemas.microsoft.com/office/drawing/2014/main" xmlns="" id="{4B15B088-2CDB-4092-BD91-ACF4A393FA9A}"/>
                </a:ext>
              </a:extLst>
            </p:cNvPr>
            <p:cNvSpPr/>
            <p:nvPr userDrawn="1"/>
          </p:nvSpPr>
          <p:spPr bwMode="auto">
            <a:xfrm>
              <a:off x="4586288" y="1474788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8" name="íšļïḓé">
              <a:extLst>
                <a:ext uri="{FF2B5EF4-FFF2-40B4-BE49-F238E27FC236}">
                  <a16:creationId xmlns:a16="http://schemas.microsoft.com/office/drawing/2014/main" xmlns="" id="{E4F074AB-8744-497E-BD76-92E3B14C48E5}"/>
                </a:ext>
              </a:extLst>
            </p:cNvPr>
            <p:cNvSpPr/>
            <p:nvPr userDrawn="1"/>
          </p:nvSpPr>
          <p:spPr bwMode="auto">
            <a:xfrm>
              <a:off x="4516438" y="2757488"/>
              <a:ext cx="2811463" cy="1635125"/>
            </a:xfrm>
            <a:custGeom>
              <a:avLst/>
              <a:gdLst>
                <a:gd name="T0" fmla="*/ 0 w 852"/>
                <a:gd name="T1" fmla="*/ 285 h 496"/>
                <a:gd name="T2" fmla="*/ 493 w 852"/>
                <a:gd name="T3" fmla="*/ 0 h 496"/>
                <a:gd name="T4" fmla="*/ 842 w 852"/>
                <a:gd name="T5" fmla="*/ 202 h 496"/>
                <a:gd name="T6" fmla="*/ 842 w 852"/>
                <a:gd name="T7" fmla="*/ 228 h 496"/>
                <a:gd name="T8" fmla="*/ 388 w 852"/>
                <a:gd name="T9" fmla="*/ 490 h 496"/>
                <a:gd name="T10" fmla="*/ 356 w 852"/>
                <a:gd name="T11" fmla="*/ 490 h 496"/>
                <a:gd name="T12" fmla="*/ 0 w 852"/>
                <a:gd name="T13" fmla="*/ 28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2" h="496">
                  <a:moveTo>
                    <a:pt x="0" y="285"/>
                  </a:moveTo>
                  <a:cubicBezTo>
                    <a:pt x="493" y="0"/>
                    <a:pt x="493" y="0"/>
                    <a:pt x="493" y="0"/>
                  </a:cubicBezTo>
                  <a:cubicBezTo>
                    <a:pt x="842" y="202"/>
                    <a:pt x="842" y="202"/>
                    <a:pt x="842" y="202"/>
                  </a:cubicBezTo>
                  <a:cubicBezTo>
                    <a:pt x="852" y="208"/>
                    <a:pt x="852" y="222"/>
                    <a:pt x="842" y="228"/>
                  </a:cubicBezTo>
                  <a:cubicBezTo>
                    <a:pt x="388" y="490"/>
                    <a:pt x="388" y="490"/>
                    <a:pt x="388" y="490"/>
                  </a:cubicBezTo>
                  <a:cubicBezTo>
                    <a:pt x="378" y="496"/>
                    <a:pt x="366" y="496"/>
                    <a:pt x="356" y="490"/>
                  </a:cubicBezTo>
                  <a:cubicBezTo>
                    <a:pt x="0" y="285"/>
                    <a:pt x="0" y="285"/>
                    <a:pt x="0" y="285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9" name="islidé">
              <a:extLst>
                <a:ext uri="{FF2B5EF4-FFF2-40B4-BE49-F238E27FC236}">
                  <a16:creationId xmlns:a16="http://schemas.microsoft.com/office/drawing/2014/main" xmlns="" id="{91EFB3CD-F5B1-48BB-A24F-F98621B6FAEE}"/>
                </a:ext>
              </a:extLst>
            </p:cNvPr>
            <p:cNvSpPr/>
            <p:nvPr userDrawn="1"/>
          </p:nvSpPr>
          <p:spPr bwMode="auto">
            <a:xfrm>
              <a:off x="4803776" y="3678238"/>
              <a:ext cx="161925" cy="95250"/>
            </a:xfrm>
            <a:custGeom>
              <a:avLst/>
              <a:gdLst>
                <a:gd name="T0" fmla="*/ 49 w 49"/>
                <a:gd name="T1" fmla="*/ 14 h 29"/>
                <a:gd name="T2" fmla="*/ 25 w 49"/>
                <a:gd name="T3" fmla="*/ 29 h 29"/>
                <a:gd name="T4" fmla="*/ 0 w 49"/>
                <a:gd name="T5" fmla="*/ 15 h 29"/>
                <a:gd name="T6" fmla="*/ 25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0" name="iṩliḋé">
              <a:extLst>
                <a:ext uri="{FF2B5EF4-FFF2-40B4-BE49-F238E27FC236}">
                  <a16:creationId xmlns:a16="http://schemas.microsoft.com/office/drawing/2014/main" xmlns="" id="{0006CEB1-A666-4143-9EFF-45955E9591C5}"/>
                </a:ext>
              </a:extLst>
            </p:cNvPr>
            <p:cNvSpPr/>
            <p:nvPr userDrawn="1"/>
          </p:nvSpPr>
          <p:spPr bwMode="auto">
            <a:xfrm>
              <a:off x="4922838" y="36115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1" name="îṣḷîḓê">
              <a:extLst>
                <a:ext uri="{FF2B5EF4-FFF2-40B4-BE49-F238E27FC236}">
                  <a16:creationId xmlns:a16="http://schemas.microsoft.com/office/drawing/2014/main" xmlns="" id="{93224B27-7428-4CCD-B68C-A2E622B23865}"/>
                </a:ext>
              </a:extLst>
            </p:cNvPr>
            <p:cNvSpPr/>
            <p:nvPr userDrawn="1"/>
          </p:nvSpPr>
          <p:spPr bwMode="auto">
            <a:xfrm>
              <a:off x="5045076" y="35433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10" y="20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2" name="íṩ1îḍe">
              <a:extLst>
                <a:ext uri="{FF2B5EF4-FFF2-40B4-BE49-F238E27FC236}">
                  <a16:creationId xmlns:a16="http://schemas.microsoft.com/office/drawing/2014/main" xmlns="" id="{151861E7-9F41-4FDF-879D-2C1A19F5C7A2}"/>
                </a:ext>
              </a:extLst>
            </p:cNvPr>
            <p:cNvSpPr/>
            <p:nvPr userDrawn="1"/>
          </p:nvSpPr>
          <p:spPr bwMode="auto">
            <a:xfrm>
              <a:off x="5164138" y="347345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3" name="ïṧḻiḍe">
              <a:extLst>
                <a:ext uri="{FF2B5EF4-FFF2-40B4-BE49-F238E27FC236}">
                  <a16:creationId xmlns:a16="http://schemas.microsoft.com/office/drawing/2014/main" xmlns="" id="{3CFB8684-6035-4B1A-99D3-39A521C45DC8}"/>
                </a:ext>
              </a:extLst>
            </p:cNvPr>
            <p:cNvSpPr/>
            <p:nvPr userDrawn="1"/>
          </p:nvSpPr>
          <p:spPr bwMode="auto">
            <a:xfrm>
              <a:off x="5283201" y="3403601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4" name="íşlïḑè">
              <a:extLst>
                <a:ext uri="{FF2B5EF4-FFF2-40B4-BE49-F238E27FC236}">
                  <a16:creationId xmlns:a16="http://schemas.microsoft.com/office/drawing/2014/main" xmlns="" id="{A4516263-1AEB-44EE-A01E-5E96EDA1A7A3}"/>
                </a:ext>
              </a:extLst>
            </p:cNvPr>
            <p:cNvSpPr/>
            <p:nvPr userDrawn="1"/>
          </p:nvSpPr>
          <p:spPr bwMode="auto">
            <a:xfrm>
              <a:off x="5400676" y="33353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5" name="íśļiḋè">
              <a:extLst>
                <a:ext uri="{FF2B5EF4-FFF2-40B4-BE49-F238E27FC236}">
                  <a16:creationId xmlns:a16="http://schemas.microsoft.com/office/drawing/2014/main" xmlns="" id="{6F55D1E7-ED8B-4410-9A36-30A010B6DDE7}"/>
                </a:ext>
              </a:extLst>
            </p:cNvPr>
            <p:cNvSpPr/>
            <p:nvPr userDrawn="1"/>
          </p:nvSpPr>
          <p:spPr bwMode="auto">
            <a:xfrm>
              <a:off x="5519738" y="32686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6" name="îSļîḓê">
              <a:extLst>
                <a:ext uri="{FF2B5EF4-FFF2-40B4-BE49-F238E27FC236}">
                  <a16:creationId xmlns:a16="http://schemas.microsoft.com/office/drawing/2014/main" xmlns="" id="{1035B522-8566-44F4-98D4-B9F5A3DC1B00}"/>
                </a:ext>
              </a:extLst>
            </p:cNvPr>
            <p:cNvSpPr/>
            <p:nvPr userDrawn="1"/>
          </p:nvSpPr>
          <p:spPr bwMode="auto">
            <a:xfrm>
              <a:off x="5641976" y="32004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7" name="íṧ1îḑè">
              <a:extLst>
                <a:ext uri="{FF2B5EF4-FFF2-40B4-BE49-F238E27FC236}">
                  <a16:creationId xmlns:a16="http://schemas.microsoft.com/office/drawing/2014/main" xmlns="" id="{FDB3F37A-096D-4CA4-97F3-34E75C2D42A9}"/>
                </a:ext>
              </a:extLst>
            </p:cNvPr>
            <p:cNvSpPr/>
            <p:nvPr userDrawn="1"/>
          </p:nvSpPr>
          <p:spPr bwMode="auto">
            <a:xfrm>
              <a:off x="5761038" y="313055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8" name="îṥḷide">
              <a:extLst>
                <a:ext uri="{FF2B5EF4-FFF2-40B4-BE49-F238E27FC236}">
                  <a16:creationId xmlns:a16="http://schemas.microsoft.com/office/drawing/2014/main" xmlns="" id="{3357F5A4-243D-4759-84E4-B4A572506D25}"/>
                </a:ext>
              </a:extLst>
            </p:cNvPr>
            <p:cNvSpPr/>
            <p:nvPr userDrawn="1"/>
          </p:nvSpPr>
          <p:spPr bwMode="auto">
            <a:xfrm>
              <a:off x="5880101" y="306070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9" name="îş1iḓè">
              <a:extLst>
                <a:ext uri="{FF2B5EF4-FFF2-40B4-BE49-F238E27FC236}">
                  <a16:creationId xmlns:a16="http://schemas.microsoft.com/office/drawing/2014/main" xmlns="" id="{19F3C2E8-8E1C-40BE-8007-DB53D8C0E04F}"/>
                </a:ext>
              </a:extLst>
            </p:cNvPr>
            <p:cNvSpPr/>
            <p:nvPr userDrawn="1"/>
          </p:nvSpPr>
          <p:spPr bwMode="auto">
            <a:xfrm>
              <a:off x="5999163" y="29924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0" name="íšḻidè">
              <a:extLst>
                <a:ext uri="{FF2B5EF4-FFF2-40B4-BE49-F238E27FC236}">
                  <a16:creationId xmlns:a16="http://schemas.microsoft.com/office/drawing/2014/main" xmlns="" id="{D6B7BD3A-AD90-4C0E-8911-7DF82A08CCA5}"/>
                </a:ext>
              </a:extLst>
            </p:cNvPr>
            <p:cNvSpPr/>
            <p:nvPr userDrawn="1"/>
          </p:nvSpPr>
          <p:spPr bwMode="auto">
            <a:xfrm>
              <a:off x="6121401" y="2925763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1" name="íślîḓè">
              <a:extLst>
                <a:ext uri="{FF2B5EF4-FFF2-40B4-BE49-F238E27FC236}">
                  <a16:creationId xmlns:a16="http://schemas.microsoft.com/office/drawing/2014/main" xmlns="" id="{0F3BDB44-D22C-46D2-9436-B2BEAE3AD10E}"/>
                </a:ext>
              </a:extLst>
            </p:cNvPr>
            <p:cNvSpPr/>
            <p:nvPr userDrawn="1"/>
          </p:nvSpPr>
          <p:spPr bwMode="auto">
            <a:xfrm>
              <a:off x="4919663" y="37433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2" name="î$1iḓé">
              <a:extLst>
                <a:ext uri="{FF2B5EF4-FFF2-40B4-BE49-F238E27FC236}">
                  <a16:creationId xmlns:a16="http://schemas.microsoft.com/office/drawing/2014/main" xmlns="" id="{BFC9F847-E53F-4A93-ACFD-280CA85FC9BC}"/>
                </a:ext>
              </a:extLst>
            </p:cNvPr>
            <p:cNvSpPr/>
            <p:nvPr userDrawn="1"/>
          </p:nvSpPr>
          <p:spPr bwMode="auto">
            <a:xfrm>
              <a:off x="5038726" y="36750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3" name="išľïḋe">
              <a:extLst>
                <a:ext uri="{FF2B5EF4-FFF2-40B4-BE49-F238E27FC236}">
                  <a16:creationId xmlns:a16="http://schemas.microsoft.com/office/drawing/2014/main" xmlns="" id="{3F078DD4-7AD3-45BE-AB42-87E057F762A7}"/>
                </a:ext>
              </a:extLst>
            </p:cNvPr>
            <p:cNvSpPr/>
            <p:nvPr userDrawn="1"/>
          </p:nvSpPr>
          <p:spPr bwMode="auto">
            <a:xfrm>
              <a:off x="5157788" y="36083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4" name="îṡlíḍè">
              <a:extLst>
                <a:ext uri="{FF2B5EF4-FFF2-40B4-BE49-F238E27FC236}">
                  <a16:creationId xmlns:a16="http://schemas.microsoft.com/office/drawing/2014/main" xmlns="" id="{24C039CF-C13E-40A8-B6F6-6B119C55D305}"/>
                </a:ext>
              </a:extLst>
            </p:cNvPr>
            <p:cNvSpPr/>
            <p:nvPr userDrawn="1"/>
          </p:nvSpPr>
          <p:spPr bwMode="auto">
            <a:xfrm>
              <a:off x="5280026" y="3538538"/>
              <a:ext cx="160338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5" name="íŝľíḋê">
              <a:extLst>
                <a:ext uri="{FF2B5EF4-FFF2-40B4-BE49-F238E27FC236}">
                  <a16:creationId xmlns:a16="http://schemas.microsoft.com/office/drawing/2014/main" xmlns="" id="{5E79E0FC-A504-4676-8F21-8EFEEB7BCE95}"/>
                </a:ext>
              </a:extLst>
            </p:cNvPr>
            <p:cNvSpPr/>
            <p:nvPr userDrawn="1"/>
          </p:nvSpPr>
          <p:spPr bwMode="auto">
            <a:xfrm>
              <a:off x="5397501" y="347027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6" name="ïśḷîḋè">
              <a:extLst>
                <a:ext uri="{FF2B5EF4-FFF2-40B4-BE49-F238E27FC236}">
                  <a16:creationId xmlns:a16="http://schemas.microsoft.com/office/drawing/2014/main" xmlns="" id="{A1C850EF-440D-475D-9DBB-5AD726E1C241}"/>
                </a:ext>
              </a:extLst>
            </p:cNvPr>
            <p:cNvSpPr/>
            <p:nvPr userDrawn="1"/>
          </p:nvSpPr>
          <p:spPr bwMode="auto">
            <a:xfrm>
              <a:off x="5516563" y="34004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7" name="iSḷíḍê">
              <a:extLst>
                <a:ext uri="{FF2B5EF4-FFF2-40B4-BE49-F238E27FC236}">
                  <a16:creationId xmlns:a16="http://schemas.microsoft.com/office/drawing/2014/main" xmlns="" id="{0DA3B52E-0086-4F9C-A1D3-394DC80AE7A0}"/>
                </a:ext>
              </a:extLst>
            </p:cNvPr>
            <p:cNvSpPr/>
            <p:nvPr userDrawn="1"/>
          </p:nvSpPr>
          <p:spPr bwMode="auto">
            <a:xfrm>
              <a:off x="5635626" y="33321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8" name="iŝlîďê">
              <a:extLst>
                <a:ext uri="{FF2B5EF4-FFF2-40B4-BE49-F238E27FC236}">
                  <a16:creationId xmlns:a16="http://schemas.microsoft.com/office/drawing/2014/main" xmlns="" id="{1055DF19-946A-4611-86D4-BB94455D2F0C}"/>
                </a:ext>
              </a:extLst>
            </p:cNvPr>
            <p:cNvSpPr/>
            <p:nvPr userDrawn="1"/>
          </p:nvSpPr>
          <p:spPr bwMode="auto">
            <a:xfrm>
              <a:off x="5757863" y="32654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9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9" name="ïṥḷïḑé">
              <a:extLst>
                <a:ext uri="{FF2B5EF4-FFF2-40B4-BE49-F238E27FC236}">
                  <a16:creationId xmlns:a16="http://schemas.microsoft.com/office/drawing/2014/main" xmlns="" id="{51CF7717-9A56-447E-87DE-FCD77613CD16}"/>
                </a:ext>
              </a:extLst>
            </p:cNvPr>
            <p:cNvSpPr/>
            <p:nvPr userDrawn="1"/>
          </p:nvSpPr>
          <p:spPr bwMode="auto">
            <a:xfrm>
              <a:off x="5876926" y="3195638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0" name="íSḻïḋe">
              <a:extLst>
                <a:ext uri="{FF2B5EF4-FFF2-40B4-BE49-F238E27FC236}">
                  <a16:creationId xmlns:a16="http://schemas.microsoft.com/office/drawing/2014/main" xmlns="" id="{67EE8F38-2E92-4080-8070-5558DC873503}"/>
                </a:ext>
              </a:extLst>
            </p:cNvPr>
            <p:cNvSpPr/>
            <p:nvPr userDrawn="1"/>
          </p:nvSpPr>
          <p:spPr bwMode="auto">
            <a:xfrm>
              <a:off x="5995988" y="3127376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1" name="iśḻídè">
              <a:extLst>
                <a:ext uri="{FF2B5EF4-FFF2-40B4-BE49-F238E27FC236}">
                  <a16:creationId xmlns:a16="http://schemas.microsoft.com/office/drawing/2014/main" xmlns="" id="{39C40FF0-80E2-48CB-93BA-997BC20BD7A5}"/>
                </a:ext>
              </a:extLst>
            </p:cNvPr>
            <p:cNvSpPr/>
            <p:nvPr userDrawn="1"/>
          </p:nvSpPr>
          <p:spPr bwMode="auto">
            <a:xfrm>
              <a:off x="6113463" y="3057526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2" name="ïṥḷiḓe">
              <a:extLst>
                <a:ext uri="{FF2B5EF4-FFF2-40B4-BE49-F238E27FC236}">
                  <a16:creationId xmlns:a16="http://schemas.microsoft.com/office/drawing/2014/main" xmlns="" id="{FD6F7F27-6EB9-4C68-9039-EFAA6BB06027}"/>
                </a:ext>
              </a:extLst>
            </p:cNvPr>
            <p:cNvSpPr/>
            <p:nvPr userDrawn="1"/>
          </p:nvSpPr>
          <p:spPr bwMode="auto">
            <a:xfrm>
              <a:off x="6180138" y="2989263"/>
              <a:ext cx="217488" cy="125413"/>
            </a:xfrm>
            <a:custGeom>
              <a:avLst/>
              <a:gdLst>
                <a:gd name="T0" fmla="*/ 66 w 66"/>
                <a:gd name="T1" fmla="*/ 14 h 38"/>
                <a:gd name="T2" fmla="*/ 25 w 66"/>
                <a:gd name="T3" fmla="*/ 38 h 38"/>
                <a:gd name="T4" fmla="*/ 0 w 66"/>
                <a:gd name="T5" fmla="*/ 24 h 38"/>
                <a:gd name="T6" fmla="*/ 41 w 66"/>
                <a:gd name="T7" fmla="*/ 0 h 38"/>
                <a:gd name="T8" fmla="*/ 66 w 66"/>
                <a:gd name="T9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8">
                  <a:moveTo>
                    <a:pt x="66" y="14"/>
                  </a:moveTo>
                  <a:cubicBezTo>
                    <a:pt x="49" y="24"/>
                    <a:pt x="41" y="29"/>
                    <a:pt x="25" y="38"/>
                  </a:cubicBezTo>
                  <a:cubicBezTo>
                    <a:pt x="15" y="32"/>
                    <a:pt x="10" y="30"/>
                    <a:pt x="0" y="24"/>
                  </a:cubicBezTo>
                  <a:cubicBezTo>
                    <a:pt x="16" y="14"/>
                    <a:pt x="25" y="10"/>
                    <a:pt x="41" y="0"/>
                  </a:cubicBezTo>
                  <a:cubicBezTo>
                    <a:pt x="51" y="6"/>
                    <a:pt x="56" y="9"/>
                    <a:pt x="66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3" name="íśḻíḋé">
              <a:extLst>
                <a:ext uri="{FF2B5EF4-FFF2-40B4-BE49-F238E27FC236}">
                  <a16:creationId xmlns:a16="http://schemas.microsoft.com/office/drawing/2014/main" xmlns="" id="{228499BE-E233-439D-890F-5996CF634E16}"/>
                </a:ext>
              </a:extLst>
            </p:cNvPr>
            <p:cNvSpPr/>
            <p:nvPr userDrawn="1"/>
          </p:nvSpPr>
          <p:spPr bwMode="auto">
            <a:xfrm>
              <a:off x="5035551" y="3779838"/>
              <a:ext cx="214313" cy="122238"/>
            </a:xfrm>
            <a:custGeom>
              <a:avLst/>
              <a:gdLst>
                <a:gd name="T0" fmla="*/ 65 w 65"/>
                <a:gd name="T1" fmla="*/ 14 h 37"/>
                <a:gd name="T2" fmla="*/ 25 w 65"/>
                <a:gd name="T3" fmla="*/ 37 h 37"/>
                <a:gd name="T4" fmla="*/ 0 w 65"/>
                <a:gd name="T5" fmla="*/ 23 h 37"/>
                <a:gd name="T6" fmla="*/ 41 w 65"/>
                <a:gd name="T7" fmla="*/ 0 h 37"/>
                <a:gd name="T8" fmla="*/ 65 w 65"/>
                <a:gd name="T9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7">
                  <a:moveTo>
                    <a:pt x="65" y="14"/>
                  </a:moveTo>
                  <a:cubicBezTo>
                    <a:pt x="49" y="23"/>
                    <a:pt x="41" y="28"/>
                    <a:pt x="25" y="37"/>
                  </a:cubicBezTo>
                  <a:cubicBezTo>
                    <a:pt x="15" y="31"/>
                    <a:pt x="10" y="29"/>
                    <a:pt x="0" y="23"/>
                  </a:cubicBezTo>
                  <a:cubicBezTo>
                    <a:pt x="16" y="14"/>
                    <a:pt x="24" y="9"/>
                    <a:pt x="41" y="0"/>
                  </a:cubicBezTo>
                  <a:cubicBezTo>
                    <a:pt x="50" y="5"/>
                    <a:pt x="55" y="8"/>
                    <a:pt x="65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4" name="iṧḷîḍê">
              <a:extLst>
                <a:ext uri="{FF2B5EF4-FFF2-40B4-BE49-F238E27FC236}">
                  <a16:creationId xmlns:a16="http://schemas.microsoft.com/office/drawing/2014/main" xmlns="" id="{5800EFD7-EEDD-4191-8049-B8106943662F}"/>
                </a:ext>
              </a:extLst>
            </p:cNvPr>
            <p:cNvSpPr/>
            <p:nvPr userDrawn="1"/>
          </p:nvSpPr>
          <p:spPr bwMode="auto">
            <a:xfrm>
              <a:off x="5154613" y="3740151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5" name="iSḷiḋe">
              <a:extLst>
                <a:ext uri="{FF2B5EF4-FFF2-40B4-BE49-F238E27FC236}">
                  <a16:creationId xmlns:a16="http://schemas.microsoft.com/office/drawing/2014/main" xmlns="" id="{71414F73-3225-4A79-AB97-716DDD0C98CF}"/>
                </a:ext>
              </a:extLst>
            </p:cNvPr>
            <p:cNvSpPr/>
            <p:nvPr userDrawn="1"/>
          </p:nvSpPr>
          <p:spPr bwMode="auto">
            <a:xfrm>
              <a:off x="5272088" y="36718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6" name="í$ḷîḍe">
              <a:extLst>
                <a:ext uri="{FF2B5EF4-FFF2-40B4-BE49-F238E27FC236}">
                  <a16:creationId xmlns:a16="http://schemas.microsoft.com/office/drawing/2014/main" xmlns="" id="{DF45A6EB-C5E8-480D-BB35-82952AB88886}"/>
                </a:ext>
              </a:extLst>
            </p:cNvPr>
            <p:cNvSpPr/>
            <p:nvPr userDrawn="1"/>
          </p:nvSpPr>
          <p:spPr bwMode="auto">
            <a:xfrm>
              <a:off x="5391151" y="36020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7" name="ïṧļîḑè">
              <a:extLst>
                <a:ext uri="{FF2B5EF4-FFF2-40B4-BE49-F238E27FC236}">
                  <a16:creationId xmlns:a16="http://schemas.microsoft.com/office/drawing/2014/main" xmlns="" id="{5B5ADCD5-0C84-458C-A142-8179970169E6}"/>
                </a:ext>
              </a:extLst>
            </p:cNvPr>
            <p:cNvSpPr/>
            <p:nvPr userDrawn="1"/>
          </p:nvSpPr>
          <p:spPr bwMode="auto">
            <a:xfrm>
              <a:off x="5513388" y="35353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8" name="iṧḷîḑè">
              <a:extLst>
                <a:ext uri="{FF2B5EF4-FFF2-40B4-BE49-F238E27FC236}">
                  <a16:creationId xmlns:a16="http://schemas.microsoft.com/office/drawing/2014/main" xmlns="" id="{05E0ED82-C815-46B5-8FF5-526BE75B3B81}"/>
                </a:ext>
              </a:extLst>
            </p:cNvPr>
            <p:cNvSpPr/>
            <p:nvPr userDrawn="1"/>
          </p:nvSpPr>
          <p:spPr bwMode="auto">
            <a:xfrm>
              <a:off x="5632451" y="34671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9" name="îSḷíďè">
              <a:extLst>
                <a:ext uri="{FF2B5EF4-FFF2-40B4-BE49-F238E27FC236}">
                  <a16:creationId xmlns:a16="http://schemas.microsoft.com/office/drawing/2014/main" xmlns="" id="{863B972E-A931-4EE2-B700-374A3BB8E805}"/>
                </a:ext>
              </a:extLst>
            </p:cNvPr>
            <p:cNvSpPr/>
            <p:nvPr userDrawn="1"/>
          </p:nvSpPr>
          <p:spPr bwMode="auto">
            <a:xfrm>
              <a:off x="5751513" y="339725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0" name="íṩḻiḋe">
              <a:extLst>
                <a:ext uri="{FF2B5EF4-FFF2-40B4-BE49-F238E27FC236}">
                  <a16:creationId xmlns:a16="http://schemas.microsoft.com/office/drawing/2014/main" xmlns="" id="{D7915202-2BFE-46B1-8A72-ED7957D4D180}"/>
                </a:ext>
              </a:extLst>
            </p:cNvPr>
            <p:cNvSpPr/>
            <p:nvPr userDrawn="1"/>
          </p:nvSpPr>
          <p:spPr bwMode="auto">
            <a:xfrm>
              <a:off x="5870576" y="33289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1" name="ïšlîďé">
              <a:extLst>
                <a:ext uri="{FF2B5EF4-FFF2-40B4-BE49-F238E27FC236}">
                  <a16:creationId xmlns:a16="http://schemas.microsoft.com/office/drawing/2014/main" xmlns="" id="{4203A980-6BF0-4E31-B29A-640748E805D0}"/>
                </a:ext>
              </a:extLst>
            </p:cNvPr>
            <p:cNvSpPr/>
            <p:nvPr userDrawn="1"/>
          </p:nvSpPr>
          <p:spPr bwMode="auto">
            <a:xfrm>
              <a:off x="5992813" y="3259138"/>
              <a:ext cx="160338" cy="95250"/>
            </a:xfrm>
            <a:custGeom>
              <a:avLst/>
              <a:gdLst>
                <a:gd name="T0" fmla="*/ 49 w 49"/>
                <a:gd name="T1" fmla="*/ 14 h 29"/>
                <a:gd name="T2" fmla="*/ 24 w 49"/>
                <a:gd name="T3" fmla="*/ 29 h 29"/>
                <a:gd name="T4" fmla="*/ 0 w 49"/>
                <a:gd name="T5" fmla="*/ 14 h 29"/>
                <a:gd name="T6" fmla="*/ 24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39" y="20"/>
                    <a:pt x="34" y="23"/>
                    <a:pt x="24" y="29"/>
                  </a:cubicBezTo>
                  <a:cubicBezTo>
                    <a:pt x="14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2" name="íŝḻïḍè">
              <a:extLst>
                <a:ext uri="{FF2B5EF4-FFF2-40B4-BE49-F238E27FC236}">
                  <a16:creationId xmlns:a16="http://schemas.microsoft.com/office/drawing/2014/main" xmlns="" id="{F03889E5-078A-4BE1-A92C-D0E39ADE5402}"/>
                </a:ext>
              </a:extLst>
            </p:cNvPr>
            <p:cNvSpPr/>
            <p:nvPr userDrawn="1"/>
          </p:nvSpPr>
          <p:spPr bwMode="auto">
            <a:xfrm>
              <a:off x="6110288" y="31924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3" name="iṡlíḍé">
              <a:extLst>
                <a:ext uri="{FF2B5EF4-FFF2-40B4-BE49-F238E27FC236}">
                  <a16:creationId xmlns:a16="http://schemas.microsoft.com/office/drawing/2014/main" xmlns="" id="{7DF8EF4A-9D33-48ED-BEDB-64D0A6ED412A}"/>
                </a:ext>
              </a:extLst>
            </p:cNvPr>
            <p:cNvSpPr/>
            <p:nvPr userDrawn="1"/>
          </p:nvSpPr>
          <p:spPr bwMode="auto">
            <a:xfrm>
              <a:off x="6229351" y="31242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4" name="ïṥļíḋe">
              <a:extLst>
                <a:ext uri="{FF2B5EF4-FFF2-40B4-BE49-F238E27FC236}">
                  <a16:creationId xmlns:a16="http://schemas.microsoft.com/office/drawing/2014/main" xmlns="" id="{9B5850E2-8CD3-4140-AECD-73133D2AC5D2}"/>
                </a:ext>
              </a:extLst>
            </p:cNvPr>
            <p:cNvSpPr/>
            <p:nvPr userDrawn="1"/>
          </p:nvSpPr>
          <p:spPr bwMode="auto">
            <a:xfrm>
              <a:off x="6348413" y="305435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5" name="íşlíḋê">
              <a:extLst>
                <a:ext uri="{FF2B5EF4-FFF2-40B4-BE49-F238E27FC236}">
                  <a16:creationId xmlns:a16="http://schemas.microsoft.com/office/drawing/2014/main" xmlns="" id="{E3DE86E1-D4B7-4C12-8224-257F32354AF9}"/>
                </a:ext>
              </a:extLst>
            </p:cNvPr>
            <p:cNvSpPr/>
            <p:nvPr userDrawn="1"/>
          </p:nvSpPr>
          <p:spPr bwMode="auto">
            <a:xfrm>
              <a:off x="5149851" y="3875088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6" name="iṧļíďê">
              <a:extLst>
                <a:ext uri="{FF2B5EF4-FFF2-40B4-BE49-F238E27FC236}">
                  <a16:creationId xmlns:a16="http://schemas.microsoft.com/office/drawing/2014/main" xmlns="" id="{28C3EF12-B1E2-4E4D-8F7C-1C5651EF0229}"/>
                </a:ext>
              </a:extLst>
            </p:cNvPr>
            <p:cNvSpPr/>
            <p:nvPr userDrawn="1"/>
          </p:nvSpPr>
          <p:spPr bwMode="auto">
            <a:xfrm>
              <a:off x="5268913" y="38068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7" name="iṩḻídê">
              <a:extLst>
                <a:ext uri="{FF2B5EF4-FFF2-40B4-BE49-F238E27FC236}">
                  <a16:creationId xmlns:a16="http://schemas.microsoft.com/office/drawing/2014/main" xmlns="" id="{D6571339-93A6-44E9-A7D6-D1D0030C45FA}"/>
                </a:ext>
              </a:extLst>
            </p:cNvPr>
            <p:cNvSpPr/>
            <p:nvPr userDrawn="1"/>
          </p:nvSpPr>
          <p:spPr bwMode="auto">
            <a:xfrm>
              <a:off x="5387976" y="373697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8" name="íşḷíḋé">
              <a:extLst>
                <a:ext uri="{FF2B5EF4-FFF2-40B4-BE49-F238E27FC236}">
                  <a16:creationId xmlns:a16="http://schemas.microsoft.com/office/drawing/2014/main" xmlns="" id="{6B7EE26B-9F75-4FFF-9306-6C1BFEC7159C}"/>
                </a:ext>
              </a:extLst>
            </p:cNvPr>
            <p:cNvSpPr/>
            <p:nvPr userDrawn="1"/>
          </p:nvSpPr>
          <p:spPr bwMode="auto">
            <a:xfrm>
              <a:off x="5507038" y="3667126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9" name="íşḻíḋé">
              <a:extLst>
                <a:ext uri="{FF2B5EF4-FFF2-40B4-BE49-F238E27FC236}">
                  <a16:creationId xmlns:a16="http://schemas.microsoft.com/office/drawing/2014/main" xmlns="" id="{DEC26B47-7325-4570-A8D4-C622F97FAFE2}"/>
                </a:ext>
              </a:extLst>
            </p:cNvPr>
            <p:cNvSpPr/>
            <p:nvPr userDrawn="1"/>
          </p:nvSpPr>
          <p:spPr bwMode="auto">
            <a:xfrm>
              <a:off x="5629276" y="35988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4" y="23"/>
                    <a:pt x="9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0" name="îśļiḋê">
              <a:extLst>
                <a:ext uri="{FF2B5EF4-FFF2-40B4-BE49-F238E27FC236}">
                  <a16:creationId xmlns:a16="http://schemas.microsoft.com/office/drawing/2014/main" xmlns="" id="{8CAD7B82-8227-4F91-9598-4F01D21E3ABF}"/>
                </a:ext>
              </a:extLst>
            </p:cNvPr>
            <p:cNvSpPr/>
            <p:nvPr userDrawn="1"/>
          </p:nvSpPr>
          <p:spPr bwMode="auto">
            <a:xfrm>
              <a:off x="5748338" y="3529013"/>
              <a:ext cx="161925" cy="95250"/>
            </a:xfrm>
            <a:custGeom>
              <a:avLst/>
              <a:gdLst>
                <a:gd name="T0" fmla="*/ 49 w 49"/>
                <a:gd name="T1" fmla="*/ 15 h 29"/>
                <a:gd name="T2" fmla="*/ 25 w 49"/>
                <a:gd name="T3" fmla="*/ 29 h 29"/>
                <a:gd name="T4" fmla="*/ 0 w 49"/>
                <a:gd name="T5" fmla="*/ 15 h 29"/>
                <a:gd name="T6" fmla="*/ 24 w 49"/>
                <a:gd name="T7" fmla="*/ 0 h 29"/>
                <a:gd name="T8" fmla="*/ 49 w 49"/>
                <a:gd name="T9" fmla="*/ 1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5"/>
                  </a:moveTo>
                  <a:cubicBezTo>
                    <a:pt x="39" y="20"/>
                    <a:pt x="34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1" name="ísľïḑé">
              <a:extLst>
                <a:ext uri="{FF2B5EF4-FFF2-40B4-BE49-F238E27FC236}">
                  <a16:creationId xmlns:a16="http://schemas.microsoft.com/office/drawing/2014/main" xmlns="" id="{6A052528-04DC-47B1-8F71-B78F5A7C4043}"/>
                </a:ext>
              </a:extLst>
            </p:cNvPr>
            <p:cNvSpPr/>
            <p:nvPr userDrawn="1"/>
          </p:nvSpPr>
          <p:spPr bwMode="auto">
            <a:xfrm>
              <a:off x="5867401" y="3463926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2" name="ïṣľíḋe">
              <a:extLst>
                <a:ext uri="{FF2B5EF4-FFF2-40B4-BE49-F238E27FC236}">
                  <a16:creationId xmlns:a16="http://schemas.microsoft.com/office/drawing/2014/main" xmlns="" id="{330319B4-BEE0-4664-9451-C0608908E8A7}"/>
                </a:ext>
              </a:extLst>
            </p:cNvPr>
            <p:cNvSpPr/>
            <p:nvPr userDrawn="1"/>
          </p:nvSpPr>
          <p:spPr bwMode="auto">
            <a:xfrm>
              <a:off x="5984876" y="3394076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3" name="îṣľîdè">
              <a:extLst>
                <a:ext uri="{FF2B5EF4-FFF2-40B4-BE49-F238E27FC236}">
                  <a16:creationId xmlns:a16="http://schemas.microsoft.com/office/drawing/2014/main" xmlns="" id="{8B6735AD-52E4-4653-9761-D0B75EB61641}"/>
                </a:ext>
              </a:extLst>
            </p:cNvPr>
            <p:cNvSpPr/>
            <p:nvPr userDrawn="1"/>
          </p:nvSpPr>
          <p:spPr bwMode="auto">
            <a:xfrm>
              <a:off x="6103938" y="3324226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4" name="îşḷîdè">
              <a:extLst>
                <a:ext uri="{FF2B5EF4-FFF2-40B4-BE49-F238E27FC236}">
                  <a16:creationId xmlns:a16="http://schemas.microsoft.com/office/drawing/2014/main" xmlns="" id="{18973556-C3AB-4989-A479-4ED43A8267D4}"/>
                </a:ext>
              </a:extLst>
            </p:cNvPr>
            <p:cNvSpPr/>
            <p:nvPr userDrawn="1"/>
          </p:nvSpPr>
          <p:spPr bwMode="auto">
            <a:xfrm>
              <a:off x="6226176" y="32559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5" name="iŝļïďé">
              <a:extLst>
                <a:ext uri="{FF2B5EF4-FFF2-40B4-BE49-F238E27FC236}">
                  <a16:creationId xmlns:a16="http://schemas.microsoft.com/office/drawing/2014/main" xmlns="" id="{5F4E97A4-7C51-400C-A266-48FD3A4479A2}"/>
                </a:ext>
              </a:extLst>
            </p:cNvPr>
            <p:cNvSpPr/>
            <p:nvPr userDrawn="1"/>
          </p:nvSpPr>
          <p:spPr bwMode="auto">
            <a:xfrm>
              <a:off x="6345238" y="3157538"/>
              <a:ext cx="214313" cy="123825"/>
            </a:xfrm>
            <a:custGeom>
              <a:avLst/>
              <a:gdLst>
                <a:gd name="T0" fmla="*/ 65 w 65"/>
                <a:gd name="T1" fmla="*/ 15 h 38"/>
                <a:gd name="T2" fmla="*/ 25 w 65"/>
                <a:gd name="T3" fmla="*/ 38 h 38"/>
                <a:gd name="T4" fmla="*/ 0 w 65"/>
                <a:gd name="T5" fmla="*/ 24 h 38"/>
                <a:gd name="T6" fmla="*/ 40 w 65"/>
                <a:gd name="T7" fmla="*/ 0 h 38"/>
                <a:gd name="T8" fmla="*/ 65 w 65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8">
                  <a:moveTo>
                    <a:pt x="65" y="15"/>
                  </a:moveTo>
                  <a:cubicBezTo>
                    <a:pt x="49" y="24"/>
                    <a:pt x="41" y="28"/>
                    <a:pt x="25" y="38"/>
                  </a:cubicBezTo>
                  <a:cubicBezTo>
                    <a:pt x="15" y="32"/>
                    <a:pt x="10" y="29"/>
                    <a:pt x="0" y="24"/>
                  </a:cubicBezTo>
                  <a:cubicBezTo>
                    <a:pt x="16" y="14"/>
                    <a:pt x="24" y="10"/>
                    <a:pt x="40" y="0"/>
                  </a:cubicBezTo>
                  <a:cubicBezTo>
                    <a:pt x="50" y="6"/>
                    <a:pt x="55" y="9"/>
                    <a:pt x="65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6" name="isliďê">
              <a:extLst>
                <a:ext uri="{FF2B5EF4-FFF2-40B4-BE49-F238E27FC236}">
                  <a16:creationId xmlns:a16="http://schemas.microsoft.com/office/drawing/2014/main" xmlns="" id="{DF523883-79BF-4F56-9C24-52798D7CE476}"/>
                </a:ext>
              </a:extLst>
            </p:cNvPr>
            <p:cNvSpPr/>
            <p:nvPr userDrawn="1"/>
          </p:nvSpPr>
          <p:spPr bwMode="auto">
            <a:xfrm>
              <a:off x="6464301" y="31210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7" name="íṩliḍé">
              <a:extLst>
                <a:ext uri="{FF2B5EF4-FFF2-40B4-BE49-F238E27FC236}">
                  <a16:creationId xmlns:a16="http://schemas.microsoft.com/office/drawing/2014/main" xmlns="" id="{8779DD0A-1812-4737-8242-ADD01E0C7018}"/>
                </a:ext>
              </a:extLst>
            </p:cNvPr>
            <p:cNvSpPr/>
            <p:nvPr userDrawn="1"/>
          </p:nvSpPr>
          <p:spPr bwMode="auto">
            <a:xfrm>
              <a:off x="5280026" y="3948113"/>
              <a:ext cx="163513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8" name="išḷïḓé">
              <a:extLst>
                <a:ext uri="{FF2B5EF4-FFF2-40B4-BE49-F238E27FC236}">
                  <a16:creationId xmlns:a16="http://schemas.microsoft.com/office/drawing/2014/main" xmlns="" id="{196AD361-97D7-4030-A39D-612FBC816BFF}"/>
                </a:ext>
              </a:extLst>
            </p:cNvPr>
            <p:cNvSpPr/>
            <p:nvPr userDrawn="1"/>
          </p:nvSpPr>
          <p:spPr bwMode="auto">
            <a:xfrm>
              <a:off x="5397501" y="3878263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9" name="íšliḍè">
              <a:extLst>
                <a:ext uri="{FF2B5EF4-FFF2-40B4-BE49-F238E27FC236}">
                  <a16:creationId xmlns:a16="http://schemas.microsoft.com/office/drawing/2014/main" xmlns="" id="{BF2DF33E-25D3-4D3A-8FC2-E54327EA115D}"/>
                </a:ext>
              </a:extLst>
            </p:cNvPr>
            <p:cNvSpPr/>
            <p:nvPr userDrawn="1"/>
          </p:nvSpPr>
          <p:spPr bwMode="auto">
            <a:xfrm>
              <a:off x="5519738" y="38100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0" name="iṥ1iďê">
              <a:extLst>
                <a:ext uri="{FF2B5EF4-FFF2-40B4-BE49-F238E27FC236}">
                  <a16:creationId xmlns:a16="http://schemas.microsoft.com/office/drawing/2014/main" xmlns="" id="{658440A3-F7DA-4B27-A157-E965564EABF4}"/>
                </a:ext>
              </a:extLst>
            </p:cNvPr>
            <p:cNvSpPr/>
            <p:nvPr userDrawn="1"/>
          </p:nvSpPr>
          <p:spPr bwMode="auto">
            <a:xfrm>
              <a:off x="5638801" y="3397251"/>
              <a:ext cx="758825" cy="438150"/>
            </a:xfrm>
            <a:custGeom>
              <a:avLst/>
              <a:gdLst>
                <a:gd name="T0" fmla="*/ 230 w 230"/>
                <a:gd name="T1" fmla="*/ 15 h 133"/>
                <a:gd name="T2" fmla="*/ 25 w 230"/>
                <a:gd name="T3" fmla="*/ 133 h 133"/>
                <a:gd name="T4" fmla="*/ 0 w 230"/>
                <a:gd name="T5" fmla="*/ 119 h 133"/>
                <a:gd name="T6" fmla="*/ 206 w 230"/>
                <a:gd name="T7" fmla="*/ 0 h 133"/>
                <a:gd name="T8" fmla="*/ 230 w 230"/>
                <a:gd name="T9" fmla="*/ 1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133">
                  <a:moveTo>
                    <a:pt x="230" y="15"/>
                  </a:moveTo>
                  <a:cubicBezTo>
                    <a:pt x="162" y="54"/>
                    <a:pt x="93" y="93"/>
                    <a:pt x="25" y="133"/>
                  </a:cubicBezTo>
                  <a:cubicBezTo>
                    <a:pt x="15" y="127"/>
                    <a:pt x="10" y="124"/>
                    <a:pt x="0" y="119"/>
                  </a:cubicBezTo>
                  <a:cubicBezTo>
                    <a:pt x="68" y="79"/>
                    <a:pt x="137" y="40"/>
                    <a:pt x="206" y="0"/>
                  </a:cubicBezTo>
                  <a:cubicBezTo>
                    <a:pt x="216" y="6"/>
                    <a:pt x="221" y="9"/>
                    <a:pt x="230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1" name="iSḷîḋe">
              <a:extLst>
                <a:ext uri="{FF2B5EF4-FFF2-40B4-BE49-F238E27FC236}">
                  <a16:creationId xmlns:a16="http://schemas.microsoft.com/office/drawing/2014/main" xmlns="" id="{BE2D1CD3-19AC-46C1-B78E-CA9AA28099E0}"/>
                </a:ext>
              </a:extLst>
            </p:cNvPr>
            <p:cNvSpPr/>
            <p:nvPr userDrawn="1"/>
          </p:nvSpPr>
          <p:spPr bwMode="auto">
            <a:xfrm>
              <a:off x="6354763" y="33321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2" name="ïṥḷíḍé">
              <a:extLst>
                <a:ext uri="{FF2B5EF4-FFF2-40B4-BE49-F238E27FC236}">
                  <a16:creationId xmlns:a16="http://schemas.microsoft.com/office/drawing/2014/main" xmlns="" id="{98E9DFF9-F9DA-41B7-A24B-7F4692630EE1}"/>
                </a:ext>
              </a:extLst>
            </p:cNvPr>
            <p:cNvSpPr/>
            <p:nvPr userDrawn="1"/>
          </p:nvSpPr>
          <p:spPr bwMode="auto">
            <a:xfrm>
              <a:off x="6477001" y="326231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2"/>
                    <a:pt x="24" y="28"/>
                  </a:cubicBezTo>
                  <a:cubicBezTo>
                    <a:pt x="14" y="22"/>
                    <a:pt x="9" y="20"/>
                    <a:pt x="0" y="14"/>
                  </a:cubicBezTo>
                  <a:cubicBezTo>
                    <a:pt x="9" y="8"/>
                    <a:pt x="14" y="6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3" name="iṩļiḑe">
              <a:extLst>
                <a:ext uri="{FF2B5EF4-FFF2-40B4-BE49-F238E27FC236}">
                  <a16:creationId xmlns:a16="http://schemas.microsoft.com/office/drawing/2014/main" xmlns="" id="{DA4E753F-6E6C-4CFC-935F-3CEBA547C685}"/>
                </a:ext>
              </a:extLst>
            </p:cNvPr>
            <p:cNvSpPr/>
            <p:nvPr userDrawn="1"/>
          </p:nvSpPr>
          <p:spPr bwMode="auto">
            <a:xfrm>
              <a:off x="6596063" y="31924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4" name="ísḻïḑe">
              <a:extLst>
                <a:ext uri="{FF2B5EF4-FFF2-40B4-BE49-F238E27FC236}">
                  <a16:creationId xmlns:a16="http://schemas.microsoft.com/office/drawing/2014/main" xmlns="" id="{C75B819D-7CDD-4816-A862-4FA7F13DFF84}"/>
                </a:ext>
              </a:extLst>
            </p:cNvPr>
            <p:cNvSpPr/>
            <p:nvPr userDrawn="1"/>
          </p:nvSpPr>
          <p:spPr bwMode="auto">
            <a:xfrm>
              <a:off x="5843588" y="3546476"/>
              <a:ext cx="877888" cy="517525"/>
            </a:xfrm>
            <a:custGeom>
              <a:avLst/>
              <a:gdLst>
                <a:gd name="T0" fmla="*/ 0 w 553"/>
                <a:gd name="T1" fmla="*/ 203 h 326"/>
                <a:gd name="T2" fmla="*/ 353 w 553"/>
                <a:gd name="T3" fmla="*/ 0 h 326"/>
                <a:gd name="T4" fmla="*/ 553 w 553"/>
                <a:gd name="T5" fmla="*/ 124 h 326"/>
                <a:gd name="T6" fmla="*/ 202 w 553"/>
                <a:gd name="T7" fmla="*/ 326 h 326"/>
                <a:gd name="T8" fmla="*/ 0 w 553"/>
                <a:gd name="T9" fmla="*/ 20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3" h="326">
                  <a:moveTo>
                    <a:pt x="0" y="203"/>
                  </a:moveTo>
                  <a:lnTo>
                    <a:pt x="353" y="0"/>
                  </a:lnTo>
                  <a:lnTo>
                    <a:pt x="553" y="124"/>
                  </a:lnTo>
                  <a:lnTo>
                    <a:pt x="202" y="326"/>
                  </a:lnTo>
                  <a:lnTo>
                    <a:pt x="0" y="203"/>
                  </a:ln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5" name="îşļïdè">
              <a:extLst>
                <a:ext uri="{FF2B5EF4-FFF2-40B4-BE49-F238E27FC236}">
                  <a16:creationId xmlns:a16="http://schemas.microsoft.com/office/drawing/2014/main" xmlns="" id="{B39FF987-F311-4495-9680-B943E6472C80}"/>
                </a:ext>
              </a:extLst>
            </p:cNvPr>
            <p:cNvSpPr/>
            <p:nvPr userDrawn="1"/>
          </p:nvSpPr>
          <p:spPr bwMode="auto">
            <a:xfrm>
              <a:off x="5849938" y="2230438"/>
              <a:ext cx="95250" cy="58738"/>
            </a:xfrm>
            <a:custGeom>
              <a:avLst/>
              <a:gdLst>
                <a:gd name="T0" fmla="*/ 0 w 60"/>
                <a:gd name="T1" fmla="*/ 35 h 37"/>
                <a:gd name="T2" fmla="*/ 60 w 60"/>
                <a:gd name="T3" fmla="*/ 0 h 37"/>
                <a:gd name="T4" fmla="*/ 60 w 60"/>
                <a:gd name="T5" fmla="*/ 2 h 37"/>
                <a:gd name="T6" fmla="*/ 0 w 60"/>
                <a:gd name="T7" fmla="*/ 37 h 37"/>
                <a:gd name="T8" fmla="*/ 0 w 60"/>
                <a:gd name="T9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37">
                  <a:moveTo>
                    <a:pt x="0" y="35"/>
                  </a:moveTo>
                  <a:lnTo>
                    <a:pt x="60" y="0"/>
                  </a:lnTo>
                  <a:lnTo>
                    <a:pt x="60" y="2"/>
                  </a:lnTo>
                  <a:lnTo>
                    <a:pt x="0" y="37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6" name="ïsļídè">
              <a:extLst>
                <a:ext uri="{FF2B5EF4-FFF2-40B4-BE49-F238E27FC236}">
                  <a16:creationId xmlns:a16="http://schemas.microsoft.com/office/drawing/2014/main" xmlns="" id="{6F5FF83F-1160-4E4D-B0C0-848971655BE7}"/>
                </a:ext>
              </a:extLst>
            </p:cNvPr>
            <p:cNvSpPr/>
            <p:nvPr userDrawn="1"/>
          </p:nvSpPr>
          <p:spPr bwMode="auto">
            <a:xfrm>
              <a:off x="5773738" y="2306638"/>
              <a:ext cx="36513" cy="25400"/>
            </a:xfrm>
            <a:custGeom>
              <a:avLst/>
              <a:gdLst>
                <a:gd name="T0" fmla="*/ 0 w 23"/>
                <a:gd name="T1" fmla="*/ 16 h 16"/>
                <a:gd name="T2" fmla="*/ 0 w 23"/>
                <a:gd name="T3" fmla="*/ 14 h 16"/>
                <a:gd name="T4" fmla="*/ 23 w 23"/>
                <a:gd name="T5" fmla="*/ 0 h 16"/>
                <a:gd name="T6" fmla="*/ 21 w 23"/>
                <a:gd name="T7" fmla="*/ 4 h 16"/>
                <a:gd name="T8" fmla="*/ 0 w 2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6">
                  <a:moveTo>
                    <a:pt x="0" y="16"/>
                  </a:moveTo>
                  <a:lnTo>
                    <a:pt x="0" y="14"/>
                  </a:lnTo>
                  <a:lnTo>
                    <a:pt x="23" y="0"/>
                  </a:lnTo>
                  <a:lnTo>
                    <a:pt x="21" y="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7" name="ïṩļîdè">
              <a:extLst>
                <a:ext uri="{FF2B5EF4-FFF2-40B4-BE49-F238E27FC236}">
                  <a16:creationId xmlns:a16="http://schemas.microsoft.com/office/drawing/2014/main" xmlns="" id="{61F1CF67-4767-4441-97D3-8F1B4D9D5E14}"/>
                </a:ext>
              </a:extLst>
            </p:cNvPr>
            <p:cNvSpPr/>
            <p:nvPr userDrawn="1"/>
          </p:nvSpPr>
          <p:spPr bwMode="auto">
            <a:xfrm>
              <a:off x="5892801" y="2335213"/>
              <a:ext cx="52388" cy="36513"/>
            </a:xfrm>
            <a:custGeom>
              <a:avLst/>
              <a:gdLst>
                <a:gd name="T0" fmla="*/ 0 w 33"/>
                <a:gd name="T1" fmla="*/ 21 h 23"/>
                <a:gd name="T2" fmla="*/ 33 w 33"/>
                <a:gd name="T3" fmla="*/ 0 h 23"/>
                <a:gd name="T4" fmla="*/ 33 w 33"/>
                <a:gd name="T5" fmla="*/ 5 h 23"/>
                <a:gd name="T6" fmla="*/ 2 w 33"/>
                <a:gd name="T7" fmla="*/ 23 h 23"/>
                <a:gd name="T8" fmla="*/ 0 w 3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0" y="21"/>
                  </a:moveTo>
                  <a:lnTo>
                    <a:pt x="33" y="0"/>
                  </a:lnTo>
                  <a:lnTo>
                    <a:pt x="33" y="5"/>
                  </a:lnTo>
                  <a:lnTo>
                    <a:pt x="2" y="23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8" name="ïṧľîḋe">
              <a:extLst>
                <a:ext uri="{FF2B5EF4-FFF2-40B4-BE49-F238E27FC236}">
                  <a16:creationId xmlns:a16="http://schemas.microsoft.com/office/drawing/2014/main" xmlns="" id="{0ACA5735-D897-45E5-8CF4-27BAFDF308A2}"/>
                </a:ext>
              </a:extLst>
            </p:cNvPr>
            <p:cNvSpPr/>
            <p:nvPr userDrawn="1"/>
          </p:nvSpPr>
          <p:spPr bwMode="auto">
            <a:xfrm>
              <a:off x="5705476" y="2249488"/>
              <a:ext cx="239713" cy="357188"/>
            </a:xfrm>
            <a:custGeom>
              <a:avLst/>
              <a:gdLst>
                <a:gd name="T0" fmla="*/ 120 w 151"/>
                <a:gd name="T1" fmla="*/ 77 h 225"/>
                <a:gd name="T2" fmla="*/ 151 w 151"/>
                <a:gd name="T3" fmla="*/ 137 h 225"/>
                <a:gd name="T4" fmla="*/ 112 w 151"/>
                <a:gd name="T5" fmla="*/ 160 h 225"/>
                <a:gd name="T6" fmla="*/ 0 w 151"/>
                <a:gd name="T7" fmla="*/ 225 h 225"/>
                <a:gd name="T8" fmla="*/ 54 w 151"/>
                <a:gd name="T9" fmla="*/ 69 h 225"/>
                <a:gd name="T10" fmla="*/ 64 w 151"/>
                <a:gd name="T11" fmla="*/ 40 h 225"/>
                <a:gd name="T12" fmla="*/ 66 w 151"/>
                <a:gd name="T13" fmla="*/ 36 h 225"/>
                <a:gd name="T14" fmla="*/ 79 w 151"/>
                <a:gd name="T15" fmla="*/ 0 h 225"/>
                <a:gd name="T16" fmla="*/ 91 w 151"/>
                <a:gd name="T17" fmla="*/ 23 h 225"/>
                <a:gd name="T18" fmla="*/ 91 w 151"/>
                <a:gd name="T19" fmla="*/ 25 h 225"/>
                <a:gd name="T20" fmla="*/ 118 w 151"/>
                <a:gd name="T21" fmla="*/ 75 h 225"/>
                <a:gd name="T22" fmla="*/ 120 w 151"/>
                <a:gd name="T23" fmla="*/ 7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1" h="225">
                  <a:moveTo>
                    <a:pt x="120" y="77"/>
                  </a:moveTo>
                  <a:lnTo>
                    <a:pt x="151" y="137"/>
                  </a:lnTo>
                  <a:lnTo>
                    <a:pt x="112" y="160"/>
                  </a:lnTo>
                  <a:lnTo>
                    <a:pt x="0" y="225"/>
                  </a:lnTo>
                  <a:lnTo>
                    <a:pt x="54" y="69"/>
                  </a:lnTo>
                  <a:lnTo>
                    <a:pt x="64" y="40"/>
                  </a:lnTo>
                  <a:lnTo>
                    <a:pt x="66" y="36"/>
                  </a:lnTo>
                  <a:lnTo>
                    <a:pt x="79" y="0"/>
                  </a:lnTo>
                  <a:lnTo>
                    <a:pt x="91" y="23"/>
                  </a:lnTo>
                  <a:lnTo>
                    <a:pt x="91" y="25"/>
                  </a:lnTo>
                  <a:lnTo>
                    <a:pt x="118" y="75"/>
                  </a:lnTo>
                  <a:lnTo>
                    <a:pt x="120" y="7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9" name="îş1iḓê">
              <a:extLst>
                <a:ext uri="{FF2B5EF4-FFF2-40B4-BE49-F238E27FC236}">
                  <a16:creationId xmlns:a16="http://schemas.microsoft.com/office/drawing/2014/main" xmlns="" id="{D5ECFE29-BC95-4C54-8890-5E87437E1F10}"/>
                </a:ext>
              </a:extLst>
            </p:cNvPr>
            <p:cNvSpPr/>
            <p:nvPr userDrawn="1"/>
          </p:nvSpPr>
          <p:spPr bwMode="auto">
            <a:xfrm>
              <a:off x="5638801" y="2292351"/>
              <a:ext cx="152400" cy="314325"/>
            </a:xfrm>
            <a:custGeom>
              <a:avLst/>
              <a:gdLst>
                <a:gd name="T0" fmla="*/ 85 w 96"/>
                <a:gd name="T1" fmla="*/ 25 h 198"/>
                <a:gd name="T2" fmla="*/ 96 w 96"/>
                <a:gd name="T3" fmla="*/ 42 h 198"/>
                <a:gd name="T4" fmla="*/ 42 w 96"/>
                <a:gd name="T5" fmla="*/ 198 h 198"/>
                <a:gd name="T6" fmla="*/ 0 w 96"/>
                <a:gd name="T7" fmla="*/ 181 h 198"/>
                <a:gd name="T8" fmla="*/ 21 w 96"/>
                <a:gd name="T9" fmla="*/ 131 h 198"/>
                <a:gd name="T10" fmla="*/ 21 w 96"/>
                <a:gd name="T11" fmla="*/ 127 h 198"/>
                <a:gd name="T12" fmla="*/ 54 w 96"/>
                <a:gd name="T13" fmla="*/ 44 h 198"/>
                <a:gd name="T14" fmla="*/ 54 w 96"/>
                <a:gd name="T15" fmla="*/ 40 h 198"/>
                <a:gd name="T16" fmla="*/ 71 w 96"/>
                <a:gd name="T17" fmla="*/ 0 h 198"/>
                <a:gd name="T18" fmla="*/ 85 w 96"/>
                <a:gd name="T19" fmla="*/ 23 h 198"/>
                <a:gd name="T20" fmla="*/ 85 w 96"/>
                <a:gd name="T21" fmla="*/ 25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198">
                  <a:moveTo>
                    <a:pt x="85" y="25"/>
                  </a:moveTo>
                  <a:lnTo>
                    <a:pt x="96" y="42"/>
                  </a:lnTo>
                  <a:lnTo>
                    <a:pt x="42" y="198"/>
                  </a:lnTo>
                  <a:lnTo>
                    <a:pt x="0" y="181"/>
                  </a:lnTo>
                  <a:lnTo>
                    <a:pt x="21" y="131"/>
                  </a:lnTo>
                  <a:lnTo>
                    <a:pt x="21" y="127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71" y="0"/>
                  </a:lnTo>
                  <a:lnTo>
                    <a:pt x="85" y="23"/>
                  </a:lnTo>
                  <a:lnTo>
                    <a:pt x="85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0" name="ïSľîḋe">
              <a:extLst>
                <a:ext uri="{FF2B5EF4-FFF2-40B4-BE49-F238E27FC236}">
                  <a16:creationId xmlns:a16="http://schemas.microsoft.com/office/drawing/2014/main" xmlns="" id="{202640B7-7735-464F-9A39-8736A16DFA28}"/>
                </a:ext>
              </a:extLst>
            </p:cNvPr>
            <p:cNvSpPr/>
            <p:nvPr userDrawn="1"/>
          </p:nvSpPr>
          <p:spPr bwMode="auto">
            <a:xfrm>
              <a:off x="5443538" y="2557463"/>
              <a:ext cx="261938" cy="200025"/>
            </a:xfrm>
            <a:custGeom>
              <a:avLst/>
              <a:gdLst>
                <a:gd name="T0" fmla="*/ 82 w 165"/>
                <a:gd name="T1" fmla="*/ 0 h 126"/>
                <a:gd name="T2" fmla="*/ 123 w 165"/>
                <a:gd name="T3" fmla="*/ 14 h 126"/>
                <a:gd name="T4" fmla="*/ 165 w 165"/>
                <a:gd name="T5" fmla="*/ 31 h 126"/>
                <a:gd name="T6" fmla="*/ 104 w 165"/>
                <a:gd name="T7" fmla="*/ 66 h 126"/>
                <a:gd name="T8" fmla="*/ 0 w 165"/>
                <a:gd name="T9" fmla="*/ 126 h 126"/>
                <a:gd name="T10" fmla="*/ 67 w 165"/>
                <a:gd name="T11" fmla="*/ 18 h 126"/>
                <a:gd name="T12" fmla="*/ 79 w 165"/>
                <a:gd name="T13" fmla="*/ 0 h 126"/>
                <a:gd name="T14" fmla="*/ 82 w 165"/>
                <a:gd name="T15" fmla="*/ 0 h 126"/>
                <a:gd name="T16" fmla="*/ 82 w 165"/>
                <a:gd name="T1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26">
                  <a:moveTo>
                    <a:pt x="82" y="0"/>
                  </a:moveTo>
                  <a:lnTo>
                    <a:pt x="123" y="14"/>
                  </a:lnTo>
                  <a:lnTo>
                    <a:pt x="165" y="31"/>
                  </a:lnTo>
                  <a:lnTo>
                    <a:pt x="104" y="66"/>
                  </a:lnTo>
                  <a:lnTo>
                    <a:pt x="0" y="126"/>
                  </a:lnTo>
                  <a:lnTo>
                    <a:pt x="67" y="18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1" name="íṧľiḓè">
              <a:extLst>
                <a:ext uri="{FF2B5EF4-FFF2-40B4-BE49-F238E27FC236}">
                  <a16:creationId xmlns:a16="http://schemas.microsoft.com/office/drawing/2014/main" xmlns="" id="{2BB718A4-8BD7-4C62-8D21-9364EBFC506E}"/>
                </a:ext>
              </a:extLst>
            </p:cNvPr>
            <p:cNvSpPr/>
            <p:nvPr userDrawn="1"/>
          </p:nvSpPr>
          <p:spPr bwMode="auto">
            <a:xfrm>
              <a:off x="5540376" y="2493963"/>
              <a:ext cx="131763" cy="79375"/>
            </a:xfrm>
            <a:custGeom>
              <a:avLst/>
              <a:gdLst>
                <a:gd name="T0" fmla="*/ 0 w 83"/>
                <a:gd name="T1" fmla="*/ 50 h 50"/>
                <a:gd name="T2" fmla="*/ 0 w 83"/>
                <a:gd name="T3" fmla="*/ 50 h 50"/>
                <a:gd name="T4" fmla="*/ 83 w 83"/>
                <a:gd name="T5" fmla="*/ 0 h 50"/>
                <a:gd name="T6" fmla="*/ 83 w 83"/>
                <a:gd name="T7" fmla="*/ 4 h 50"/>
                <a:gd name="T8" fmla="*/ 21 w 83"/>
                <a:gd name="T9" fmla="*/ 40 h 50"/>
                <a:gd name="T10" fmla="*/ 21 w 83"/>
                <a:gd name="T11" fmla="*/ 40 h 50"/>
                <a:gd name="T12" fmla="*/ 18 w 83"/>
                <a:gd name="T13" fmla="*/ 40 h 50"/>
                <a:gd name="T14" fmla="*/ 0 w 83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50">
                  <a:moveTo>
                    <a:pt x="0" y="50"/>
                  </a:moveTo>
                  <a:lnTo>
                    <a:pt x="0" y="50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8" y="4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2" name="iṥľiḋe">
              <a:extLst>
                <a:ext uri="{FF2B5EF4-FFF2-40B4-BE49-F238E27FC236}">
                  <a16:creationId xmlns:a16="http://schemas.microsoft.com/office/drawing/2014/main" xmlns="" id="{8668FCA2-E8DE-4CE3-BCF1-40BDE02384D4}"/>
                </a:ext>
              </a:extLst>
            </p:cNvPr>
            <p:cNvSpPr/>
            <p:nvPr userDrawn="1"/>
          </p:nvSpPr>
          <p:spPr bwMode="auto">
            <a:xfrm>
              <a:off x="5418138" y="2517776"/>
              <a:ext cx="131763" cy="239713"/>
            </a:xfrm>
            <a:custGeom>
              <a:avLst/>
              <a:gdLst>
                <a:gd name="T0" fmla="*/ 77 w 83"/>
                <a:gd name="T1" fmla="*/ 35 h 151"/>
                <a:gd name="T2" fmla="*/ 83 w 83"/>
                <a:gd name="T3" fmla="*/ 43 h 151"/>
                <a:gd name="T4" fmla="*/ 16 w 83"/>
                <a:gd name="T5" fmla="*/ 151 h 151"/>
                <a:gd name="T6" fmla="*/ 0 w 83"/>
                <a:gd name="T7" fmla="*/ 120 h 151"/>
                <a:gd name="T8" fmla="*/ 21 w 83"/>
                <a:gd name="T9" fmla="*/ 68 h 151"/>
                <a:gd name="T10" fmla="*/ 23 w 83"/>
                <a:gd name="T11" fmla="*/ 66 h 151"/>
                <a:gd name="T12" fmla="*/ 50 w 83"/>
                <a:gd name="T13" fmla="*/ 0 h 151"/>
                <a:gd name="T14" fmla="*/ 77 w 83"/>
                <a:gd name="T15" fmla="*/ 35 h 151"/>
                <a:gd name="T16" fmla="*/ 77 w 83"/>
                <a:gd name="T17" fmla="*/ 3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51">
                  <a:moveTo>
                    <a:pt x="77" y="35"/>
                  </a:moveTo>
                  <a:lnTo>
                    <a:pt x="83" y="43"/>
                  </a:lnTo>
                  <a:lnTo>
                    <a:pt x="16" y="151"/>
                  </a:lnTo>
                  <a:lnTo>
                    <a:pt x="0" y="120"/>
                  </a:lnTo>
                  <a:lnTo>
                    <a:pt x="21" y="68"/>
                  </a:lnTo>
                  <a:lnTo>
                    <a:pt x="23" y="66"/>
                  </a:lnTo>
                  <a:lnTo>
                    <a:pt x="50" y="0"/>
                  </a:lnTo>
                  <a:lnTo>
                    <a:pt x="77" y="35"/>
                  </a:lnTo>
                  <a:lnTo>
                    <a:pt x="77" y="3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3" name="îṧḻîdê">
              <a:extLst>
                <a:ext uri="{FF2B5EF4-FFF2-40B4-BE49-F238E27FC236}">
                  <a16:creationId xmlns:a16="http://schemas.microsoft.com/office/drawing/2014/main" xmlns="" id="{771B0BBC-0271-4CBF-BADC-88FF4A8515DA}"/>
                </a:ext>
              </a:extLst>
            </p:cNvPr>
            <p:cNvSpPr/>
            <p:nvPr userDrawn="1"/>
          </p:nvSpPr>
          <p:spPr bwMode="auto">
            <a:xfrm>
              <a:off x="5391151" y="2622551"/>
              <a:ext cx="63500" cy="36513"/>
            </a:xfrm>
            <a:custGeom>
              <a:avLst/>
              <a:gdLst>
                <a:gd name="T0" fmla="*/ 0 w 40"/>
                <a:gd name="T1" fmla="*/ 23 h 23"/>
                <a:gd name="T2" fmla="*/ 0 w 40"/>
                <a:gd name="T3" fmla="*/ 21 h 23"/>
                <a:gd name="T4" fmla="*/ 40 w 40"/>
                <a:gd name="T5" fmla="*/ 0 h 23"/>
                <a:gd name="T6" fmla="*/ 38 w 40"/>
                <a:gd name="T7" fmla="*/ 2 h 23"/>
                <a:gd name="T8" fmla="*/ 0 w 40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0" y="23"/>
                  </a:moveTo>
                  <a:lnTo>
                    <a:pt x="0" y="21"/>
                  </a:lnTo>
                  <a:lnTo>
                    <a:pt x="40" y="0"/>
                  </a:lnTo>
                  <a:lnTo>
                    <a:pt x="38" y="2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4" name="îşḷîḋe">
              <a:extLst>
                <a:ext uri="{FF2B5EF4-FFF2-40B4-BE49-F238E27FC236}">
                  <a16:creationId xmlns:a16="http://schemas.microsoft.com/office/drawing/2014/main" xmlns="" id="{E9A69E4E-5ADC-45EB-846E-C916C717B918}"/>
                </a:ext>
              </a:extLst>
            </p:cNvPr>
            <p:cNvSpPr/>
            <p:nvPr userDrawn="1"/>
          </p:nvSpPr>
          <p:spPr bwMode="auto">
            <a:xfrm>
              <a:off x="5348288" y="2355851"/>
              <a:ext cx="376238" cy="220663"/>
            </a:xfrm>
            <a:custGeom>
              <a:avLst/>
              <a:gdLst>
                <a:gd name="T0" fmla="*/ 2 w 237"/>
                <a:gd name="T1" fmla="*/ 139 h 139"/>
                <a:gd name="T2" fmla="*/ 0 w 237"/>
                <a:gd name="T3" fmla="*/ 137 h 139"/>
                <a:gd name="T4" fmla="*/ 237 w 237"/>
                <a:gd name="T5" fmla="*/ 0 h 139"/>
                <a:gd name="T6" fmla="*/ 237 w 237"/>
                <a:gd name="T7" fmla="*/ 4 h 139"/>
                <a:gd name="T8" fmla="*/ 2 w 237"/>
                <a:gd name="T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39">
                  <a:moveTo>
                    <a:pt x="2" y="139"/>
                  </a:moveTo>
                  <a:lnTo>
                    <a:pt x="0" y="137"/>
                  </a:lnTo>
                  <a:lnTo>
                    <a:pt x="237" y="0"/>
                  </a:lnTo>
                  <a:lnTo>
                    <a:pt x="237" y="4"/>
                  </a:lnTo>
                  <a:lnTo>
                    <a:pt x="2" y="13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5" name="íṧľïḍe">
              <a:extLst>
                <a:ext uri="{FF2B5EF4-FFF2-40B4-BE49-F238E27FC236}">
                  <a16:creationId xmlns:a16="http://schemas.microsoft.com/office/drawing/2014/main" xmlns="" id="{551953D6-E41D-4F77-BEA2-320A9F22017E}"/>
                </a:ext>
              </a:extLst>
            </p:cNvPr>
            <p:cNvSpPr/>
            <p:nvPr userDrawn="1"/>
          </p:nvSpPr>
          <p:spPr bwMode="auto">
            <a:xfrm>
              <a:off x="5222876" y="2540001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6" name="ïślíḋè">
              <a:extLst>
                <a:ext uri="{FF2B5EF4-FFF2-40B4-BE49-F238E27FC236}">
                  <a16:creationId xmlns:a16="http://schemas.microsoft.com/office/drawing/2014/main" xmlns="" id="{EC7C67B2-596A-46FD-A4AF-F8EDE1B90CE5}"/>
                </a:ext>
              </a:extLst>
            </p:cNvPr>
            <p:cNvSpPr/>
            <p:nvPr userDrawn="1"/>
          </p:nvSpPr>
          <p:spPr bwMode="auto">
            <a:xfrm>
              <a:off x="5222876" y="2540001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7" name="ïṣ1iḍé">
              <a:extLst>
                <a:ext uri="{FF2B5EF4-FFF2-40B4-BE49-F238E27FC236}">
                  <a16:creationId xmlns:a16="http://schemas.microsoft.com/office/drawing/2014/main" xmlns="" id="{D46A48A8-7872-4D8D-8839-C100160CB958}"/>
                </a:ext>
              </a:extLst>
            </p:cNvPr>
            <p:cNvSpPr/>
            <p:nvPr userDrawn="1"/>
          </p:nvSpPr>
          <p:spPr bwMode="auto">
            <a:xfrm>
              <a:off x="5275263" y="2592388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8" name="îṩḷïḑê">
              <a:extLst>
                <a:ext uri="{FF2B5EF4-FFF2-40B4-BE49-F238E27FC236}">
                  <a16:creationId xmlns:a16="http://schemas.microsoft.com/office/drawing/2014/main" xmlns="" id="{F10BA295-A3E1-43BE-8098-439BF318BBA9}"/>
                </a:ext>
              </a:extLst>
            </p:cNvPr>
            <p:cNvSpPr/>
            <p:nvPr userDrawn="1"/>
          </p:nvSpPr>
          <p:spPr bwMode="auto">
            <a:xfrm>
              <a:off x="5275263" y="2592388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9" name="ïṡ1îde">
              <a:extLst>
                <a:ext uri="{FF2B5EF4-FFF2-40B4-BE49-F238E27FC236}">
                  <a16:creationId xmlns:a16="http://schemas.microsoft.com/office/drawing/2014/main" xmlns="" id="{BB5CE77F-170B-462A-8D80-89C121869C56}"/>
                </a:ext>
              </a:extLst>
            </p:cNvPr>
            <p:cNvSpPr/>
            <p:nvPr userDrawn="1"/>
          </p:nvSpPr>
          <p:spPr bwMode="auto">
            <a:xfrm>
              <a:off x="5226051" y="2114551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0" name="íṧļíďê">
              <a:extLst>
                <a:ext uri="{FF2B5EF4-FFF2-40B4-BE49-F238E27FC236}">
                  <a16:creationId xmlns:a16="http://schemas.microsoft.com/office/drawing/2014/main" xmlns="" id="{8DA24637-D287-422A-B59B-3FE55E8F5D5C}"/>
                </a:ext>
              </a:extLst>
            </p:cNvPr>
            <p:cNvSpPr/>
            <p:nvPr userDrawn="1"/>
          </p:nvSpPr>
          <p:spPr bwMode="auto">
            <a:xfrm>
              <a:off x="5226051" y="2114551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1" name="iś1íḍê">
              <a:extLst>
                <a:ext uri="{FF2B5EF4-FFF2-40B4-BE49-F238E27FC236}">
                  <a16:creationId xmlns:a16="http://schemas.microsoft.com/office/drawing/2014/main" xmlns="" id="{0EACF543-A2D2-4AD8-A5BA-C43E9289D8D7}"/>
                </a:ext>
              </a:extLst>
            </p:cNvPr>
            <p:cNvSpPr/>
            <p:nvPr userDrawn="1"/>
          </p:nvSpPr>
          <p:spPr bwMode="auto">
            <a:xfrm>
              <a:off x="4732338" y="2009776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2" name="îSľîḓè">
              <a:extLst>
                <a:ext uri="{FF2B5EF4-FFF2-40B4-BE49-F238E27FC236}">
                  <a16:creationId xmlns:a16="http://schemas.microsoft.com/office/drawing/2014/main" xmlns="" id="{626F0846-026A-4B7D-8976-2F913C4C694F}"/>
                </a:ext>
              </a:extLst>
            </p:cNvPr>
            <p:cNvSpPr/>
            <p:nvPr userDrawn="1"/>
          </p:nvSpPr>
          <p:spPr bwMode="auto">
            <a:xfrm>
              <a:off x="4732338" y="2009776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3" name="ïṣľidé">
              <a:extLst>
                <a:ext uri="{FF2B5EF4-FFF2-40B4-BE49-F238E27FC236}">
                  <a16:creationId xmlns:a16="http://schemas.microsoft.com/office/drawing/2014/main" xmlns="" id="{27BCE8F0-7AC1-428D-B6FD-6303CB702778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4" name="íṩlíďe">
              <a:extLst>
                <a:ext uri="{FF2B5EF4-FFF2-40B4-BE49-F238E27FC236}">
                  <a16:creationId xmlns:a16="http://schemas.microsoft.com/office/drawing/2014/main" xmlns="" id="{12C8F003-CF20-47BA-BD28-8F5183B40964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5" name="ï$lidè">
              <a:extLst>
                <a:ext uri="{FF2B5EF4-FFF2-40B4-BE49-F238E27FC236}">
                  <a16:creationId xmlns:a16="http://schemas.microsoft.com/office/drawing/2014/main" xmlns="" id="{3AA9498F-B60F-41C9-8C22-2031D9F52778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6" name="îṡḷide">
              <a:extLst>
                <a:ext uri="{FF2B5EF4-FFF2-40B4-BE49-F238E27FC236}">
                  <a16:creationId xmlns:a16="http://schemas.microsoft.com/office/drawing/2014/main" xmlns="" id="{2BB61EFE-0AD8-4738-8F5E-717BFD067BEF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7" name="î$1ïḋè">
              <a:extLst>
                <a:ext uri="{FF2B5EF4-FFF2-40B4-BE49-F238E27FC236}">
                  <a16:creationId xmlns:a16="http://schemas.microsoft.com/office/drawing/2014/main" xmlns="" id="{21B5FF3E-1775-4C22-A740-E26E787FB1E9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8" name="íśļîďè">
              <a:extLst>
                <a:ext uri="{FF2B5EF4-FFF2-40B4-BE49-F238E27FC236}">
                  <a16:creationId xmlns:a16="http://schemas.microsoft.com/office/drawing/2014/main" xmlns="" id="{F6FE0B6C-9123-45B3-85FE-D8BE035E8071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9" name="ïśḷïḋè">
              <a:extLst>
                <a:ext uri="{FF2B5EF4-FFF2-40B4-BE49-F238E27FC236}">
                  <a16:creationId xmlns:a16="http://schemas.microsoft.com/office/drawing/2014/main" xmlns="" id="{B22C9061-CCE2-421A-8C6F-3E3A79D6119C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0" name="îṣľïḍe">
              <a:extLst>
                <a:ext uri="{FF2B5EF4-FFF2-40B4-BE49-F238E27FC236}">
                  <a16:creationId xmlns:a16="http://schemas.microsoft.com/office/drawing/2014/main" xmlns="" id="{9895C798-8DA8-4172-B1C2-D161E8E42E10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1" name="îṣ1iďè">
              <a:extLst>
                <a:ext uri="{FF2B5EF4-FFF2-40B4-BE49-F238E27FC236}">
                  <a16:creationId xmlns:a16="http://schemas.microsoft.com/office/drawing/2014/main" xmlns="" id="{D2C5A1C0-50DA-4A6B-8CA4-27C363B8915A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2" name="îṣļíḑê">
              <a:extLst>
                <a:ext uri="{FF2B5EF4-FFF2-40B4-BE49-F238E27FC236}">
                  <a16:creationId xmlns:a16="http://schemas.microsoft.com/office/drawing/2014/main" xmlns="" id="{67DE1ED2-BF98-4364-9BE3-0CCC53771259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3" name="îṩlïďé">
              <a:extLst>
                <a:ext uri="{FF2B5EF4-FFF2-40B4-BE49-F238E27FC236}">
                  <a16:creationId xmlns:a16="http://schemas.microsoft.com/office/drawing/2014/main" xmlns="" id="{AA7A926A-E76E-4ECB-9946-57AFF374AFAA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4" name="îṡlïḋê">
              <a:extLst>
                <a:ext uri="{FF2B5EF4-FFF2-40B4-BE49-F238E27FC236}">
                  <a16:creationId xmlns:a16="http://schemas.microsoft.com/office/drawing/2014/main" xmlns="" id="{7AC93332-DAD1-44DA-B794-004860A57818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5" name="îšlíḍè">
              <a:extLst>
                <a:ext uri="{FF2B5EF4-FFF2-40B4-BE49-F238E27FC236}">
                  <a16:creationId xmlns:a16="http://schemas.microsoft.com/office/drawing/2014/main" xmlns="" id="{EEF2C3B8-939F-4802-AFE8-243F9EF0D620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6" name="ïṥḷïdé">
              <a:extLst>
                <a:ext uri="{FF2B5EF4-FFF2-40B4-BE49-F238E27FC236}">
                  <a16:creationId xmlns:a16="http://schemas.microsoft.com/office/drawing/2014/main" xmlns="" id="{69D3DB23-AD24-435D-B6D9-A0D9810F6E0E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7" name="íṩľide">
              <a:extLst>
                <a:ext uri="{FF2B5EF4-FFF2-40B4-BE49-F238E27FC236}">
                  <a16:creationId xmlns:a16="http://schemas.microsoft.com/office/drawing/2014/main" xmlns="" id="{CC14B2D7-BAD1-48EE-BCF6-ECDD63E7A1E3}"/>
                </a:ext>
              </a:extLst>
            </p:cNvPr>
            <p:cNvSpPr/>
            <p:nvPr userDrawn="1"/>
          </p:nvSpPr>
          <p:spPr bwMode="auto">
            <a:xfrm>
              <a:off x="4727576" y="1887538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8" name="ïṩļïḋé">
              <a:extLst>
                <a:ext uri="{FF2B5EF4-FFF2-40B4-BE49-F238E27FC236}">
                  <a16:creationId xmlns:a16="http://schemas.microsoft.com/office/drawing/2014/main" xmlns="" id="{8C56C6E6-BD4B-49F6-8839-285A9C659C76}"/>
                </a:ext>
              </a:extLst>
            </p:cNvPr>
            <p:cNvSpPr/>
            <p:nvPr userDrawn="1"/>
          </p:nvSpPr>
          <p:spPr bwMode="auto">
            <a:xfrm>
              <a:off x="4727576" y="1887538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9" name="iṧḷïḍe">
              <a:extLst>
                <a:ext uri="{FF2B5EF4-FFF2-40B4-BE49-F238E27FC236}">
                  <a16:creationId xmlns:a16="http://schemas.microsoft.com/office/drawing/2014/main" xmlns="" id="{029941D7-C574-45F9-A475-288D7CEEDC24}"/>
                </a:ext>
              </a:extLst>
            </p:cNvPr>
            <p:cNvSpPr/>
            <p:nvPr userDrawn="1"/>
          </p:nvSpPr>
          <p:spPr bwMode="auto">
            <a:xfrm>
              <a:off x="4727576" y="2463801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0" name="ïšľíḍe">
              <a:extLst>
                <a:ext uri="{FF2B5EF4-FFF2-40B4-BE49-F238E27FC236}">
                  <a16:creationId xmlns:a16="http://schemas.microsoft.com/office/drawing/2014/main" xmlns="" id="{7B4B3AB4-83E9-4115-B5B8-88801BDCAD80}"/>
                </a:ext>
              </a:extLst>
            </p:cNvPr>
            <p:cNvSpPr/>
            <p:nvPr userDrawn="1"/>
          </p:nvSpPr>
          <p:spPr bwMode="auto">
            <a:xfrm>
              <a:off x="4727576" y="2463801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1" name="isliḍe">
              <a:extLst>
                <a:ext uri="{FF2B5EF4-FFF2-40B4-BE49-F238E27FC236}">
                  <a16:creationId xmlns:a16="http://schemas.microsoft.com/office/drawing/2014/main" xmlns="" id="{E0061FEE-FE84-4D7B-9B14-BBCE21E521A8}"/>
                </a:ext>
              </a:extLst>
            </p:cNvPr>
            <p:cNvSpPr/>
            <p:nvPr userDrawn="1"/>
          </p:nvSpPr>
          <p:spPr bwMode="auto">
            <a:xfrm>
              <a:off x="4516438" y="1395413"/>
              <a:ext cx="1557338" cy="2301875"/>
            </a:xfrm>
            <a:custGeom>
              <a:avLst/>
              <a:gdLst>
                <a:gd name="T0" fmla="*/ 15 w 472"/>
                <a:gd name="T1" fmla="*/ 689 h 698"/>
                <a:gd name="T2" fmla="*/ 0 w 472"/>
                <a:gd name="T3" fmla="*/ 698 h 698"/>
                <a:gd name="T4" fmla="*/ 15 w 472"/>
                <a:gd name="T5" fmla="*/ 689 h 698"/>
                <a:gd name="T6" fmla="*/ 15 w 472"/>
                <a:gd name="T7" fmla="*/ 689 h 698"/>
                <a:gd name="T8" fmla="*/ 472 w 472"/>
                <a:gd name="T9" fmla="*/ 0 h 698"/>
                <a:gd name="T10" fmla="*/ 471 w 472"/>
                <a:gd name="T11" fmla="*/ 1 h 698"/>
                <a:gd name="T12" fmla="*/ 17 w 472"/>
                <a:gd name="T13" fmla="*/ 261 h 698"/>
                <a:gd name="T14" fmla="*/ 1 w 472"/>
                <a:gd name="T15" fmla="*/ 289 h 698"/>
                <a:gd name="T16" fmla="*/ 0 w 472"/>
                <a:gd name="T17" fmla="*/ 698 h 698"/>
                <a:gd name="T18" fmla="*/ 1 w 472"/>
                <a:gd name="T19" fmla="*/ 289 h 698"/>
                <a:gd name="T20" fmla="*/ 17 w 472"/>
                <a:gd name="T21" fmla="*/ 261 h 698"/>
                <a:gd name="T22" fmla="*/ 471 w 472"/>
                <a:gd name="T23" fmla="*/ 1 h 698"/>
                <a:gd name="T24" fmla="*/ 472 w 472"/>
                <a:gd name="T2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698">
                  <a:moveTo>
                    <a:pt x="15" y="689"/>
                  </a:moveTo>
                  <a:cubicBezTo>
                    <a:pt x="0" y="698"/>
                    <a:pt x="0" y="698"/>
                    <a:pt x="0" y="698"/>
                  </a:cubicBezTo>
                  <a:cubicBezTo>
                    <a:pt x="15" y="689"/>
                    <a:pt x="15" y="689"/>
                    <a:pt x="15" y="689"/>
                  </a:cubicBezTo>
                  <a:cubicBezTo>
                    <a:pt x="15" y="689"/>
                    <a:pt x="15" y="689"/>
                    <a:pt x="15" y="689"/>
                  </a:cubicBezTo>
                  <a:moveTo>
                    <a:pt x="472" y="0"/>
                  </a:moveTo>
                  <a:cubicBezTo>
                    <a:pt x="471" y="0"/>
                    <a:pt x="471" y="1"/>
                    <a:pt x="471" y="1"/>
                  </a:cubicBezTo>
                  <a:cubicBezTo>
                    <a:pt x="17" y="261"/>
                    <a:pt x="17" y="261"/>
                    <a:pt x="17" y="261"/>
                  </a:cubicBezTo>
                  <a:cubicBezTo>
                    <a:pt x="7" y="267"/>
                    <a:pt x="1" y="277"/>
                    <a:pt x="1" y="289"/>
                  </a:cubicBezTo>
                  <a:cubicBezTo>
                    <a:pt x="0" y="698"/>
                    <a:pt x="0" y="698"/>
                    <a:pt x="0" y="698"/>
                  </a:cubicBezTo>
                  <a:cubicBezTo>
                    <a:pt x="1" y="289"/>
                    <a:pt x="1" y="289"/>
                    <a:pt x="1" y="289"/>
                  </a:cubicBezTo>
                  <a:cubicBezTo>
                    <a:pt x="1" y="277"/>
                    <a:pt x="7" y="267"/>
                    <a:pt x="17" y="261"/>
                  </a:cubicBezTo>
                  <a:cubicBezTo>
                    <a:pt x="471" y="1"/>
                    <a:pt x="471" y="1"/>
                    <a:pt x="471" y="1"/>
                  </a:cubicBezTo>
                  <a:cubicBezTo>
                    <a:pt x="471" y="1"/>
                    <a:pt x="471" y="0"/>
                    <a:pt x="472" y="0"/>
                  </a:cubicBezTo>
                </a:path>
              </a:pathLst>
            </a:custGeom>
            <a:solidFill>
              <a:srgbClr val="7967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2" name="ïṣľîḍè">
              <a:extLst>
                <a:ext uri="{FF2B5EF4-FFF2-40B4-BE49-F238E27FC236}">
                  <a16:creationId xmlns:a16="http://schemas.microsoft.com/office/drawing/2014/main" xmlns="" id="{DBDDA69E-47B3-4582-8134-BBD405605CAB}"/>
                </a:ext>
              </a:extLst>
            </p:cNvPr>
            <p:cNvSpPr/>
            <p:nvPr userDrawn="1"/>
          </p:nvSpPr>
          <p:spPr bwMode="auto">
            <a:xfrm>
              <a:off x="4516438" y="1392238"/>
              <a:ext cx="1584325" cy="2305050"/>
            </a:xfrm>
            <a:custGeom>
              <a:avLst/>
              <a:gdLst>
                <a:gd name="T0" fmla="*/ 479 w 480"/>
                <a:gd name="T1" fmla="*/ 0 h 699"/>
                <a:gd name="T2" fmla="*/ 472 w 480"/>
                <a:gd name="T3" fmla="*/ 1 h 699"/>
                <a:gd name="T4" fmla="*/ 471 w 480"/>
                <a:gd name="T5" fmla="*/ 2 h 699"/>
                <a:gd name="T6" fmla="*/ 17 w 480"/>
                <a:gd name="T7" fmla="*/ 262 h 699"/>
                <a:gd name="T8" fmla="*/ 1 w 480"/>
                <a:gd name="T9" fmla="*/ 290 h 699"/>
                <a:gd name="T10" fmla="*/ 0 w 480"/>
                <a:gd name="T11" fmla="*/ 699 h 699"/>
                <a:gd name="T12" fmla="*/ 15 w 480"/>
                <a:gd name="T13" fmla="*/ 690 h 699"/>
                <a:gd name="T14" fmla="*/ 40 w 480"/>
                <a:gd name="T15" fmla="*/ 652 h 699"/>
                <a:gd name="T16" fmla="*/ 21 w 480"/>
                <a:gd name="T17" fmla="*/ 663 h 699"/>
                <a:gd name="T18" fmla="*/ 22 w 480"/>
                <a:gd name="T19" fmla="*/ 284 h 699"/>
                <a:gd name="T20" fmla="*/ 457 w 480"/>
                <a:gd name="T21" fmla="*/ 35 h 699"/>
                <a:gd name="T22" fmla="*/ 480 w 480"/>
                <a:gd name="T23" fmla="*/ 0 h 699"/>
                <a:gd name="T24" fmla="*/ 479 w 480"/>
                <a:gd name="T25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0" h="699">
                  <a:moveTo>
                    <a:pt x="479" y="0"/>
                  </a:moveTo>
                  <a:cubicBezTo>
                    <a:pt x="476" y="0"/>
                    <a:pt x="474" y="0"/>
                    <a:pt x="472" y="1"/>
                  </a:cubicBezTo>
                  <a:cubicBezTo>
                    <a:pt x="471" y="1"/>
                    <a:pt x="471" y="2"/>
                    <a:pt x="471" y="2"/>
                  </a:cubicBezTo>
                  <a:cubicBezTo>
                    <a:pt x="17" y="262"/>
                    <a:pt x="17" y="262"/>
                    <a:pt x="17" y="262"/>
                  </a:cubicBezTo>
                  <a:cubicBezTo>
                    <a:pt x="7" y="268"/>
                    <a:pt x="1" y="278"/>
                    <a:pt x="1" y="290"/>
                  </a:cubicBezTo>
                  <a:cubicBezTo>
                    <a:pt x="0" y="699"/>
                    <a:pt x="0" y="699"/>
                    <a:pt x="0" y="699"/>
                  </a:cubicBezTo>
                  <a:cubicBezTo>
                    <a:pt x="15" y="690"/>
                    <a:pt x="15" y="690"/>
                    <a:pt x="15" y="690"/>
                  </a:cubicBezTo>
                  <a:cubicBezTo>
                    <a:pt x="22" y="680"/>
                    <a:pt x="30" y="667"/>
                    <a:pt x="40" y="652"/>
                  </a:cubicBezTo>
                  <a:cubicBezTo>
                    <a:pt x="21" y="663"/>
                    <a:pt x="21" y="663"/>
                    <a:pt x="21" y="663"/>
                  </a:cubicBezTo>
                  <a:cubicBezTo>
                    <a:pt x="22" y="284"/>
                    <a:pt x="22" y="284"/>
                    <a:pt x="22" y="284"/>
                  </a:cubicBezTo>
                  <a:cubicBezTo>
                    <a:pt x="457" y="35"/>
                    <a:pt x="457" y="35"/>
                    <a:pt x="457" y="35"/>
                  </a:cubicBezTo>
                  <a:cubicBezTo>
                    <a:pt x="467" y="19"/>
                    <a:pt x="475" y="7"/>
                    <a:pt x="480" y="0"/>
                  </a:cubicBezTo>
                  <a:cubicBezTo>
                    <a:pt x="480" y="0"/>
                    <a:pt x="479" y="0"/>
                    <a:pt x="479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3" name="iṩlidê">
              <a:extLst>
                <a:ext uri="{FF2B5EF4-FFF2-40B4-BE49-F238E27FC236}">
                  <a16:creationId xmlns:a16="http://schemas.microsoft.com/office/drawing/2014/main" xmlns="" id="{4FF14E4D-0C59-43FB-AEB1-32CCACCE1251}"/>
                </a:ext>
              </a:extLst>
            </p:cNvPr>
            <p:cNvSpPr/>
            <p:nvPr userDrawn="1"/>
          </p:nvSpPr>
          <p:spPr bwMode="auto">
            <a:xfrm>
              <a:off x="4586288" y="1508126"/>
              <a:ext cx="1438275" cy="2070100"/>
            </a:xfrm>
            <a:custGeom>
              <a:avLst/>
              <a:gdLst>
                <a:gd name="T0" fmla="*/ 45 w 436"/>
                <a:gd name="T1" fmla="*/ 464 h 628"/>
                <a:gd name="T2" fmla="*/ 71 w 436"/>
                <a:gd name="T3" fmla="*/ 450 h 628"/>
                <a:gd name="T4" fmla="*/ 155 w 436"/>
                <a:gd name="T5" fmla="*/ 368 h 628"/>
                <a:gd name="T6" fmla="*/ 173 w 436"/>
                <a:gd name="T7" fmla="*/ 390 h 628"/>
                <a:gd name="T8" fmla="*/ 161 w 436"/>
                <a:gd name="T9" fmla="*/ 376 h 628"/>
                <a:gd name="T10" fmla="*/ 185 w 436"/>
                <a:gd name="T11" fmla="*/ 316 h 628"/>
                <a:gd name="T12" fmla="*/ 45 w 436"/>
                <a:gd name="T13" fmla="*/ 431 h 628"/>
                <a:gd name="T14" fmla="*/ 45 w 436"/>
                <a:gd name="T15" fmla="*/ 431 h 628"/>
                <a:gd name="T16" fmla="*/ 119 w 436"/>
                <a:gd name="T17" fmla="*/ 389 h 628"/>
                <a:gd name="T18" fmla="*/ 45 w 436"/>
                <a:gd name="T19" fmla="*/ 463 h 628"/>
                <a:gd name="T20" fmla="*/ 87 w 436"/>
                <a:gd name="T21" fmla="*/ 415 h 628"/>
                <a:gd name="T22" fmla="*/ 81 w 436"/>
                <a:gd name="T23" fmla="*/ 482 h 628"/>
                <a:gd name="T24" fmla="*/ 45 w 436"/>
                <a:gd name="T25" fmla="*/ 502 h 628"/>
                <a:gd name="T26" fmla="*/ 130 w 436"/>
                <a:gd name="T27" fmla="*/ 453 h 628"/>
                <a:gd name="T28" fmla="*/ 103 w 436"/>
                <a:gd name="T29" fmla="*/ 429 h 628"/>
                <a:gd name="T30" fmla="*/ 120 w 436"/>
                <a:gd name="T31" fmla="*/ 388 h 628"/>
                <a:gd name="T32" fmla="*/ 155 w 436"/>
                <a:gd name="T33" fmla="*/ 367 h 628"/>
                <a:gd name="T34" fmla="*/ 185 w 436"/>
                <a:gd name="T35" fmla="*/ 316 h 628"/>
                <a:gd name="T36" fmla="*/ 194 w 436"/>
                <a:gd name="T37" fmla="*/ 311 h 628"/>
                <a:gd name="T38" fmla="*/ 210 w 436"/>
                <a:gd name="T39" fmla="*/ 336 h 628"/>
                <a:gd name="T40" fmla="*/ 283 w 436"/>
                <a:gd name="T41" fmla="*/ 227 h 628"/>
                <a:gd name="T42" fmla="*/ 45 w 436"/>
                <a:gd name="T43" fmla="*/ 396 h 628"/>
                <a:gd name="T44" fmla="*/ 190 w 436"/>
                <a:gd name="T45" fmla="*/ 303 h 628"/>
                <a:gd name="T46" fmla="*/ 248 w 436"/>
                <a:gd name="T47" fmla="*/ 279 h 628"/>
                <a:gd name="T48" fmla="*/ 436 w 436"/>
                <a:gd name="T49" fmla="*/ 0 h 628"/>
                <a:gd name="T50" fmla="*/ 0 w 436"/>
                <a:gd name="T51" fmla="*/ 628 h 628"/>
                <a:gd name="T52" fmla="*/ 128 w 436"/>
                <a:gd name="T53" fmla="*/ 456 h 628"/>
                <a:gd name="T54" fmla="*/ 43 w 436"/>
                <a:gd name="T55" fmla="*/ 329 h 628"/>
                <a:gd name="T56" fmla="*/ 45 w 436"/>
                <a:gd name="T57" fmla="*/ 363 h 628"/>
                <a:gd name="T58" fmla="*/ 45 w 436"/>
                <a:gd name="T59" fmla="*/ 363 h 628"/>
                <a:gd name="T60" fmla="*/ 324 w 436"/>
                <a:gd name="T61" fmla="*/ 167 h 628"/>
                <a:gd name="T62" fmla="*/ 43 w 436"/>
                <a:gd name="T63" fmla="*/ 327 h 628"/>
                <a:gd name="T64" fmla="*/ 436 w 436"/>
                <a:gd name="T65" fmla="*/ 0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6" h="628">
                  <a:moveTo>
                    <a:pt x="71" y="450"/>
                  </a:moveTo>
                  <a:cubicBezTo>
                    <a:pt x="45" y="464"/>
                    <a:pt x="45" y="464"/>
                    <a:pt x="45" y="464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71" y="450"/>
                    <a:pt x="71" y="450"/>
                    <a:pt x="71" y="450"/>
                  </a:cubicBezTo>
                  <a:moveTo>
                    <a:pt x="167" y="361"/>
                  </a:moveTo>
                  <a:cubicBezTo>
                    <a:pt x="155" y="368"/>
                    <a:pt x="155" y="368"/>
                    <a:pt x="155" y="368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67" y="361"/>
                    <a:pt x="167" y="361"/>
                    <a:pt x="167" y="361"/>
                  </a:cubicBezTo>
                  <a:moveTo>
                    <a:pt x="185" y="316"/>
                  </a:moveTo>
                  <a:cubicBezTo>
                    <a:pt x="45" y="397"/>
                    <a:pt x="45" y="397"/>
                    <a:pt x="45" y="397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44" y="431"/>
                    <a:pt x="44" y="431"/>
                    <a:pt x="44" y="431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45" y="432"/>
                    <a:pt x="45" y="432"/>
                    <a:pt x="45" y="432"/>
                  </a:cubicBezTo>
                  <a:cubicBezTo>
                    <a:pt x="45" y="463"/>
                    <a:pt x="45" y="463"/>
                    <a:pt x="45" y="463"/>
                  </a:cubicBezTo>
                  <a:cubicBezTo>
                    <a:pt x="72" y="448"/>
                    <a:pt x="72" y="448"/>
                    <a:pt x="72" y="448"/>
                  </a:cubicBezTo>
                  <a:cubicBezTo>
                    <a:pt x="87" y="415"/>
                    <a:pt x="87" y="415"/>
                    <a:pt x="87" y="415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37" y="345"/>
                    <a:pt x="137" y="345"/>
                    <a:pt x="137" y="345"/>
                  </a:cubicBezTo>
                  <a:cubicBezTo>
                    <a:pt x="155" y="367"/>
                    <a:pt x="155" y="367"/>
                    <a:pt x="155" y="367"/>
                  </a:cubicBezTo>
                  <a:cubicBezTo>
                    <a:pt x="168" y="360"/>
                    <a:pt x="168" y="360"/>
                    <a:pt x="168" y="360"/>
                  </a:cubicBezTo>
                  <a:cubicBezTo>
                    <a:pt x="185" y="316"/>
                    <a:pt x="185" y="316"/>
                    <a:pt x="185" y="316"/>
                  </a:cubicBezTo>
                  <a:moveTo>
                    <a:pt x="247" y="281"/>
                  </a:moveTo>
                  <a:cubicBezTo>
                    <a:pt x="194" y="311"/>
                    <a:pt x="194" y="311"/>
                    <a:pt x="194" y="31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210" y="336"/>
                    <a:pt x="210" y="336"/>
                    <a:pt x="210" y="336"/>
                  </a:cubicBezTo>
                  <a:cubicBezTo>
                    <a:pt x="222" y="317"/>
                    <a:pt x="235" y="299"/>
                    <a:pt x="247" y="281"/>
                  </a:cubicBezTo>
                  <a:moveTo>
                    <a:pt x="283" y="227"/>
                  </a:moveTo>
                  <a:cubicBezTo>
                    <a:pt x="45" y="365"/>
                    <a:pt x="45" y="365"/>
                    <a:pt x="45" y="365"/>
                  </a:cubicBezTo>
                  <a:cubicBezTo>
                    <a:pt x="45" y="396"/>
                    <a:pt x="45" y="396"/>
                    <a:pt x="45" y="396"/>
                  </a:cubicBezTo>
                  <a:cubicBezTo>
                    <a:pt x="185" y="315"/>
                    <a:pt x="185" y="315"/>
                    <a:pt x="185" y="315"/>
                  </a:cubicBezTo>
                  <a:cubicBezTo>
                    <a:pt x="190" y="303"/>
                    <a:pt x="190" y="303"/>
                    <a:pt x="190" y="303"/>
                  </a:cubicBezTo>
                  <a:cubicBezTo>
                    <a:pt x="194" y="310"/>
                    <a:pt x="194" y="310"/>
                    <a:pt x="194" y="310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260" y="261"/>
                    <a:pt x="271" y="244"/>
                    <a:pt x="283" y="227"/>
                  </a:cubicBezTo>
                  <a:moveTo>
                    <a:pt x="436" y="0"/>
                  </a:moveTo>
                  <a:cubicBezTo>
                    <a:pt x="1" y="249"/>
                    <a:pt x="1" y="249"/>
                    <a:pt x="1" y="249"/>
                  </a:cubicBezTo>
                  <a:cubicBezTo>
                    <a:pt x="0" y="628"/>
                    <a:pt x="0" y="628"/>
                    <a:pt x="0" y="628"/>
                  </a:cubicBezTo>
                  <a:cubicBezTo>
                    <a:pt x="19" y="617"/>
                    <a:pt x="19" y="617"/>
                    <a:pt x="19" y="617"/>
                  </a:cubicBezTo>
                  <a:cubicBezTo>
                    <a:pt x="47" y="576"/>
                    <a:pt x="86" y="519"/>
                    <a:pt x="128" y="456"/>
                  </a:cubicBezTo>
                  <a:cubicBezTo>
                    <a:pt x="44" y="505"/>
                    <a:pt x="44" y="505"/>
                    <a:pt x="44" y="505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5" y="328"/>
                    <a:pt x="45" y="328"/>
                    <a:pt x="45" y="328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44" y="364"/>
                    <a:pt x="44" y="364"/>
                    <a:pt x="44" y="364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284" y="225"/>
                    <a:pt x="284" y="225"/>
                    <a:pt x="284" y="225"/>
                  </a:cubicBezTo>
                  <a:cubicBezTo>
                    <a:pt x="298" y="205"/>
                    <a:pt x="311" y="186"/>
                    <a:pt x="324" y="167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25" y="165"/>
                    <a:pt x="325" y="165"/>
                    <a:pt x="325" y="165"/>
                  </a:cubicBezTo>
                  <a:cubicBezTo>
                    <a:pt x="371" y="96"/>
                    <a:pt x="411" y="37"/>
                    <a:pt x="436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4" name="iṣļîḋé">
              <a:extLst>
                <a:ext uri="{FF2B5EF4-FFF2-40B4-BE49-F238E27FC236}">
                  <a16:creationId xmlns:a16="http://schemas.microsoft.com/office/drawing/2014/main" xmlns="" id="{B2AB4B71-1898-4326-9D47-19782CB20DA7}"/>
                </a:ext>
              </a:extLst>
            </p:cNvPr>
            <p:cNvSpPr/>
            <p:nvPr userDrawn="1"/>
          </p:nvSpPr>
          <p:spPr bwMode="auto">
            <a:xfrm>
              <a:off x="5275263" y="2616201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5" name="ïS1ïḋe">
              <a:extLst>
                <a:ext uri="{FF2B5EF4-FFF2-40B4-BE49-F238E27FC236}">
                  <a16:creationId xmlns:a16="http://schemas.microsoft.com/office/drawing/2014/main" xmlns="" id="{0F72DA80-9B19-419D-AEA9-AC3D0A7F748B}"/>
                </a:ext>
              </a:extLst>
            </p:cNvPr>
            <p:cNvSpPr/>
            <p:nvPr userDrawn="1"/>
          </p:nvSpPr>
          <p:spPr bwMode="auto">
            <a:xfrm>
              <a:off x="5226051" y="2428876"/>
              <a:ext cx="179388" cy="104775"/>
            </a:xfrm>
            <a:custGeom>
              <a:avLst/>
              <a:gdLst>
                <a:gd name="T0" fmla="*/ 54 w 54"/>
                <a:gd name="T1" fmla="*/ 0 h 32"/>
                <a:gd name="T2" fmla="*/ 0 w 54"/>
                <a:gd name="T3" fmla="*/ 31 h 32"/>
                <a:gd name="T4" fmla="*/ 0 w 54"/>
                <a:gd name="T5" fmla="*/ 32 h 32"/>
                <a:gd name="T6" fmla="*/ 53 w 54"/>
                <a:gd name="T7" fmla="*/ 2 h 32"/>
                <a:gd name="T8" fmla="*/ 54 w 54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2">
                  <a:moveTo>
                    <a:pt x="54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4" y="0"/>
                    <a:pt x="54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6" name="iS1íďê">
              <a:extLst>
                <a:ext uri="{FF2B5EF4-FFF2-40B4-BE49-F238E27FC236}">
                  <a16:creationId xmlns:a16="http://schemas.microsoft.com/office/drawing/2014/main" xmlns="" id="{3057F582-8550-43A0-AD17-40303A54F9A5}"/>
                </a:ext>
              </a:extLst>
            </p:cNvPr>
            <p:cNvSpPr/>
            <p:nvPr userDrawn="1"/>
          </p:nvSpPr>
          <p:spPr bwMode="auto">
            <a:xfrm>
              <a:off x="4732338" y="2249488"/>
              <a:ext cx="790575" cy="461963"/>
            </a:xfrm>
            <a:custGeom>
              <a:avLst/>
              <a:gdLst>
                <a:gd name="T0" fmla="*/ 240 w 240"/>
                <a:gd name="T1" fmla="*/ 0 h 140"/>
                <a:gd name="T2" fmla="*/ 1 w 240"/>
                <a:gd name="T3" fmla="*/ 138 h 140"/>
                <a:gd name="T4" fmla="*/ 0 w 240"/>
                <a:gd name="T5" fmla="*/ 139 h 140"/>
                <a:gd name="T6" fmla="*/ 0 w 240"/>
                <a:gd name="T7" fmla="*/ 140 h 140"/>
                <a:gd name="T8" fmla="*/ 1 w 240"/>
                <a:gd name="T9" fmla="*/ 140 h 140"/>
                <a:gd name="T10" fmla="*/ 239 w 240"/>
                <a:gd name="T11" fmla="*/ 2 h 140"/>
                <a:gd name="T12" fmla="*/ 240 w 240"/>
                <a:gd name="T1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40">
                  <a:moveTo>
                    <a:pt x="240" y="0"/>
                  </a:moveTo>
                  <a:cubicBezTo>
                    <a:pt x="1" y="138"/>
                    <a:pt x="1" y="138"/>
                    <a:pt x="1" y="138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" y="140"/>
                    <a:pt x="1" y="140"/>
                    <a:pt x="1" y="140"/>
                  </a:cubicBezTo>
                  <a:cubicBezTo>
                    <a:pt x="239" y="2"/>
                    <a:pt x="239" y="2"/>
                    <a:pt x="239" y="2"/>
                  </a:cubicBezTo>
                  <a:cubicBezTo>
                    <a:pt x="239" y="1"/>
                    <a:pt x="240" y="1"/>
                    <a:pt x="240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7" name="iṣ1ídé">
              <a:extLst>
                <a:ext uri="{FF2B5EF4-FFF2-40B4-BE49-F238E27FC236}">
                  <a16:creationId xmlns:a16="http://schemas.microsoft.com/office/drawing/2014/main" xmlns="" id="{67A53812-A171-44B1-9F14-4F2EA42F126C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8" name="íṩľiḑê">
              <a:extLst>
                <a:ext uri="{FF2B5EF4-FFF2-40B4-BE49-F238E27FC236}">
                  <a16:creationId xmlns:a16="http://schemas.microsoft.com/office/drawing/2014/main" xmlns="" id="{33DF5B45-A02A-49AB-AB5E-17039456CB14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9" name="îŝḷîdé">
              <a:extLst>
                <a:ext uri="{FF2B5EF4-FFF2-40B4-BE49-F238E27FC236}">
                  <a16:creationId xmlns:a16="http://schemas.microsoft.com/office/drawing/2014/main" xmlns="" id="{39632A38-23F8-4C31-B6AF-EF80429EC89B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0" name="íŝḷîḍè">
              <a:extLst>
                <a:ext uri="{FF2B5EF4-FFF2-40B4-BE49-F238E27FC236}">
                  <a16:creationId xmlns:a16="http://schemas.microsoft.com/office/drawing/2014/main" xmlns="" id="{2F5C11E7-6DF2-48F3-9CA1-6CB38809EB74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1" name="ï$ľiḍè">
              <a:extLst>
                <a:ext uri="{FF2B5EF4-FFF2-40B4-BE49-F238E27FC236}">
                  <a16:creationId xmlns:a16="http://schemas.microsoft.com/office/drawing/2014/main" xmlns="" id="{C750BFD8-6386-468C-853F-1D63BA5DFE1E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2" name="íšļídè">
              <a:extLst>
                <a:ext uri="{FF2B5EF4-FFF2-40B4-BE49-F238E27FC236}">
                  <a16:creationId xmlns:a16="http://schemas.microsoft.com/office/drawing/2014/main" xmlns="" id="{2D4B1CDC-FE8D-422A-A74C-5A0D9DE89C01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3" name="ïṣļïḋê">
              <a:extLst>
                <a:ext uri="{FF2B5EF4-FFF2-40B4-BE49-F238E27FC236}">
                  <a16:creationId xmlns:a16="http://schemas.microsoft.com/office/drawing/2014/main" xmlns="" id="{772717D2-8011-4325-B95F-8368205973F5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04800" cy="450850"/>
            </a:xfrm>
            <a:custGeom>
              <a:avLst/>
              <a:gdLst>
                <a:gd name="T0" fmla="*/ 56 w 92"/>
                <a:gd name="T1" fmla="*/ 0 h 137"/>
                <a:gd name="T2" fmla="*/ 39 w 92"/>
                <a:gd name="T3" fmla="*/ 43 h 137"/>
                <a:gd name="T4" fmla="*/ 38 w 92"/>
                <a:gd name="T5" fmla="*/ 44 h 137"/>
                <a:gd name="T6" fmla="*/ 22 w 92"/>
                <a:gd name="T7" fmla="*/ 84 h 137"/>
                <a:gd name="T8" fmla="*/ 0 w 92"/>
                <a:gd name="T9" fmla="*/ 137 h 137"/>
                <a:gd name="T10" fmla="*/ 49 w 92"/>
                <a:gd name="T11" fmla="*/ 108 h 137"/>
                <a:gd name="T12" fmla="*/ 92 w 92"/>
                <a:gd name="T13" fmla="*/ 45 h 137"/>
                <a:gd name="T14" fmla="*/ 80 w 92"/>
                <a:gd name="T15" fmla="*/ 31 h 137"/>
                <a:gd name="T16" fmla="*/ 74 w 92"/>
                <a:gd name="T17" fmla="*/ 23 h 137"/>
                <a:gd name="T18" fmla="*/ 74 w 92"/>
                <a:gd name="T19" fmla="*/ 22 h 137"/>
                <a:gd name="T20" fmla="*/ 56 w 92"/>
                <a:gd name="T21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37">
                  <a:moveTo>
                    <a:pt x="56" y="0"/>
                  </a:moveTo>
                  <a:cubicBezTo>
                    <a:pt x="39" y="43"/>
                    <a:pt x="39" y="43"/>
                    <a:pt x="39" y="43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63" y="88"/>
                    <a:pt x="77" y="67"/>
                    <a:pt x="92" y="45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rgbClr val="A5A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4" name="íṥľidè">
              <a:extLst>
                <a:ext uri="{FF2B5EF4-FFF2-40B4-BE49-F238E27FC236}">
                  <a16:creationId xmlns:a16="http://schemas.microsoft.com/office/drawing/2014/main" xmlns="" id="{8C2F2570-06BB-46F8-916A-F75AAB7A1CD5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5" name="íŝḻíďe">
              <a:extLst>
                <a:ext uri="{FF2B5EF4-FFF2-40B4-BE49-F238E27FC236}">
                  <a16:creationId xmlns:a16="http://schemas.microsoft.com/office/drawing/2014/main" xmlns="" id="{FD041D17-8562-48BD-A56C-2F55690DF4C9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6" name="iṥ1îḑê">
              <a:extLst>
                <a:ext uri="{FF2B5EF4-FFF2-40B4-BE49-F238E27FC236}">
                  <a16:creationId xmlns:a16="http://schemas.microsoft.com/office/drawing/2014/main" xmlns="" id="{1BB7927B-DFB3-439B-A0E7-F655C64D81B3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7" name="ísḻïḓé">
              <a:extLst>
                <a:ext uri="{FF2B5EF4-FFF2-40B4-BE49-F238E27FC236}">
                  <a16:creationId xmlns:a16="http://schemas.microsoft.com/office/drawing/2014/main" xmlns="" id="{6EF068F9-DFE8-49BB-9D59-1370BC77CA39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8" name="íṡḷíḓé">
              <a:extLst>
                <a:ext uri="{FF2B5EF4-FFF2-40B4-BE49-F238E27FC236}">
                  <a16:creationId xmlns:a16="http://schemas.microsoft.com/office/drawing/2014/main" xmlns="" id="{1963D803-7C8F-4B1E-BA4E-A3164A5930E8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57163" cy="287338"/>
            </a:xfrm>
            <a:custGeom>
              <a:avLst/>
              <a:gdLst>
                <a:gd name="T0" fmla="*/ 29 w 48"/>
                <a:gd name="T1" fmla="*/ 0 h 87"/>
                <a:gd name="T2" fmla="*/ 24 w 48"/>
                <a:gd name="T3" fmla="*/ 12 h 87"/>
                <a:gd name="T4" fmla="*/ 24 w 48"/>
                <a:gd name="T5" fmla="*/ 13 h 87"/>
                <a:gd name="T6" fmla="*/ 7 w 48"/>
                <a:gd name="T7" fmla="*/ 57 h 87"/>
                <a:gd name="T8" fmla="*/ 6 w 48"/>
                <a:gd name="T9" fmla="*/ 58 h 87"/>
                <a:gd name="T10" fmla="*/ 0 w 48"/>
                <a:gd name="T11" fmla="*/ 73 h 87"/>
                <a:gd name="T12" fmla="*/ 12 w 48"/>
                <a:gd name="T13" fmla="*/ 87 h 87"/>
                <a:gd name="T14" fmla="*/ 48 w 48"/>
                <a:gd name="T15" fmla="*/ 33 h 87"/>
                <a:gd name="T16" fmla="*/ 48 w 48"/>
                <a:gd name="T17" fmla="*/ 33 h 87"/>
                <a:gd name="T18" fmla="*/ 33 w 48"/>
                <a:gd name="T19" fmla="*/ 8 h 87"/>
                <a:gd name="T20" fmla="*/ 33 w 48"/>
                <a:gd name="T21" fmla="*/ 7 h 87"/>
                <a:gd name="T22" fmla="*/ 29 w 48"/>
                <a:gd name="T2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7">
                  <a:moveTo>
                    <a:pt x="29" y="0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24" y="69"/>
                    <a:pt x="36" y="51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9" name="iṥļïḋê">
              <a:extLst>
                <a:ext uri="{FF2B5EF4-FFF2-40B4-BE49-F238E27FC236}">
                  <a16:creationId xmlns:a16="http://schemas.microsoft.com/office/drawing/2014/main" xmlns="" id="{607F8E35-7213-4AF3-9CDE-CDE76090E65E}"/>
                </a:ext>
              </a:extLst>
            </p:cNvPr>
            <p:cNvSpPr/>
            <p:nvPr userDrawn="1"/>
          </p:nvSpPr>
          <p:spPr bwMode="auto">
            <a:xfrm>
              <a:off x="4727576" y="2052638"/>
              <a:ext cx="931863" cy="539750"/>
            </a:xfrm>
            <a:custGeom>
              <a:avLst/>
              <a:gdLst>
                <a:gd name="T0" fmla="*/ 282 w 282"/>
                <a:gd name="T1" fmla="*/ 0 h 164"/>
                <a:gd name="T2" fmla="*/ 0 w 282"/>
                <a:gd name="T3" fmla="*/ 162 h 164"/>
                <a:gd name="T4" fmla="*/ 0 w 282"/>
                <a:gd name="T5" fmla="*/ 164 h 164"/>
                <a:gd name="T6" fmla="*/ 281 w 282"/>
                <a:gd name="T7" fmla="*/ 2 h 164"/>
                <a:gd name="T8" fmla="*/ 282 w 282"/>
                <a:gd name="T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64">
                  <a:moveTo>
                    <a:pt x="282" y="0"/>
                  </a:moveTo>
                  <a:cubicBezTo>
                    <a:pt x="0" y="162"/>
                    <a:pt x="0" y="162"/>
                    <a:pt x="0" y="162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1"/>
                    <a:pt x="281" y="1"/>
                    <a:pt x="28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0" name="ïŝ1ïḑê">
              <a:extLst>
                <a:ext uri="{FF2B5EF4-FFF2-40B4-BE49-F238E27FC236}">
                  <a16:creationId xmlns:a16="http://schemas.microsoft.com/office/drawing/2014/main" xmlns="" id="{816BDEAB-BDB1-45D0-BFF9-AE43A85BA57A}"/>
                </a:ext>
              </a:extLst>
            </p:cNvPr>
            <p:cNvSpPr/>
            <p:nvPr userDrawn="1"/>
          </p:nvSpPr>
          <p:spPr bwMode="auto">
            <a:xfrm>
              <a:off x="4727576" y="2589213"/>
              <a:ext cx="287338" cy="584200"/>
            </a:xfrm>
            <a:custGeom>
              <a:avLst/>
              <a:gdLst>
                <a:gd name="T0" fmla="*/ 2 w 87"/>
                <a:gd name="T1" fmla="*/ 0 h 177"/>
                <a:gd name="T2" fmla="*/ 0 w 87"/>
                <a:gd name="T3" fmla="*/ 1 h 177"/>
                <a:gd name="T4" fmla="*/ 1 w 87"/>
                <a:gd name="T5" fmla="*/ 177 h 177"/>
                <a:gd name="T6" fmla="*/ 85 w 87"/>
                <a:gd name="T7" fmla="*/ 128 h 177"/>
                <a:gd name="T8" fmla="*/ 87 w 87"/>
                <a:gd name="T9" fmla="*/ 125 h 177"/>
                <a:gd name="T10" fmla="*/ 2 w 87"/>
                <a:gd name="T11" fmla="*/ 174 h 177"/>
                <a:gd name="T12" fmla="*/ 2 w 87"/>
                <a:gd name="T13" fmla="*/ 174 h 177"/>
                <a:gd name="T14" fmla="*/ 2 w 87"/>
                <a:gd name="T15" fmla="*/ 174 h 177"/>
                <a:gd name="T16" fmla="*/ 2 w 87"/>
                <a:gd name="T17" fmla="*/ 136 h 177"/>
                <a:gd name="T18" fmla="*/ 1 w 87"/>
                <a:gd name="T19" fmla="*/ 137 h 177"/>
                <a:gd name="T20" fmla="*/ 1 w 87"/>
                <a:gd name="T21" fmla="*/ 136 h 177"/>
                <a:gd name="T22" fmla="*/ 2 w 87"/>
                <a:gd name="T23" fmla="*/ 135 h 177"/>
                <a:gd name="T24" fmla="*/ 2 w 87"/>
                <a:gd name="T25" fmla="*/ 135 h 177"/>
                <a:gd name="T26" fmla="*/ 2 w 87"/>
                <a:gd name="T27" fmla="*/ 104 h 177"/>
                <a:gd name="T28" fmla="*/ 1 w 87"/>
                <a:gd name="T29" fmla="*/ 105 h 177"/>
                <a:gd name="T30" fmla="*/ 1 w 87"/>
                <a:gd name="T31" fmla="*/ 103 h 177"/>
                <a:gd name="T32" fmla="*/ 2 w 87"/>
                <a:gd name="T33" fmla="*/ 103 h 177"/>
                <a:gd name="T34" fmla="*/ 2 w 87"/>
                <a:gd name="T35" fmla="*/ 69 h 177"/>
                <a:gd name="T36" fmla="*/ 1 w 87"/>
                <a:gd name="T37" fmla="*/ 70 h 177"/>
                <a:gd name="T38" fmla="*/ 1 w 87"/>
                <a:gd name="T39" fmla="*/ 69 h 177"/>
                <a:gd name="T40" fmla="*/ 2 w 87"/>
                <a:gd name="T41" fmla="*/ 68 h 177"/>
                <a:gd name="T42" fmla="*/ 2 w 87"/>
                <a:gd name="T43" fmla="*/ 37 h 177"/>
                <a:gd name="T44" fmla="*/ 1 w 87"/>
                <a:gd name="T45" fmla="*/ 37 h 177"/>
                <a:gd name="T46" fmla="*/ 1 w 87"/>
                <a:gd name="T47" fmla="*/ 36 h 177"/>
                <a:gd name="T48" fmla="*/ 2 w 87"/>
                <a:gd name="T49" fmla="*/ 35 h 177"/>
                <a:gd name="T50" fmla="*/ 2 w 87"/>
                <a:gd name="T51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177">
                  <a:moveTo>
                    <a:pt x="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77"/>
                    <a:pt x="1" y="177"/>
                    <a:pt x="1" y="177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86" y="127"/>
                    <a:pt x="86" y="126"/>
                    <a:pt x="87" y="125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1" y="136"/>
                    <a:pt x="1" y="136"/>
                    <a:pt x="1" y="136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1" name="îsḻíḋè">
              <a:extLst>
                <a:ext uri="{FF2B5EF4-FFF2-40B4-BE49-F238E27FC236}">
                  <a16:creationId xmlns:a16="http://schemas.microsoft.com/office/drawing/2014/main" xmlns="" id="{2FC50329-01C6-4845-AFF7-CD7E4D18CADF}"/>
                </a:ext>
              </a:extLst>
            </p:cNvPr>
            <p:cNvSpPr/>
            <p:nvPr userDrawn="1"/>
          </p:nvSpPr>
          <p:spPr bwMode="auto">
            <a:xfrm>
              <a:off x="7556501" y="2698751"/>
              <a:ext cx="804863" cy="58738"/>
            </a:xfrm>
            <a:custGeom>
              <a:avLst/>
              <a:gdLst>
                <a:gd name="T0" fmla="*/ 212 w 244"/>
                <a:gd name="T1" fmla="*/ 8 h 18"/>
                <a:gd name="T2" fmla="*/ 229 w 244"/>
                <a:gd name="T3" fmla="*/ 18 h 18"/>
                <a:gd name="T4" fmla="*/ 244 w 244"/>
                <a:gd name="T5" fmla="*/ 9 h 18"/>
                <a:gd name="T6" fmla="*/ 212 w 244"/>
                <a:gd name="T7" fmla="*/ 8 h 18"/>
                <a:gd name="T8" fmla="*/ 1 w 244"/>
                <a:gd name="T9" fmla="*/ 0 h 18"/>
                <a:gd name="T10" fmla="*/ 28 w 244"/>
                <a:gd name="T11" fmla="*/ 17 h 18"/>
                <a:gd name="T12" fmla="*/ 53 w 244"/>
                <a:gd name="T13" fmla="*/ 3 h 18"/>
                <a:gd name="T14" fmla="*/ 1 w 244"/>
                <a:gd name="T15" fmla="*/ 0 h 18"/>
                <a:gd name="T16" fmla="*/ 1 w 244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4" h="18">
                  <a:moveTo>
                    <a:pt x="212" y="8"/>
                  </a:moveTo>
                  <a:cubicBezTo>
                    <a:pt x="229" y="18"/>
                    <a:pt x="229" y="18"/>
                    <a:pt x="229" y="18"/>
                  </a:cubicBezTo>
                  <a:cubicBezTo>
                    <a:pt x="238" y="13"/>
                    <a:pt x="243" y="10"/>
                    <a:pt x="244" y="9"/>
                  </a:cubicBezTo>
                  <a:cubicBezTo>
                    <a:pt x="244" y="9"/>
                    <a:pt x="231" y="9"/>
                    <a:pt x="212" y="8"/>
                  </a:cubicBezTo>
                  <a:moveTo>
                    <a:pt x="1" y="0"/>
                  </a:moveTo>
                  <a:cubicBezTo>
                    <a:pt x="0" y="0"/>
                    <a:pt x="12" y="7"/>
                    <a:pt x="28" y="1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24" y="1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B8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2" name="í$1ïḑe">
              <a:extLst>
                <a:ext uri="{FF2B5EF4-FFF2-40B4-BE49-F238E27FC236}">
                  <a16:creationId xmlns:a16="http://schemas.microsoft.com/office/drawing/2014/main" xmlns="" id="{8E6D00D2-E86C-46C4-99FB-4812631CFA76}"/>
                </a:ext>
              </a:extLst>
            </p:cNvPr>
            <p:cNvSpPr/>
            <p:nvPr userDrawn="1"/>
          </p:nvSpPr>
          <p:spPr bwMode="auto">
            <a:xfrm>
              <a:off x="7648576" y="2708276"/>
              <a:ext cx="663575" cy="250825"/>
            </a:xfrm>
            <a:custGeom>
              <a:avLst/>
              <a:gdLst>
                <a:gd name="T0" fmla="*/ 25 w 201"/>
                <a:gd name="T1" fmla="*/ 0 h 76"/>
                <a:gd name="T2" fmla="*/ 0 w 201"/>
                <a:gd name="T3" fmla="*/ 14 h 76"/>
                <a:gd name="T4" fmla="*/ 106 w 201"/>
                <a:gd name="T5" fmla="*/ 76 h 76"/>
                <a:gd name="T6" fmla="*/ 201 w 201"/>
                <a:gd name="T7" fmla="*/ 15 h 76"/>
                <a:gd name="T8" fmla="*/ 184 w 201"/>
                <a:gd name="T9" fmla="*/ 5 h 76"/>
                <a:gd name="T10" fmla="*/ 25 w 201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1" h="76">
                  <a:moveTo>
                    <a:pt x="25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40" y="37"/>
                    <a:pt x="106" y="76"/>
                    <a:pt x="106" y="76"/>
                  </a:cubicBezTo>
                  <a:cubicBezTo>
                    <a:pt x="106" y="76"/>
                    <a:pt x="172" y="34"/>
                    <a:pt x="201" y="15"/>
                  </a:cubicBezTo>
                  <a:cubicBezTo>
                    <a:pt x="184" y="5"/>
                    <a:pt x="184" y="5"/>
                    <a:pt x="184" y="5"/>
                  </a:cubicBezTo>
                  <a:cubicBezTo>
                    <a:pt x="143" y="4"/>
                    <a:pt x="74" y="1"/>
                    <a:pt x="25" y="0"/>
                  </a:cubicBezTo>
                </a:path>
              </a:pathLst>
            </a:custGeom>
            <a:solidFill>
              <a:srgbClr val="839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3" name="ïṡḻïḓé">
              <a:extLst>
                <a:ext uri="{FF2B5EF4-FFF2-40B4-BE49-F238E27FC236}">
                  <a16:creationId xmlns:a16="http://schemas.microsoft.com/office/drawing/2014/main" xmlns="" id="{0252BD86-AB9B-45B8-8620-C45569A6E77A}"/>
                </a:ext>
              </a:extLst>
            </p:cNvPr>
            <p:cNvSpPr/>
            <p:nvPr userDrawn="1"/>
          </p:nvSpPr>
          <p:spPr bwMode="auto">
            <a:xfrm>
              <a:off x="7559676" y="2484438"/>
              <a:ext cx="801688" cy="431800"/>
            </a:xfrm>
            <a:custGeom>
              <a:avLst/>
              <a:gdLst>
                <a:gd name="T0" fmla="*/ 505 w 505"/>
                <a:gd name="T1" fmla="*/ 154 h 272"/>
                <a:gd name="T2" fmla="*/ 235 w 505"/>
                <a:gd name="T3" fmla="*/ 0 h 272"/>
                <a:gd name="T4" fmla="*/ 0 w 505"/>
                <a:gd name="T5" fmla="*/ 135 h 272"/>
                <a:gd name="T6" fmla="*/ 237 w 505"/>
                <a:gd name="T7" fmla="*/ 272 h 272"/>
                <a:gd name="T8" fmla="*/ 301 w 505"/>
                <a:gd name="T9" fmla="*/ 270 h 272"/>
                <a:gd name="T10" fmla="*/ 505 w 505"/>
                <a:gd name="T11" fmla="*/ 15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5" h="272">
                  <a:moveTo>
                    <a:pt x="505" y="154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1" y="270"/>
                  </a:lnTo>
                  <a:lnTo>
                    <a:pt x="505" y="154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4" name="î$ḻíḋè">
              <a:extLst>
                <a:ext uri="{FF2B5EF4-FFF2-40B4-BE49-F238E27FC236}">
                  <a16:creationId xmlns:a16="http://schemas.microsoft.com/office/drawing/2014/main" xmlns="" id="{E8791AB1-5BE4-4D3D-BFB7-51ED0AB607F2}"/>
                </a:ext>
              </a:extLst>
            </p:cNvPr>
            <p:cNvSpPr/>
            <p:nvPr userDrawn="1"/>
          </p:nvSpPr>
          <p:spPr bwMode="auto">
            <a:xfrm>
              <a:off x="7935913" y="2852738"/>
              <a:ext cx="101600" cy="63500"/>
            </a:xfrm>
            <a:custGeom>
              <a:avLst/>
              <a:gdLst>
                <a:gd name="T0" fmla="*/ 31 w 64"/>
                <a:gd name="T1" fmla="*/ 0 h 40"/>
                <a:gd name="T2" fmla="*/ 64 w 64"/>
                <a:gd name="T3" fmla="*/ 38 h 40"/>
                <a:gd name="T4" fmla="*/ 0 w 64"/>
                <a:gd name="T5" fmla="*/ 40 h 40"/>
                <a:gd name="T6" fmla="*/ 31 w 64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40">
                  <a:moveTo>
                    <a:pt x="31" y="0"/>
                  </a:moveTo>
                  <a:lnTo>
                    <a:pt x="64" y="38"/>
                  </a:lnTo>
                  <a:lnTo>
                    <a:pt x="0" y="4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5" name="î$ľíḑê">
              <a:extLst>
                <a:ext uri="{FF2B5EF4-FFF2-40B4-BE49-F238E27FC236}">
                  <a16:creationId xmlns:a16="http://schemas.microsoft.com/office/drawing/2014/main" xmlns="" id="{D12C242E-50C5-4787-8DAB-2632FB404D34}"/>
                </a:ext>
              </a:extLst>
            </p:cNvPr>
            <p:cNvSpPr/>
            <p:nvPr userDrawn="1"/>
          </p:nvSpPr>
          <p:spPr bwMode="auto">
            <a:xfrm>
              <a:off x="4148138" y="5218113"/>
              <a:ext cx="808038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133 w 245"/>
                <a:gd name="T7" fmla="*/ 5 h 79"/>
                <a:gd name="T8" fmla="*/ 106 w 245"/>
                <a:gd name="T9" fmla="*/ 21 h 79"/>
                <a:gd name="T10" fmla="*/ 73 w 245"/>
                <a:gd name="T11" fmla="*/ 3 h 79"/>
                <a:gd name="T12" fmla="*/ 2 w 245"/>
                <a:gd name="T13" fmla="*/ 0 h 79"/>
                <a:gd name="T14" fmla="*/ 2 w 245"/>
                <a:gd name="T1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190" y="7"/>
                    <a:pt x="133" y="5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34" y="2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6" name="îśľiḍé">
              <a:extLst>
                <a:ext uri="{FF2B5EF4-FFF2-40B4-BE49-F238E27FC236}">
                  <a16:creationId xmlns:a16="http://schemas.microsoft.com/office/drawing/2014/main" xmlns="" id="{37814ABE-5BB5-4CBD-AB15-46D74826BB15}"/>
                </a:ext>
              </a:extLst>
            </p:cNvPr>
            <p:cNvSpPr/>
            <p:nvPr userDrawn="1"/>
          </p:nvSpPr>
          <p:spPr bwMode="auto">
            <a:xfrm>
              <a:off x="4387851" y="5227638"/>
              <a:ext cx="198438" cy="58738"/>
            </a:xfrm>
            <a:custGeom>
              <a:avLst/>
              <a:gdLst>
                <a:gd name="T0" fmla="*/ 0 w 60"/>
                <a:gd name="T1" fmla="*/ 0 h 18"/>
                <a:gd name="T2" fmla="*/ 33 w 60"/>
                <a:gd name="T3" fmla="*/ 18 h 18"/>
                <a:gd name="T4" fmla="*/ 60 w 60"/>
                <a:gd name="T5" fmla="*/ 2 h 18"/>
                <a:gd name="T6" fmla="*/ 60 w 60"/>
                <a:gd name="T7" fmla="*/ 2 h 18"/>
                <a:gd name="T8" fmla="*/ 33 w 60"/>
                <a:gd name="T9" fmla="*/ 18 h 18"/>
                <a:gd name="T10" fmla="*/ 2 w 60"/>
                <a:gd name="T11" fmla="*/ 0 h 18"/>
                <a:gd name="T12" fmla="*/ 0 w 6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cubicBezTo>
                    <a:pt x="33" y="18"/>
                    <a:pt x="33" y="18"/>
                    <a:pt x="33" y="18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6A82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7" name="îslíďé">
              <a:extLst>
                <a:ext uri="{FF2B5EF4-FFF2-40B4-BE49-F238E27FC236}">
                  <a16:creationId xmlns:a16="http://schemas.microsoft.com/office/drawing/2014/main" xmlns="" id="{6B537A7C-B2B3-408B-B07D-3682D15C9245}"/>
                </a:ext>
              </a:extLst>
            </p:cNvPr>
            <p:cNvSpPr/>
            <p:nvPr userDrawn="1"/>
          </p:nvSpPr>
          <p:spPr bwMode="auto">
            <a:xfrm>
              <a:off x="4395788" y="5227638"/>
              <a:ext cx="190500" cy="58738"/>
            </a:xfrm>
            <a:custGeom>
              <a:avLst/>
              <a:gdLst>
                <a:gd name="T0" fmla="*/ 0 w 58"/>
                <a:gd name="T1" fmla="*/ 0 h 18"/>
                <a:gd name="T2" fmla="*/ 31 w 58"/>
                <a:gd name="T3" fmla="*/ 18 h 18"/>
                <a:gd name="T4" fmla="*/ 58 w 58"/>
                <a:gd name="T5" fmla="*/ 2 h 18"/>
                <a:gd name="T6" fmla="*/ 0 w 5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18">
                  <a:moveTo>
                    <a:pt x="0" y="0"/>
                  </a:moveTo>
                  <a:cubicBezTo>
                    <a:pt x="31" y="18"/>
                    <a:pt x="31" y="18"/>
                    <a:pt x="31" y="18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38" y="2"/>
                    <a:pt x="18" y="1"/>
                    <a:pt x="0" y="0"/>
                  </a:cubicBezTo>
                </a:path>
              </a:pathLst>
            </a:custGeom>
            <a:solidFill>
              <a:srgbClr val="8396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8" name="í$ḻídê">
              <a:extLst>
                <a:ext uri="{FF2B5EF4-FFF2-40B4-BE49-F238E27FC236}">
                  <a16:creationId xmlns:a16="http://schemas.microsoft.com/office/drawing/2014/main" xmlns="" id="{8840383D-272A-4A00-A6DA-25C8EB569FAF}"/>
                </a:ext>
              </a:extLst>
            </p:cNvPr>
            <p:cNvSpPr/>
            <p:nvPr userDrawn="1"/>
          </p:nvSpPr>
          <p:spPr bwMode="auto">
            <a:xfrm>
              <a:off x="4154488" y="5003801"/>
              <a:ext cx="801688" cy="431800"/>
            </a:xfrm>
            <a:custGeom>
              <a:avLst/>
              <a:gdLst>
                <a:gd name="T0" fmla="*/ 505 w 505"/>
                <a:gd name="T1" fmla="*/ 153 h 272"/>
                <a:gd name="T2" fmla="*/ 235 w 505"/>
                <a:gd name="T3" fmla="*/ 0 h 272"/>
                <a:gd name="T4" fmla="*/ 0 w 505"/>
                <a:gd name="T5" fmla="*/ 135 h 272"/>
                <a:gd name="T6" fmla="*/ 237 w 505"/>
                <a:gd name="T7" fmla="*/ 272 h 272"/>
                <a:gd name="T8" fmla="*/ 301 w 505"/>
                <a:gd name="T9" fmla="*/ 270 h 272"/>
                <a:gd name="T10" fmla="*/ 505 w 505"/>
                <a:gd name="T11" fmla="*/ 15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5" h="272">
                  <a:moveTo>
                    <a:pt x="505" y="153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1" y="270"/>
                  </a:lnTo>
                  <a:lnTo>
                    <a:pt x="505" y="153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9" name="ïsḻîḋè">
              <a:extLst>
                <a:ext uri="{FF2B5EF4-FFF2-40B4-BE49-F238E27FC236}">
                  <a16:creationId xmlns:a16="http://schemas.microsoft.com/office/drawing/2014/main" xmlns="" id="{33DAEEB9-1D53-4959-A07E-CCDC733282AC}"/>
                </a:ext>
              </a:extLst>
            </p:cNvPr>
            <p:cNvSpPr/>
            <p:nvPr userDrawn="1"/>
          </p:nvSpPr>
          <p:spPr bwMode="auto">
            <a:xfrm>
              <a:off x="4530726" y="5372101"/>
              <a:ext cx="101600" cy="63500"/>
            </a:xfrm>
            <a:custGeom>
              <a:avLst/>
              <a:gdLst>
                <a:gd name="T0" fmla="*/ 31 w 64"/>
                <a:gd name="T1" fmla="*/ 0 h 40"/>
                <a:gd name="T2" fmla="*/ 64 w 64"/>
                <a:gd name="T3" fmla="*/ 38 h 40"/>
                <a:gd name="T4" fmla="*/ 0 w 64"/>
                <a:gd name="T5" fmla="*/ 40 h 40"/>
                <a:gd name="T6" fmla="*/ 31 w 64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40">
                  <a:moveTo>
                    <a:pt x="31" y="0"/>
                  </a:moveTo>
                  <a:lnTo>
                    <a:pt x="64" y="38"/>
                  </a:lnTo>
                  <a:lnTo>
                    <a:pt x="0" y="4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1322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87318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018/12/27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solidFill>
                  <a:srgbClr val="000000">
                    <a:lumMod val="50000"/>
                    <a:lumOff val="50000"/>
                  </a:srgbClr>
                </a:solidFill>
              </a:rPr>
              <a:t>www.islide.cc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51617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018/12/27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solidFill>
                  <a:srgbClr val="000000">
                    <a:lumMod val="50000"/>
                    <a:lumOff val="50000"/>
                  </a:srgbClr>
                </a:solidFill>
              </a:rPr>
              <a:t>www.islide.cc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132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81225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xmlns="" id="{5039F2C8-BD93-45BC-B2C3-9D5ABFDFC72D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" name="直角三角形 6">
            <a:extLst>
              <a:ext uri="{FF2B5EF4-FFF2-40B4-BE49-F238E27FC236}">
                <a16:creationId xmlns:a16="http://schemas.microsoft.com/office/drawing/2014/main" xmlns="" id="{BF04DCAB-5876-439D-9666-93087BA020F9}"/>
              </a:ext>
            </a:extLst>
          </p:cNvPr>
          <p:cNvSpPr/>
          <p:nvPr userDrawn="1"/>
        </p:nvSpPr>
        <p:spPr>
          <a:xfrm flipH="1">
            <a:off x="5054373" y="1130300"/>
            <a:ext cx="7151915" cy="5737225"/>
          </a:xfrm>
          <a:prstGeom prst="rtTriangle">
            <a:avLst/>
          </a:prstGeom>
          <a:solidFill>
            <a:schemeClr val="accent2">
              <a:lumMod val="60000"/>
              <a:lumOff val="40000"/>
              <a:alpha val="2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grpSp>
        <p:nvGrpSpPr>
          <p:cNvPr id="8" name="821242f6-ee5f-4bf5-a8d8-efc95807eb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62C9CB17-544D-490B-8B3C-E296422B0F36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flipH="1">
            <a:off x="5617098" y="2132013"/>
            <a:ext cx="5715001" cy="4108450"/>
            <a:chOff x="3236913" y="1370013"/>
            <a:chExt cx="5715001" cy="4108450"/>
          </a:xfrm>
        </p:grpSpPr>
        <p:sp>
          <p:nvSpPr>
            <p:cNvPr id="9" name="íSḻíḋe">
              <a:extLst>
                <a:ext uri="{FF2B5EF4-FFF2-40B4-BE49-F238E27FC236}">
                  <a16:creationId xmlns:a16="http://schemas.microsoft.com/office/drawing/2014/main" xmlns="" id="{8EFEFA6B-D0D8-4B87-965D-64BC29F2FBC3}"/>
                </a:ext>
              </a:extLst>
            </p:cNvPr>
            <p:cNvSpPr/>
            <p:nvPr userDrawn="1"/>
          </p:nvSpPr>
          <p:spPr bwMode="auto">
            <a:xfrm>
              <a:off x="7073901" y="3773488"/>
              <a:ext cx="1189038" cy="722313"/>
            </a:xfrm>
            <a:custGeom>
              <a:avLst/>
              <a:gdLst>
                <a:gd name="T0" fmla="*/ 119 w 360"/>
                <a:gd name="T1" fmla="*/ 0 h 219"/>
                <a:gd name="T2" fmla="*/ 108 w 360"/>
                <a:gd name="T3" fmla="*/ 2 h 219"/>
                <a:gd name="T4" fmla="*/ 5 w 360"/>
                <a:gd name="T5" fmla="*/ 62 h 219"/>
                <a:gd name="T6" fmla="*/ 0 w 360"/>
                <a:gd name="T7" fmla="*/ 68 h 219"/>
                <a:gd name="T8" fmla="*/ 0 w 360"/>
                <a:gd name="T9" fmla="*/ 79 h 219"/>
                <a:gd name="T10" fmla="*/ 5 w 360"/>
                <a:gd name="T11" fmla="*/ 86 h 219"/>
                <a:gd name="T12" fmla="*/ 232 w 360"/>
                <a:gd name="T13" fmla="*/ 217 h 219"/>
                <a:gd name="T14" fmla="*/ 241 w 360"/>
                <a:gd name="T15" fmla="*/ 219 h 219"/>
                <a:gd name="T16" fmla="*/ 242 w 360"/>
                <a:gd name="T17" fmla="*/ 219 h 219"/>
                <a:gd name="T18" fmla="*/ 252 w 360"/>
                <a:gd name="T19" fmla="*/ 217 h 219"/>
                <a:gd name="T20" fmla="*/ 345 w 360"/>
                <a:gd name="T21" fmla="*/ 163 h 219"/>
                <a:gd name="T22" fmla="*/ 356 w 360"/>
                <a:gd name="T23" fmla="*/ 157 h 219"/>
                <a:gd name="T24" fmla="*/ 360 w 360"/>
                <a:gd name="T25" fmla="*/ 152 h 219"/>
                <a:gd name="T26" fmla="*/ 360 w 360"/>
                <a:gd name="T27" fmla="*/ 150 h 219"/>
                <a:gd name="T28" fmla="*/ 360 w 360"/>
                <a:gd name="T29" fmla="*/ 141 h 219"/>
                <a:gd name="T30" fmla="*/ 360 w 360"/>
                <a:gd name="T31" fmla="*/ 138 h 219"/>
                <a:gd name="T32" fmla="*/ 356 w 360"/>
                <a:gd name="T33" fmla="*/ 133 h 219"/>
                <a:gd name="T34" fmla="*/ 129 w 360"/>
                <a:gd name="T35" fmla="*/ 2 h 219"/>
                <a:gd name="T36" fmla="*/ 119 w 360"/>
                <a:gd name="T3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0" h="219">
                  <a:moveTo>
                    <a:pt x="119" y="0"/>
                  </a:moveTo>
                  <a:cubicBezTo>
                    <a:pt x="113" y="0"/>
                    <a:pt x="108" y="2"/>
                    <a:pt x="108" y="2"/>
                  </a:cubicBezTo>
                  <a:cubicBezTo>
                    <a:pt x="108" y="2"/>
                    <a:pt x="15" y="56"/>
                    <a:pt x="5" y="62"/>
                  </a:cubicBezTo>
                  <a:cubicBezTo>
                    <a:pt x="1" y="64"/>
                    <a:pt x="0" y="66"/>
                    <a:pt x="0" y="6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5" y="86"/>
                    <a:pt x="5" y="86"/>
                  </a:cubicBezTo>
                  <a:cubicBezTo>
                    <a:pt x="5" y="86"/>
                    <a:pt x="221" y="211"/>
                    <a:pt x="232" y="217"/>
                  </a:cubicBezTo>
                  <a:cubicBezTo>
                    <a:pt x="235" y="218"/>
                    <a:pt x="238" y="219"/>
                    <a:pt x="241" y="219"/>
                  </a:cubicBezTo>
                  <a:cubicBezTo>
                    <a:pt x="241" y="219"/>
                    <a:pt x="242" y="219"/>
                    <a:pt x="242" y="219"/>
                  </a:cubicBezTo>
                  <a:cubicBezTo>
                    <a:pt x="248" y="219"/>
                    <a:pt x="252" y="217"/>
                    <a:pt x="252" y="217"/>
                  </a:cubicBezTo>
                  <a:cubicBezTo>
                    <a:pt x="345" y="163"/>
                    <a:pt x="345" y="163"/>
                    <a:pt x="345" y="163"/>
                  </a:cubicBezTo>
                  <a:cubicBezTo>
                    <a:pt x="345" y="163"/>
                    <a:pt x="345" y="163"/>
                    <a:pt x="356" y="157"/>
                  </a:cubicBezTo>
                  <a:cubicBezTo>
                    <a:pt x="358" y="155"/>
                    <a:pt x="360" y="154"/>
                    <a:pt x="360" y="152"/>
                  </a:cubicBezTo>
                  <a:cubicBezTo>
                    <a:pt x="360" y="152"/>
                    <a:pt x="360" y="151"/>
                    <a:pt x="360" y="150"/>
                  </a:cubicBezTo>
                  <a:cubicBezTo>
                    <a:pt x="360" y="141"/>
                    <a:pt x="360" y="141"/>
                    <a:pt x="360" y="141"/>
                  </a:cubicBezTo>
                  <a:cubicBezTo>
                    <a:pt x="360" y="140"/>
                    <a:pt x="360" y="139"/>
                    <a:pt x="360" y="138"/>
                  </a:cubicBezTo>
                  <a:cubicBezTo>
                    <a:pt x="359" y="135"/>
                    <a:pt x="356" y="133"/>
                    <a:pt x="356" y="133"/>
                  </a:cubicBezTo>
                  <a:cubicBezTo>
                    <a:pt x="356" y="133"/>
                    <a:pt x="139" y="8"/>
                    <a:pt x="129" y="2"/>
                  </a:cubicBezTo>
                  <a:cubicBezTo>
                    <a:pt x="125" y="0"/>
                    <a:pt x="122" y="0"/>
                    <a:pt x="119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" name="ïṣḻíďé">
              <a:extLst>
                <a:ext uri="{FF2B5EF4-FFF2-40B4-BE49-F238E27FC236}">
                  <a16:creationId xmlns:a16="http://schemas.microsoft.com/office/drawing/2014/main" xmlns="" id="{3C06DBC4-5827-4B3B-B29E-7CBFA58CB6F7}"/>
                </a:ext>
              </a:extLst>
            </p:cNvPr>
            <p:cNvSpPr/>
            <p:nvPr userDrawn="1"/>
          </p:nvSpPr>
          <p:spPr bwMode="auto">
            <a:xfrm>
              <a:off x="7146926" y="3800476"/>
              <a:ext cx="1187450" cy="695325"/>
            </a:xfrm>
            <a:custGeom>
              <a:avLst/>
              <a:gdLst>
                <a:gd name="T0" fmla="*/ 360 w 360"/>
                <a:gd name="T1" fmla="*/ 144 h 211"/>
                <a:gd name="T2" fmla="*/ 360 w 360"/>
                <a:gd name="T3" fmla="*/ 142 h 211"/>
                <a:gd name="T4" fmla="*/ 360 w 360"/>
                <a:gd name="T5" fmla="*/ 130 h 211"/>
                <a:gd name="T6" fmla="*/ 336 w 360"/>
                <a:gd name="T7" fmla="*/ 126 h 211"/>
                <a:gd name="T8" fmla="*/ 129 w 360"/>
                <a:gd name="T9" fmla="*/ 6 h 211"/>
                <a:gd name="T10" fmla="*/ 108 w 360"/>
                <a:gd name="T11" fmla="*/ 6 h 211"/>
                <a:gd name="T12" fmla="*/ 12 w 360"/>
                <a:gd name="T13" fmla="*/ 61 h 211"/>
                <a:gd name="T14" fmla="*/ 1 w 360"/>
                <a:gd name="T15" fmla="*/ 59 h 211"/>
                <a:gd name="T16" fmla="*/ 1 w 360"/>
                <a:gd name="T17" fmla="*/ 71 h 211"/>
                <a:gd name="T18" fmla="*/ 5 w 360"/>
                <a:gd name="T19" fmla="*/ 78 h 211"/>
                <a:gd name="T20" fmla="*/ 232 w 360"/>
                <a:gd name="T21" fmla="*/ 209 h 211"/>
                <a:gd name="T22" fmla="*/ 241 w 360"/>
                <a:gd name="T23" fmla="*/ 211 h 211"/>
                <a:gd name="T24" fmla="*/ 241 w 360"/>
                <a:gd name="T25" fmla="*/ 211 h 211"/>
                <a:gd name="T26" fmla="*/ 253 w 360"/>
                <a:gd name="T27" fmla="*/ 209 h 211"/>
                <a:gd name="T28" fmla="*/ 345 w 360"/>
                <a:gd name="T29" fmla="*/ 155 h 211"/>
                <a:gd name="T30" fmla="*/ 356 w 360"/>
                <a:gd name="T31" fmla="*/ 149 h 211"/>
                <a:gd name="T32" fmla="*/ 360 w 360"/>
                <a:gd name="T33" fmla="*/ 14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0" h="211">
                  <a:moveTo>
                    <a:pt x="360" y="144"/>
                  </a:moveTo>
                  <a:cubicBezTo>
                    <a:pt x="360" y="144"/>
                    <a:pt x="360" y="143"/>
                    <a:pt x="360" y="142"/>
                  </a:cubicBezTo>
                  <a:cubicBezTo>
                    <a:pt x="360" y="130"/>
                    <a:pt x="360" y="130"/>
                    <a:pt x="360" y="130"/>
                  </a:cubicBezTo>
                  <a:cubicBezTo>
                    <a:pt x="336" y="126"/>
                    <a:pt x="336" y="126"/>
                    <a:pt x="336" y="126"/>
                  </a:cubicBezTo>
                  <a:cubicBezTo>
                    <a:pt x="282" y="94"/>
                    <a:pt x="137" y="11"/>
                    <a:pt x="129" y="6"/>
                  </a:cubicBezTo>
                  <a:cubicBezTo>
                    <a:pt x="119" y="0"/>
                    <a:pt x="108" y="6"/>
                    <a:pt x="108" y="6"/>
                  </a:cubicBezTo>
                  <a:cubicBezTo>
                    <a:pt x="108" y="6"/>
                    <a:pt x="37" y="47"/>
                    <a:pt x="12" y="61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75"/>
                    <a:pt x="5" y="78"/>
                    <a:pt x="5" y="78"/>
                  </a:cubicBezTo>
                  <a:cubicBezTo>
                    <a:pt x="5" y="78"/>
                    <a:pt x="222" y="203"/>
                    <a:pt x="232" y="209"/>
                  </a:cubicBezTo>
                  <a:cubicBezTo>
                    <a:pt x="235" y="210"/>
                    <a:pt x="239" y="211"/>
                    <a:pt x="241" y="211"/>
                  </a:cubicBezTo>
                  <a:cubicBezTo>
                    <a:pt x="241" y="211"/>
                    <a:pt x="241" y="211"/>
                    <a:pt x="241" y="211"/>
                  </a:cubicBezTo>
                  <a:cubicBezTo>
                    <a:pt x="248" y="211"/>
                    <a:pt x="253" y="209"/>
                    <a:pt x="253" y="209"/>
                  </a:cubicBezTo>
                  <a:cubicBezTo>
                    <a:pt x="345" y="155"/>
                    <a:pt x="345" y="155"/>
                    <a:pt x="345" y="155"/>
                  </a:cubicBezTo>
                  <a:cubicBezTo>
                    <a:pt x="345" y="155"/>
                    <a:pt x="345" y="155"/>
                    <a:pt x="356" y="149"/>
                  </a:cubicBezTo>
                  <a:cubicBezTo>
                    <a:pt x="359" y="147"/>
                    <a:pt x="360" y="146"/>
                    <a:pt x="360" y="14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" name="ïS1ïḑé">
              <a:extLst>
                <a:ext uri="{FF2B5EF4-FFF2-40B4-BE49-F238E27FC236}">
                  <a16:creationId xmlns:a16="http://schemas.microsoft.com/office/drawing/2014/main" xmlns="" id="{70A4DFC2-15A0-4D3B-9158-156B46C9AD7D}"/>
                </a:ext>
              </a:extLst>
            </p:cNvPr>
            <p:cNvSpPr/>
            <p:nvPr userDrawn="1"/>
          </p:nvSpPr>
          <p:spPr bwMode="auto">
            <a:xfrm>
              <a:off x="7131051" y="3760788"/>
              <a:ext cx="1223963" cy="708025"/>
            </a:xfrm>
            <a:custGeom>
              <a:avLst/>
              <a:gdLst>
                <a:gd name="T0" fmla="*/ 350 w 371"/>
                <a:gd name="T1" fmla="*/ 155 h 215"/>
                <a:gd name="T2" fmla="*/ 258 w 371"/>
                <a:gd name="T3" fmla="*/ 209 h 215"/>
                <a:gd name="T4" fmla="*/ 237 w 371"/>
                <a:gd name="T5" fmla="*/ 209 h 215"/>
                <a:gd name="T6" fmla="*/ 10 w 371"/>
                <a:gd name="T7" fmla="*/ 78 h 215"/>
                <a:gd name="T8" fmla="*/ 10 w 371"/>
                <a:gd name="T9" fmla="*/ 66 h 215"/>
                <a:gd name="T10" fmla="*/ 113 w 371"/>
                <a:gd name="T11" fmla="*/ 6 h 215"/>
                <a:gd name="T12" fmla="*/ 134 w 371"/>
                <a:gd name="T13" fmla="*/ 6 h 215"/>
                <a:gd name="T14" fmla="*/ 361 w 371"/>
                <a:gd name="T15" fmla="*/ 137 h 215"/>
                <a:gd name="T16" fmla="*/ 361 w 371"/>
                <a:gd name="T17" fmla="*/ 149 h 215"/>
                <a:gd name="T18" fmla="*/ 350 w 371"/>
                <a:gd name="T19" fmla="*/ 15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1" h="215">
                  <a:moveTo>
                    <a:pt x="350" y="155"/>
                  </a:moveTo>
                  <a:cubicBezTo>
                    <a:pt x="258" y="209"/>
                    <a:pt x="258" y="209"/>
                    <a:pt x="258" y="209"/>
                  </a:cubicBezTo>
                  <a:cubicBezTo>
                    <a:pt x="258" y="209"/>
                    <a:pt x="247" y="215"/>
                    <a:pt x="237" y="209"/>
                  </a:cubicBezTo>
                  <a:cubicBezTo>
                    <a:pt x="227" y="203"/>
                    <a:pt x="10" y="78"/>
                    <a:pt x="10" y="78"/>
                  </a:cubicBezTo>
                  <a:cubicBezTo>
                    <a:pt x="10" y="78"/>
                    <a:pt x="0" y="72"/>
                    <a:pt x="10" y="66"/>
                  </a:cubicBezTo>
                  <a:cubicBezTo>
                    <a:pt x="20" y="60"/>
                    <a:pt x="113" y="6"/>
                    <a:pt x="113" y="6"/>
                  </a:cubicBezTo>
                  <a:cubicBezTo>
                    <a:pt x="113" y="6"/>
                    <a:pt x="124" y="0"/>
                    <a:pt x="134" y="6"/>
                  </a:cubicBezTo>
                  <a:cubicBezTo>
                    <a:pt x="144" y="12"/>
                    <a:pt x="361" y="137"/>
                    <a:pt x="361" y="137"/>
                  </a:cubicBezTo>
                  <a:cubicBezTo>
                    <a:pt x="361" y="137"/>
                    <a:pt x="371" y="143"/>
                    <a:pt x="361" y="149"/>
                  </a:cubicBezTo>
                  <a:cubicBezTo>
                    <a:pt x="350" y="155"/>
                    <a:pt x="350" y="155"/>
                    <a:pt x="350" y="155"/>
                  </a:cubicBez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" name="ïśļîḑè">
              <a:extLst>
                <a:ext uri="{FF2B5EF4-FFF2-40B4-BE49-F238E27FC236}">
                  <a16:creationId xmlns:a16="http://schemas.microsoft.com/office/drawing/2014/main" xmlns="" id="{D345E328-C89A-423A-B7E6-FED551C1496F}"/>
                </a:ext>
              </a:extLst>
            </p:cNvPr>
            <p:cNvSpPr/>
            <p:nvPr userDrawn="1"/>
          </p:nvSpPr>
          <p:spPr bwMode="auto">
            <a:xfrm>
              <a:off x="7232651" y="3819526"/>
              <a:ext cx="950913" cy="550863"/>
            </a:xfrm>
            <a:custGeom>
              <a:avLst/>
              <a:gdLst>
                <a:gd name="T0" fmla="*/ 599 w 599"/>
                <a:gd name="T1" fmla="*/ 222 h 347"/>
                <a:gd name="T2" fmla="*/ 214 w 599"/>
                <a:gd name="T3" fmla="*/ 0 h 347"/>
                <a:gd name="T4" fmla="*/ 0 w 599"/>
                <a:gd name="T5" fmla="*/ 125 h 347"/>
                <a:gd name="T6" fmla="*/ 385 w 599"/>
                <a:gd name="T7" fmla="*/ 347 h 347"/>
                <a:gd name="T8" fmla="*/ 599 w 599"/>
                <a:gd name="T9" fmla="*/ 22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9" h="347">
                  <a:moveTo>
                    <a:pt x="599" y="222"/>
                  </a:moveTo>
                  <a:lnTo>
                    <a:pt x="214" y="0"/>
                  </a:lnTo>
                  <a:lnTo>
                    <a:pt x="0" y="125"/>
                  </a:lnTo>
                  <a:lnTo>
                    <a:pt x="385" y="347"/>
                  </a:lnTo>
                  <a:lnTo>
                    <a:pt x="599" y="222"/>
                  </a:ln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" name="îṡḷîďe">
              <a:extLst>
                <a:ext uri="{FF2B5EF4-FFF2-40B4-BE49-F238E27FC236}">
                  <a16:creationId xmlns:a16="http://schemas.microsoft.com/office/drawing/2014/main" xmlns="" id="{568CBA8E-C40B-46D8-9674-81AF27E8DF16}"/>
                </a:ext>
              </a:extLst>
            </p:cNvPr>
            <p:cNvSpPr/>
            <p:nvPr userDrawn="1"/>
          </p:nvSpPr>
          <p:spPr bwMode="auto">
            <a:xfrm>
              <a:off x="7964488" y="4232276"/>
              <a:ext cx="222250" cy="128588"/>
            </a:xfrm>
            <a:custGeom>
              <a:avLst/>
              <a:gdLst>
                <a:gd name="T0" fmla="*/ 65 w 67"/>
                <a:gd name="T1" fmla="*/ 2 h 39"/>
                <a:gd name="T2" fmla="*/ 63 w 67"/>
                <a:gd name="T3" fmla="*/ 1 h 39"/>
                <a:gd name="T4" fmla="*/ 55 w 67"/>
                <a:gd name="T5" fmla="*/ 1 h 39"/>
                <a:gd name="T6" fmla="*/ 2 w 67"/>
                <a:gd name="T7" fmla="*/ 32 h 39"/>
                <a:gd name="T8" fmla="*/ 2 w 67"/>
                <a:gd name="T9" fmla="*/ 37 h 39"/>
                <a:gd name="T10" fmla="*/ 3 w 67"/>
                <a:gd name="T11" fmla="*/ 37 h 39"/>
                <a:gd name="T12" fmla="*/ 12 w 67"/>
                <a:gd name="T13" fmla="*/ 37 h 39"/>
                <a:gd name="T14" fmla="*/ 65 w 67"/>
                <a:gd name="T15" fmla="*/ 7 h 39"/>
                <a:gd name="T16" fmla="*/ 65 w 67"/>
                <a:gd name="T1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39">
                  <a:moveTo>
                    <a:pt x="65" y="2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1" y="0"/>
                    <a:pt x="58" y="0"/>
                    <a:pt x="55" y="1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0" y="33"/>
                    <a:pt x="0" y="36"/>
                    <a:pt x="2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6" y="39"/>
                    <a:pt x="9" y="39"/>
                    <a:pt x="12" y="3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7" y="6"/>
                    <a:pt x="67" y="3"/>
                    <a:pt x="65" y="2"/>
                  </a:cubicBez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" name="iṣlidê">
              <a:extLst>
                <a:ext uri="{FF2B5EF4-FFF2-40B4-BE49-F238E27FC236}">
                  <a16:creationId xmlns:a16="http://schemas.microsoft.com/office/drawing/2014/main" xmlns="" id="{B384E6C0-5735-40EB-9E64-3C48885CBA4E}"/>
                </a:ext>
              </a:extLst>
            </p:cNvPr>
            <p:cNvSpPr/>
            <p:nvPr userDrawn="1"/>
          </p:nvSpPr>
          <p:spPr bwMode="auto">
            <a:xfrm>
              <a:off x="7351713" y="3889376"/>
              <a:ext cx="33338" cy="12700"/>
            </a:xfrm>
            <a:prstGeom prst="ellipse">
              <a:avLst/>
            </a:pr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" name="íṡļïḑe">
              <a:extLst>
                <a:ext uri="{FF2B5EF4-FFF2-40B4-BE49-F238E27FC236}">
                  <a16:creationId xmlns:a16="http://schemas.microsoft.com/office/drawing/2014/main" xmlns="" id="{D396B6B8-D779-4925-9E43-AE176DA81F43}"/>
                </a:ext>
              </a:extLst>
            </p:cNvPr>
            <p:cNvSpPr/>
            <p:nvPr userDrawn="1"/>
          </p:nvSpPr>
          <p:spPr bwMode="auto">
            <a:xfrm>
              <a:off x="6919913" y="2903538"/>
              <a:ext cx="1830388" cy="842963"/>
            </a:xfrm>
            <a:custGeom>
              <a:avLst/>
              <a:gdLst>
                <a:gd name="T0" fmla="*/ 241 w 1153"/>
                <a:gd name="T1" fmla="*/ 0 h 531"/>
                <a:gd name="T2" fmla="*/ 0 w 1153"/>
                <a:gd name="T3" fmla="*/ 116 h 531"/>
                <a:gd name="T4" fmla="*/ 723 w 1153"/>
                <a:gd name="T5" fmla="*/ 531 h 531"/>
                <a:gd name="T6" fmla="*/ 1153 w 1153"/>
                <a:gd name="T7" fmla="*/ 284 h 531"/>
                <a:gd name="T8" fmla="*/ 1153 w 1153"/>
                <a:gd name="T9" fmla="*/ 276 h 531"/>
                <a:gd name="T10" fmla="*/ 806 w 1153"/>
                <a:gd name="T11" fmla="*/ 475 h 531"/>
                <a:gd name="T12" fmla="*/ 193 w 1153"/>
                <a:gd name="T13" fmla="*/ 122 h 531"/>
                <a:gd name="T14" fmla="*/ 201 w 1153"/>
                <a:gd name="T15" fmla="*/ 118 h 531"/>
                <a:gd name="T16" fmla="*/ 193 w 1153"/>
                <a:gd name="T17" fmla="*/ 112 h 531"/>
                <a:gd name="T18" fmla="*/ 201 w 1153"/>
                <a:gd name="T19" fmla="*/ 108 h 531"/>
                <a:gd name="T20" fmla="*/ 193 w 1153"/>
                <a:gd name="T21" fmla="*/ 103 h 531"/>
                <a:gd name="T22" fmla="*/ 218 w 1153"/>
                <a:gd name="T23" fmla="*/ 89 h 531"/>
                <a:gd name="T24" fmla="*/ 193 w 1153"/>
                <a:gd name="T25" fmla="*/ 74 h 531"/>
                <a:gd name="T26" fmla="*/ 207 w 1153"/>
                <a:gd name="T27" fmla="*/ 66 h 531"/>
                <a:gd name="T28" fmla="*/ 193 w 1153"/>
                <a:gd name="T29" fmla="*/ 58 h 531"/>
                <a:gd name="T30" fmla="*/ 201 w 1153"/>
                <a:gd name="T31" fmla="*/ 54 h 531"/>
                <a:gd name="T32" fmla="*/ 193 w 1153"/>
                <a:gd name="T33" fmla="*/ 47 h 531"/>
                <a:gd name="T34" fmla="*/ 255 w 1153"/>
                <a:gd name="T35" fmla="*/ 12 h 531"/>
                <a:gd name="T36" fmla="*/ 237 w 1153"/>
                <a:gd name="T37" fmla="*/ 2 h 531"/>
                <a:gd name="T38" fmla="*/ 241 w 1153"/>
                <a:gd name="T3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53" h="531">
                  <a:moveTo>
                    <a:pt x="241" y="0"/>
                  </a:moveTo>
                  <a:lnTo>
                    <a:pt x="0" y="116"/>
                  </a:lnTo>
                  <a:lnTo>
                    <a:pt x="723" y="531"/>
                  </a:lnTo>
                  <a:lnTo>
                    <a:pt x="1153" y="284"/>
                  </a:lnTo>
                  <a:lnTo>
                    <a:pt x="1153" y="276"/>
                  </a:lnTo>
                  <a:lnTo>
                    <a:pt x="806" y="475"/>
                  </a:lnTo>
                  <a:lnTo>
                    <a:pt x="193" y="122"/>
                  </a:lnTo>
                  <a:lnTo>
                    <a:pt x="201" y="118"/>
                  </a:lnTo>
                  <a:lnTo>
                    <a:pt x="193" y="112"/>
                  </a:lnTo>
                  <a:lnTo>
                    <a:pt x="201" y="108"/>
                  </a:lnTo>
                  <a:lnTo>
                    <a:pt x="193" y="103"/>
                  </a:lnTo>
                  <a:lnTo>
                    <a:pt x="218" y="89"/>
                  </a:lnTo>
                  <a:lnTo>
                    <a:pt x="193" y="74"/>
                  </a:lnTo>
                  <a:lnTo>
                    <a:pt x="207" y="66"/>
                  </a:lnTo>
                  <a:lnTo>
                    <a:pt x="193" y="58"/>
                  </a:lnTo>
                  <a:lnTo>
                    <a:pt x="201" y="54"/>
                  </a:lnTo>
                  <a:lnTo>
                    <a:pt x="193" y="47"/>
                  </a:lnTo>
                  <a:lnTo>
                    <a:pt x="255" y="12"/>
                  </a:lnTo>
                  <a:lnTo>
                    <a:pt x="237" y="2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" name="ïš1íďê">
              <a:extLst>
                <a:ext uri="{FF2B5EF4-FFF2-40B4-BE49-F238E27FC236}">
                  <a16:creationId xmlns:a16="http://schemas.microsoft.com/office/drawing/2014/main" xmlns="" id="{5111CB22-4F94-446D-A1B2-D29D4E8FBF63}"/>
                </a:ext>
              </a:extLst>
            </p:cNvPr>
            <p:cNvSpPr/>
            <p:nvPr userDrawn="1"/>
          </p:nvSpPr>
          <p:spPr bwMode="auto">
            <a:xfrm>
              <a:off x="6919913" y="2903538"/>
              <a:ext cx="1830388" cy="842963"/>
            </a:xfrm>
            <a:custGeom>
              <a:avLst/>
              <a:gdLst>
                <a:gd name="T0" fmla="*/ 241 w 1153"/>
                <a:gd name="T1" fmla="*/ 0 h 531"/>
                <a:gd name="T2" fmla="*/ 0 w 1153"/>
                <a:gd name="T3" fmla="*/ 116 h 531"/>
                <a:gd name="T4" fmla="*/ 723 w 1153"/>
                <a:gd name="T5" fmla="*/ 531 h 531"/>
                <a:gd name="T6" fmla="*/ 1153 w 1153"/>
                <a:gd name="T7" fmla="*/ 284 h 531"/>
                <a:gd name="T8" fmla="*/ 1153 w 1153"/>
                <a:gd name="T9" fmla="*/ 276 h 531"/>
                <a:gd name="T10" fmla="*/ 806 w 1153"/>
                <a:gd name="T11" fmla="*/ 475 h 531"/>
                <a:gd name="T12" fmla="*/ 193 w 1153"/>
                <a:gd name="T13" fmla="*/ 122 h 531"/>
                <a:gd name="T14" fmla="*/ 201 w 1153"/>
                <a:gd name="T15" fmla="*/ 118 h 531"/>
                <a:gd name="T16" fmla="*/ 193 w 1153"/>
                <a:gd name="T17" fmla="*/ 112 h 531"/>
                <a:gd name="T18" fmla="*/ 201 w 1153"/>
                <a:gd name="T19" fmla="*/ 108 h 531"/>
                <a:gd name="T20" fmla="*/ 193 w 1153"/>
                <a:gd name="T21" fmla="*/ 103 h 531"/>
                <a:gd name="T22" fmla="*/ 218 w 1153"/>
                <a:gd name="T23" fmla="*/ 89 h 531"/>
                <a:gd name="T24" fmla="*/ 193 w 1153"/>
                <a:gd name="T25" fmla="*/ 74 h 531"/>
                <a:gd name="T26" fmla="*/ 207 w 1153"/>
                <a:gd name="T27" fmla="*/ 66 h 531"/>
                <a:gd name="T28" fmla="*/ 193 w 1153"/>
                <a:gd name="T29" fmla="*/ 58 h 531"/>
                <a:gd name="T30" fmla="*/ 201 w 1153"/>
                <a:gd name="T31" fmla="*/ 54 h 531"/>
                <a:gd name="T32" fmla="*/ 193 w 1153"/>
                <a:gd name="T33" fmla="*/ 47 h 531"/>
                <a:gd name="T34" fmla="*/ 255 w 1153"/>
                <a:gd name="T35" fmla="*/ 12 h 531"/>
                <a:gd name="T36" fmla="*/ 237 w 1153"/>
                <a:gd name="T37" fmla="*/ 2 h 531"/>
                <a:gd name="T38" fmla="*/ 241 w 1153"/>
                <a:gd name="T3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53" h="531">
                  <a:moveTo>
                    <a:pt x="241" y="0"/>
                  </a:moveTo>
                  <a:lnTo>
                    <a:pt x="0" y="116"/>
                  </a:lnTo>
                  <a:lnTo>
                    <a:pt x="723" y="531"/>
                  </a:lnTo>
                  <a:lnTo>
                    <a:pt x="1153" y="284"/>
                  </a:lnTo>
                  <a:lnTo>
                    <a:pt x="1153" y="276"/>
                  </a:lnTo>
                  <a:lnTo>
                    <a:pt x="806" y="475"/>
                  </a:lnTo>
                  <a:lnTo>
                    <a:pt x="193" y="122"/>
                  </a:lnTo>
                  <a:lnTo>
                    <a:pt x="201" y="118"/>
                  </a:lnTo>
                  <a:lnTo>
                    <a:pt x="193" y="112"/>
                  </a:lnTo>
                  <a:lnTo>
                    <a:pt x="201" y="108"/>
                  </a:lnTo>
                  <a:lnTo>
                    <a:pt x="193" y="103"/>
                  </a:lnTo>
                  <a:lnTo>
                    <a:pt x="218" y="89"/>
                  </a:lnTo>
                  <a:lnTo>
                    <a:pt x="193" y="74"/>
                  </a:lnTo>
                  <a:lnTo>
                    <a:pt x="207" y="66"/>
                  </a:lnTo>
                  <a:lnTo>
                    <a:pt x="193" y="58"/>
                  </a:lnTo>
                  <a:lnTo>
                    <a:pt x="201" y="54"/>
                  </a:lnTo>
                  <a:lnTo>
                    <a:pt x="193" y="47"/>
                  </a:lnTo>
                  <a:lnTo>
                    <a:pt x="255" y="12"/>
                  </a:lnTo>
                  <a:lnTo>
                    <a:pt x="237" y="2"/>
                  </a:lnTo>
                  <a:lnTo>
                    <a:pt x="2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" name="îšḻiḓe">
              <a:extLst>
                <a:ext uri="{FF2B5EF4-FFF2-40B4-BE49-F238E27FC236}">
                  <a16:creationId xmlns:a16="http://schemas.microsoft.com/office/drawing/2014/main" xmlns="" id="{91FE8048-F52F-46F7-8A79-5424518DD0EA}"/>
                </a:ext>
              </a:extLst>
            </p:cNvPr>
            <p:cNvSpPr/>
            <p:nvPr userDrawn="1"/>
          </p:nvSpPr>
          <p:spPr bwMode="auto">
            <a:xfrm>
              <a:off x="5981701" y="4624388"/>
              <a:ext cx="809625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2 w 245"/>
                <a:gd name="T7" fmla="*/ 0 h 79"/>
                <a:gd name="T8" fmla="*/ 2 w 24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7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" name="ïšľîḑê">
              <a:extLst>
                <a:ext uri="{FF2B5EF4-FFF2-40B4-BE49-F238E27FC236}">
                  <a16:creationId xmlns:a16="http://schemas.microsoft.com/office/drawing/2014/main" xmlns="" id="{F3F29ACD-9325-4AF5-9B8C-B4FA6160615B}"/>
                </a:ext>
              </a:extLst>
            </p:cNvPr>
            <p:cNvSpPr/>
            <p:nvPr userDrawn="1"/>
          </p:nvSpPr>
          <p:spPr bwMode="auto">
            <a:xfrm>
              <a:off x="5988051" y="4410076"/>
              <a:ext cx="803275" cy="431800"/>
            </a:xfrm>
            <a:custGeom>
              <a:avLst/>
              <a:gdLst>
                <a:gd name="T0" fmla="*/ 506 w 506"/>
                <a:gd name="T1" fmla="*/ 154 h 272"/>
                <a:gd name="T2" fmla="*/ 235 w 506"/>
                <a:gd name="T3" fmla="*/ 0 h 272"/>
                <a:gd name="T4" fmla="*/ 0 w 506"/>
                <a:gd name="T5" fmla="*/ 135 h 272"/>
                <a:gd name="T6" fmla="*/ 237 w 506"/>
                <a:gd name="T7" fmla="*/ 272 h 272"/>
                <a:gd name="T8" fmla="*/ 302 w 506"/>
                <a:gd name="T9" fmla="*/ 270 h 272"/>
                <a:gd name="T10" fmla="*/ 506 w 506"/>
                <a:gd name="T11" fmla="*/ 15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6" h="272">
                  <a:moveTo>
                    <a:pt x="506" y="154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2" y="270"/>
                  </a:lnTo>
                  <a:lnTo>
                    <a:pt x="506" y="154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" name="isḷïḋè">
              <a:extLst>
                <a:ext uri="{FF2B5EF4-FFF2-40B4-BE49-F238E27FC236}">
                  <a16:creationId xmlns:a16="http://schemas.microsoft.com/office/drawing/2014/main" xmlns="" id="{7FCAA872-69AC-4B0C-A206-F607E869CA80}"/>
                </a:ext>
              </a:extLst>
            </p:cNvPr>
            <p:cNvSpPr/>
            <p:nvPr userDrawn="1"/>
          </p:nvSpPr>
          <p:spPr bwMode="auto">
            <a:xfrm>
              <a:off x="6364288" y="4778376"/>
              <a:ext cx="103188" cy="63500"/>
            </a:xfrm>
            <a:custGeom>
              <a:avLst/>
              <a:gdLst>
                <a:gd name="T0" fmla="*/ 32 w 65"/>
                <a:gd name="T1" fmla="*/ 0 h 40"/>
                <a:gd name="T2" fmla="*/ 65 w 65"/>
                <a:gd name="T3" fmla="*/ 38 h 40"/>
                <a:gd name="T4" fmla="*/ 0 w 65"/>
                <a:gd name="T5" fmla="*/ 40 h 40"/>
                <a:gd name="T6" fmla="*/ 32 w 65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40">
                  <a:moveTo>
                    <a:pt x="32" y="0"/>
                  </a:moveTo>
                  <a:lnTo>
                    <a:pt x="65" y="38"/>
                  </a:lnTo>
                  <a:lnTo>
                    <a:pt x="0" y="4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" name="íšḻiḍe">
              <a:extLst>
                <a:ext uri="{FF2B5EF4-FFF2-40B4-BE49-F238E27FC236}">
                  <a16:creationId xmlns:a16="http://schemas.microsoft.com/office/drawing/2014/main" xmlns="" id="{5122C905-B1F6-4E0D-BE7B-8DE157DD468B}"/>
                </a:ext>
              </a:extLst>
            </p:cNvPr>
            <p:cNvSpPr/>
            <p:nvPr userDrawn="1"/>
          </p:nvSpPr>
          <p:spPr bwMode="auto">
            <a:xfrm>
              <a:off x="7226301" y="27051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" name="iSḷîḑé">
              <a:extLst>
                <a:ext uri="{FF2B5EF4-FFF2-40B4-BE49-F238E27FC236}">
                  <a16:creationId xmlns:a16="http://schemas.microsoft.com/office/drawing/2014/main" xmlns="" id="{32EE354B-CE5A-4120-B46E-406B3548C7F2}"/>
                </a:ext>
              </a:extLst>
            </p:cNvPr>
            <p:cNvSpPr/>
            <p:nvPr userDrawn="1"/>
          </p:nvSpPr>
          <p:spPr bwMode="auto">
            <a:xfrm>
              <a:off x="7226301" y="27051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" name="íśľïde">
              <a:extLst>
                <a:ext uri="{FF2B5EF4-FFF2-40B4-BE49-F238E27FC236}">
                  <a16:creationId xmlns:a16="http://schemas.microsoft.com/office/drawing/2014/main" xmlns="" id="{71B49854-68C6-42FE-9D6E-4E48D96E5AC7}"/>
                </a:ext>
              </a:extLst>
            </p:cNvPr>
            <p:cNvSpPr/>
            <p:nvPr userDrawn="1"/>
          </p:nvSpPr>
          <p:spPr bwMode="auto">
            <a:xfrm>
              <a:off x="7226301" y="3081338"/>
              <a:ext cx="1655763" cy="576263"/>
            </a:xfrm>
            <a:custGeom>
              <a:avLst/>
              <a:gdLst>
                <a:gd name="T0" fmla="*/ 0 w 1043"/>
                <a:gd name="T1" fmla="*/ 0 h 363"/>
                <a:gd name="T2" fmla="*/ 0 w 1043"/>
                <a:gd name="T3" fmla="*/ 10 h 363"/>
                <a:gd name="T4" fmla="*/ 613 w 1043"/>
                <a:gd name="T5" fmla="*/ 363 h 363"/>
                <a:gd name="T6" fmla="*/ 1043 w 1043"/>
                <a:gd name="T7" fmla="*/ 116 h 363"/>
                <a:gd name="T8" fmla="*/ 1043 w 1043"/>
                <a:gd name="T9" fmla="*/ 106 h 363"/>
                <a:gd name="T10" fmla="*/ 0 w 1043"/>
                <a:gd name="T1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3">
                  <a:moveTo>
                    <a:pt x="0" y="0"/>
                  </a:moveTo>
                  <a:lnTo>
                    <a:pt x="0" y="10"/>
                  </a:lnTo>
                  <a:lnTo>
                    <a:pt x="613" y="363"/>
                  </a:lnTo>
                  <a:lnTo>
                    <a:pt x="1043" y="116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5" name="íšḻide">
              <a:extLst>
                <a:ext uri="{FF2B5EF4-FFF2-40B4-BE49-F238E27FC236}">
                  <a16:creationId xmlns:a16="http://schemas.microsoft.com/office/drawing/2014/main" xmlns="" id="{08F9FB94-5C81-407D-9FDB-9142BFEAADE3}"/>
                </a:ext>
              </a:extLst>
            </p:cNvPr>
            <p:cNvSpPr/>
            <p:nvPr userDrawn="1"/>
          </p:nvSpPr>
          <p:spPr bwMode="auto">
            <a:xfrm>
              <a:off x="7226301" y="2689226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6" name="îṧḷîḑè">
              <a:extLst>
                <a:ext uri="{FF2B5EF4-FFF2-40B4-BE49-F238E27FC236}">
                  <a16:creationId xmlns:a16="http://schemas.microsoft.com/office/drawing/2014/main" xmlns="" id="{040D7BD2-4525-4110-B9D6-07A12E56F6D5}"/>
                </a:ext>
              </a:extLst>
            </p:cNvPr>
            <p:cNvSpPr/>
            <p:nvPr userDrawn="1"/>
          </p:nvSpPr>
          <p:spPr bwMode="auto">
            <a:xfrm>
              <a:off x="7226301" y="2689226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7" name="ísļîďê">
              <a:extLst>
                <a:ext uri="{FF2B5EF4-FFF2-40B4-BE49-F238E27FC236}">
                  <a16:creationId xmlns:a16="http://schemas.microsoft.com/office/drawing/2014/main" xmlns="" id="{F38950E6-D792-452D-97EA-2A34B3289AAE}"/>
                </a:ext>
              </a:extLst>
            </p:cNvPr>
            <p:cNvSpPr/>
            <p:nvPr userDrawn="1"/>
          </p:nvSpPr>
          <p:spPr bwMode="auto">
            <a:xfrm>
              <a:off x="7226301" y="2674938"/>
              <a:ext cx="1655763" cy="954088"/>
            </a:xfrm>
            <a:custGeom>
              <a:avLst/>
              <a:gdLst>
                <a:gd name="T0" fmla="*/ 1043 w 1043"/>
                <a:gd name="T1" fmla="*/ 353 h 601"/>
                <a:gd name="T2" fmla="*/ 430 w 1043"/>
                <a:gd name="T3" fmla="*/ 0 h 601"/>
                <a:gd name="T4" fmla="*/ 0 w 1043"/>
                <a:gd name="T5" fmla="*/ 247 h 601"/>
                <a:gd name="T6" fmla="*/ 613 w 1043"/>
                <a:gd name="T7" fmla="*/ 601 h 601"/>
                <a:gd name="T8" fmla="*/ 1043 w 1043"/>
                <a:gd name="T9" fmla="*/ 353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1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1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8" name="ïṡļîdê">
              <a:extLst>
                <a:ext uri="{FF2B5EF4-FFF2-40B4-BE49-F238E27FC236}">
                  <a16:creationId xmlns:a16="http://schemas.microsoft.com/office/drawing/2014/main" xmlns="" id="{73F6217C-E6C3-4DE8-BE82-3CA6769A0EC3}"/>
                </a:ext>
              </a:extLst>
            </p:cNvPr>
            <p:cNvSpPr/>
            <p:nvPr userDrawn="1"/>
          </p:nvSpPr>
          <p:spPr bwMode="auto">
            <a:xfrm>
              <a:off x="7226301" y="2674938"/>
              <a:ext cx="1655763" cy="954088"/>
            </a:xfrm>
            <a:custGeom>
              <a:avLst/>
              <a:gdLst>
                <a:gd name="T0" fmla="*/ 1043 w 1043"/>
                <a:gd name="T1" fmla="*/ 353 h 601"/>
                <a:gd name="T2" fmla="*/ 430 w 1043"/>
                <a:gd name="T3" fmla="*/ 0 h 601"/>
                <a:gd name="T4" fmla="*/ 0 w 1043"/>
                <a:gd name="T5" fmla="*/ 247 h 601"/>
                <a:gd name="T6" fmla="*/ 613 w 1043"/>
                <a:gd name="T7" fmla="*/ 601 h 601"/>
                <a:gd name="T8" fmla="*/ 1043 w 1043"/>
                <a:gd name="T9" fmla="*/ 353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1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1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9" name="íṡlîḍè">
              <a:extLst>
                <a:ext uri="{FF2B5EF4-FFF2-40B4-BE49-F238E27FC236}">
                  <a16:creationId xmlns:a16="http://schemas.microsoft.com/office/drawing/2014/main" xmlns="" id="{B2C57444-C8CB-4BDD-AB0C-D3CF266BD7FE}"/>
                </a:ext>
              </a:extLst>
            </p:cNvPr>
            <p:cNvSpPr/>
            <p:nvPr userDrawn="1"/>
          </p:nvSpPr>
          <p:spPr bwMode="auto">
            <a:xfrm>
              <a:off x="7226301" y="3021013"/>
              <a:ext cx="1655763" cy="608013"/>
            </a:xfrm>
            <a:custGeom>
              <a:avLst/>
              <a:gdLst>
                <a:gd name="T0" fmla="*/ 0 w 1043"/>
                <a:gd name="T1" fmla="*/ 0 h 383"/>
                <a:gd name="T2" fmla="*/ 0 w 1043"/>
                <a:gd name="T3" fmla="*/ 29 h 383"/>
                <a:gd name="T4" fmla="*/ 613 w 1043"/>
                <a:gd name="T5" fmla="*/ 383 h 383"/>
                <a:gd name="T6" fmla="*/ 1043 w 1043"/>
                <a:gd name="T7" fmla="*/ 135 h 383"/>
                <a:gd name="T8" fmla="*/ 1043 w 1043"/>
                <a:gd name="T9" fmla="*/ 106 h 383"/>
                <a:gd name="T10" fmla="*/ 0 w 1043"/>
                <a:gd name="T1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3">
                  <a:moveTo>
                    <a:pt x="0" y="0"/>
                  </a:moveTo>
                  <a:lnTo>
                    <a:pt x="0" y="29"/>
                  </a:lnTo>
                  <a:lnTo>
                    <a:pt x="613" y="383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5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0" name="íṡ1îḑè">
              <a:extLst>
                <a:ext uri="{FF2B5EF4-FFF2-40B4-BE49-F238E27FC236}">
                  <a16:creationId xmlns:a16="http://schemas.microsoft.com/office/drawing/2014/main" xmlns="" id="{BE6314D0-AC6A-4E7E-85C2-CDAC12B14E46}"/>
                </a:ext>
              </a:extLst>
            </p:cNvPr>
            <p:cNvSpPr/>
            <p:nvPr userDrawn="1"/>
          </p:nvSpPr>
          <p:spPr bwMode="auto">
            <a:xfrm>
              <a:off x="7226301" y="26289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1" name="î$ḷïḓé">
              <a:extLst>
                <a:ext uri="{FF2B5EF4-FFF2-40B4-BE49-F238E27FC236}">
                  <a16:creationId xmlns:a16="http://schemas.microsoft.com/office/drawing/2014/main" xmlns="" id="{9011874E-618C-4F3A-9FC2-B01AB878A5B2}"/>
                </a:ext>
              </a:extLst>
            </p:cNvPr>
            <p:cNvSpPr/>
            <p:nvPr userDrawn="1"/>
          </p:nvSpPr>
          <p:spPr bwMode="auto">
            <a:xfrm>
              <a:off x="7226301" y="26289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2" name="íṩľídè">
              <a:extLst>
                <a:ext uri="{FF2B5EF4-FFF2-40B4-BE49-F238E27FC236}">
                  <a16:creationId xmlns:a16="http://schemas.microsoft.com/office/drawing/2014/main" xmlns="" id="{316FF3A0-9512-43FA-B1CE-CFB758595D81}"/>
                </a:ext>
              </a:extLst>
            </p:cNvPr>
            <p:cNvSpPr/>
            <p:nvPr userDrawn="1"/>
          </p:nvSpPr>
          <p:spPr bwMode="auto">
            <a:xfrm>
              <a:off x="7226301" y="26035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3" name="iṥlîďé">
              <a:extLst>
                <a:ext uri="{FF2B5EF4-FFF2-40B4-BE49-F238E27FC236}">
                  <a16:creationId xmlns:a16="http://schemas.microsoft.com/office/drawing/2014/main" xmlns="" id="{15A3435B-960D-4103-B253-14A1F7CD0034}"/>
                </a:ext>
              </a:extLst>
            </p:cNvPr>
            <p:cNvSpPr/>
            <p:nvPr userDrawn="1"/>
          </p:nvSpPr>
          <p:spPr bwMode="auto">
            <a:xfrm>
              <a:off x="7226301" y="26035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4" name="íṥḻiďê">
              <a:extLst>
                <a:ext uri="{FF2B5EF4-FFF2-40B4-BE49-F238E27FC236}">
                  <a16:creationId xmlns:a16="http://schemas.microsoft.com/office/drawing/2014/main" xmlns="" id="{44611180-BC43-4E18-8516-ED61DE76D026}"/>
                </a:ext>
              </a:extLst>
            </p:cNvPr>
            <p:cNvSpPr/>
            <p:nvPr userDrawn="1"/>
          </p:nvSpPr>
          <p:spPr bwMode="auto">
            <a:xfrm>
              <a:off x="7226301" y="2978151"/>
              <a:ext cx="1655763" cy="577850"/>
            </a:xfrm>
            <a:custGeom>
              <a:avLst/>
              <a:gdLst>
                <a:gd name="T0" fmla="*/ 0 w 1043"/>
                <a:gd name="T1" fmla="*/ 0 h 364"/>
                <a:gd name="T2" fmla="*/ 0 w 1043"/>
                <a:gd name="T3" fmla="*/ 11 h 364"/>
                <a:gd name="T4" fmla="*/ 613 w 1043"/>
                <a:gd name="T5" fmla="*/ 364 h 364"/>
                <a:gd name="T6" fmla="*/ 1043 w 1043"/>
                <a:gd name="T7" fmla="*/ 117 h 364"/>
                <a:gd name="T8" fmla="*/ 1043 w 1043"/>
                <a:gd name="T9" fmla="*/ 106 h 364"/>
                <a:gd name="T10" fmla="*/ 0 w 1043"/>
                <a:gd name="T11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4">
                  <a:moveTo>
                    <a:pt x="0" y="0"/>
                  </a:moveTo>
                  <a:lnTo>
                    <a:pt x="0" y="11"/>
                  </a:lnTo>
                  <a:lnTo>
                    <a:pt x="613" y="364"/>
                  </a:lnTo>
                  <a:lnTo>
                    <a:pt x="1043" y="117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5" name="ïšľíḋe">
              <a:extLst>
                <a:ext uri="{FF2B5EF4-FFF2-40B4-BE49-F238E27FC236}">
                  <a16:creationId xmlns:a16="http://schemas.microsoft.com/office/drawing/2014/main" xmlns="" id="{DFDB74FB-E92C-4DA0-A278-6B214A6649C3}"/>
                </a:ext>
              </a:extLst>
            </p:cNvPr>
            <p:cNvSpPr/>
            <p:nvPr userDrawn="1"/>
          </p:nvSpPr>
          <p:spPr bwMode="auto">
            <a:xfrm>
              <a:off x="7226301" y="2586038"/>
              <a:ext cx="1655763" cy="957263"/>
            </a:xfrm>
            <a:custGeom>
              <a:avLst/>
              <a:gdLst>
                <a:gd name="T0" fmla="*/ 1043 w 1043"/>
                <a:gd name="T1" fmla="*/ 353 h 603"/>
                <a:gd name="T2" fmla="*/ 430 w 1043"/>
                <a:gd name="T3" fmla="*/ 0 h 603"/>
                <a:gd name="T4" fmla="*/ 0 w 1043"/>
                <a:gd name="T5" fmla="*/ 247 h 603"/>
                <a:gd name="T6" fmla="*/ 613 w 1043"/>
                <a:gd name="T7" fmla="*/ 603 h 603"/>
                <a:gd name="T8" fmla="*/ 1043 w 1043"/>
                <a:gd name="T9" fmla="*/ 35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3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3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85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6" name="iŝļíḋê">
              <a:extLst>
                <a:ext uri="{FF2B5EF4-FFF2-40B4-BE49-F238E27FC236}">
                  <a16:creationId xmlns:a16="http://schemas.microsoft.com/office/drawing/2014/main" xmlns="" id="{85FD90A9-D6F6-4EA5-B302-52684D61A965}"/>
                </a:ext>
              </a:extLst>
            </p:cNvPr>
            <p:cNvSpPr/>
            <p:nvPr userDrawn="1"/>
          </p:nvSpPr>
          <p:spPr bwMode="auto">
            <a:xfrm>
              <a:off x="7226301" y="2586038"/>
              <a:ext cx="1655763" cy="957263"/>
            </a:xfrm>
            <a:custGeom>
              <a:avLst/>
              <a:gdLst>
                <a:gd name="T0" fmla="*/ 1043 w 1043"/>
                <a:gd name="T1" fmla="*/ 353 h 603"/>
                <a:gd name="T2" fmla="*/ 430 w 1043"/>
                <a:gd name="T3" fmla="*/ 0 h 603"/>
                <a:gd name="T4" fmla="*/ 0 w 1043"/>
                <a:gd name="T5" fmla="*/ 247 h 603"/>
                <a:gd name="T6" fmla="*/ 613 w 1043"/>
                <a:gd name="T7" fmla="*/ 603 h 603"/>
                <a:gd name="T8" fmla="*/ 1043 w 1043"/>
                <a:gd name="T9" fmla="*/ 35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3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3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7" name="isḷïḍé">
              <a:extLst>
                <a:ext uri="{FF2B5EF4-FFF2-40B4-BE49-F238E27FC236}">
                  <a16:creationId xmlns:a16="http://schemas.microsoft.com/office/drawing/2014/main" xmlns="" id="{C1446773-4485-4E36-848C-FBEFD58386ED}"/>
                </a:ext>
              </a:extLst>
            </p:cNvPr>
            <p:cNvSpPr/>
            <p:nvPr userDrawn="1"/>
          </p:nvSpPr>
          <p:spPr bwMode="auto">
            <a:xfrm>
              <a:off x="7226301" y="2978151"/>
              <a:ext cx="973138" cy="679450"/>
            </a:xfrm>
            <a:custGeom>
              <a:avLst/>
              <a:gdLst>
                <a:gd name="T0" fmla="*/ 613 w 613"/>
                <a:gd name="T1" fmla="*/ 356 h 428"/>
                <a:gd name="T2" fmla="*/ 613 w 613"/>
                <a:gd name="T3" fmla="*/ 428 h 428"/>
                <a:gd name="T4" fmla="*/ 0 w 613"/>
                <a:gd name="T5" fmla="*/ 75 h 428"/>
                <a:gd name="T6" fmla="*/ 0 w 613"/>
                <a:gd name="T7" fmla="*/ 0 h 428"/>
                <a:gd name="T8" fmla="*/ 613 w 613"/>
                <a:gd name="T9" fmla="*/ 356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3" h="428">
                  <a:moveTo>
                    <a:pt x="613" y="356"/>
                  </a:moveTo>
                  <a:lnTo>
                    <a:pt x="613" y="428"/>
                  </a:lnTo>
                  <a:lnTo>
                    <a:pt x="0" y="75"/>
                  </a:lnTo>
                  <a:lnTo>
                    <a:pt x="0" y="0"/>
                  </a:lnTo>
                  <a:lnTo>
                    <a:pt x="613" y="356"/>
                  </a:lnTo>
                  <a:close/>
                </a:path>
              </a:pathLst>
            </a:custGeom>
            <a:solidFill>
              <a:srgbClr val="EF6C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8" name="íšlïḑê">
              <a:extLst>
                <a:ext uri="{FF2B5EF4-FFF2-40B4-BE49-F238E27FC236}">
                  <a16:creationId xmlns:a16="http://schemas.microsoft.com/office/drawing/2014/main" xmlns="" id="{3389EF52-198D-436B-8056-3E8C4CD5BBA9}"/>
                </a:ext>
              </a:extLst>
            </p:cNvPr>
            <p:cNvSpPr/>
            <p:nvPr userDrawn="1"/>
          </p:nvSpPr>
          <p:spPr bwMode="auto">
            <a:xfrm>
              <a:off x="7296151" y="25146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39" name="išľîḋê">
              <a:extLst>
                <a:ext uri="{FF2B5EF4-FFF2-40B4-BE49-F238E27FC236}">
                  <a16:creationId xmlns:a16="http://schemas.microsoft.com/office/drawing/2014/main" xmlns="" id="{4CF0D9F0-A65B-4B74-AAF6-F89C2A50D2A1}"/>
                </a:ext>
              </a:extLst>
            </p:cNvPr>
            <p:cNvSpPr/>
            <p:nvPr userDrawn="1"/>
          </p:nvSpPr>
          <p:spPr bwMode="auto">
            <a:xfrm>
              <a:off x="7296151" y="2514601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0" name="îṩlïďê">
              <a:extLst>
                <a:ext uri="{FF2B5EF4-FFF2-40B4-BE49-F238E27FC236}">
                  <a16:creationId xmlns:a16="http://schemas.microsoft.com/office/drawing/2014/main" xmlns="" id="{9F594A32-5AD3-4804-927C-82044169077B}"/>
                </a:ext>
              </a:extLst>
            </p:cNvPr>
            <p:cNvSpPr/>
            <p:nvPr userDrawn="1"/>
          </p:nvSpPr>
          <p:spPr bwMode="auto">
            <a:xfrm>
              <a:off x="7296151" y="2892426"/>
              <a:ext cx="1655763" cy="574675"/>
            </a:xfrm>
            <a:custGeom>
              <a:avLst/>
              <a:gdLst>
                <a:gd name="T0" fmla="*/ 0 w 1043"/>
                <a:gd name="T1" fmla="*/ 0 h 362"/>
                <a:gd name="T2" fmla="*/ 0 w 1043"/>
                <a:gd name="T3" fmla="*/ 9 h 362"/>
                <a:gd name="T4" fmla="*/ 613 w 1043"/>
                <a:gd name="T5" fmla="*/ 362 h 362"/>
                <a:gd name="T6" fmla="*/ 1043 w 1043"/>
                <a:gd name="T7" fmla="*/ 115 h 362"/>
                <a:gd name="T8" fmla="*/ 1043 w 1043"/>
                <a:gd name="T9" fmla="*/ 106 h 362"/>
                <a:gd name="T10" fmla="*/ 0 w 1043"/>
                <a:gd name="T11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2">
                  <a:moveTo>
                    <a:pt x="0" y="0"/>
                  </a:moveTo>
                  <a:lnTo>
                    <a:pt x="0" y="9"/>
                  </a:lnTo>
                  <a:lnTo>
                    <a:pt x="613" y="362"/>
                  </a:lnTo>
                  <a:lnTo>
                    <a:pt x="1043" y="11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1" name="işlídè">
              <a:extLst>
                <a:ext uri="{FF2B5EF4-FFF2-40B4-BE49-F238E27FC236}">
                  <a16:creationId xmlns:a16="http://schemas.microsoft.com/office/drawing/2014/main" xmlns="" id="{570EDDA6-3A56-4ED1-9591-C13D50024277}"/>
                </a:ext>
              </a:extLst>
            </p:cNvPr>
            <p:cNvSpPr/>
            <p:nvPr userDrawn="1"/>
          </p:nvSpPr>
          <p:spPr bwMode="auto">
            <a:xfrm>
              <a:off x="7296151" y="24971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2" name="ïṧľîḋê">
              <a:extLst>
                <a:ext uri="{FF2B5EF4-FFF2-40B4-BE49-F238E27FC236}">
                  <a16:creationId xmlns:a16="http://schemas.microsoft.com/office/drawing/2014/main" xmlns="" id="{646EDDDF-DFF2-411A-805F-0D4006B621B6}"/>
                </a:ext>
              </a:extLst>
            </p:cNvPr>
            <p:cNvSpPr/>
            <p:nvPr userDrawn="1"/>
          </p:nvSpPr>
          <p:spPr bwMode="auto">
            <a:xfrm>
              <a:off x="7296151" y="24971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3" name="ïṥlíḓe">
              <a:extLst>
                <a:ext uri="{FF2B5EF4-FFF2-40B4-BE49-F238E27FC236}">
                  <a16:creationId xmlns:a16="http://schemas.microsoft.com/office/drawing/2014/main" xmlns="" id="{1A6FEC4E-26E4-4054-8439-0C5A4E464DF4}"/>
                </a:ext>
              </a:extLst>
            </p:cNvPr>
            <p:cNvSpPr/>
            <p:nvPr userDrawn="1"/>
          </p:nvSpPr>
          <p:spPr bwMode="auto">
            <a:xfrm>
              <a:off x="7296151" y="2484438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4" name="îSlíḍè">
              <a:extLst>
                <a:ext uri="{FF2B5EF4-FFF2-40B4-BE49-F238E27FC236}">
                  <a16:creationId xmlns:a16="http://schemas.microsoft.com/office/drawing/2014/main" xmlns="" id="{A5B3C4F6-59D4-44A4-909C-BE24DE6096C9}"/>
                </a:ext>
              </a:extLst>
            </p:cNvPr>
            <p:cNvSpPr/>
            <p:nvPr userDrawn="1"/>
          </p:nvSpPr>
          <p:spPr bwMode="auto">
            <a:xfrm>
              <a:off x="7296151" y="2484438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5" name="îŝľîḓê">
              <a:extLst>
                <a:ext uri="{FF2B5EF4-FFF2-40B4-BE49-F238E27FC236}">
                  <a16:creationId xmlns:a16="http://schemas.microsoft.com/office/drawing/2014/main" xmlns="" id="{5D88D7FB-91A9-45FD-B767-766CDBD269CF}"/>
                </a:ext>
              </a:extLst>
            </p:cNvPr>
            <p:cNvSpPr/>
            <p:nvPr userDrawn="1"/>
          </p:nvSpPr>
          <p:spPr bwMode="auto">
            <a:xfrm>
              <a:off x="7296151" y="2830513"/>
              <a:ext cx="1655763" cy="606425"/>
            </a:xfrm>
            <a:custGeom>
              <a:avLst/>
              <a:gdLst>
                <a:gd name="T0" fmla="*/ 0 w 1043"/>
                <a:gd name="T1" fmla="*/ 0 h 382"/>
                <a:gd name="T2" fmla="*/ 0 w 1043"/>
                <a:gd name="T3" fmla="*/ 29 h 382"/>
                <a:gd name="T4" fmla="*/ 613 w 1043"/>
                <a:gd name="T5" fmla="*/ 382 h 382"/>
                <a:gd name="T6" fmla="*/ 1043 w 1043"/>
                <a:gd name="T7" fmla="*/ 135 h 382"/>
                <a:gd name="T8" fmla="*/ 1043 w 1043"/>
                <a:gd name="T9" fmla="*/ 106 h 382"/>
                <a:gd name="T10" fmla="*/ 0 w 1043"/>
                <a:gd name="T11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2">
                  <a:moveTo>
                    <a:pt x="0" y="0"/>
                  </a:moveTo>
                  <a:lnTo>
                    <a:pt x="0" y="29"/>
                  </a:lnTo>
                  <a:lnTo>
                    <a:pt x="613" y="382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4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6" name="íślïḓè">
              <a:extLst>
                <a:ext uri="{FF2B5EF4-FFF2-40B4-BE49-F238E27FC236}">
                  <a16:creationId xmlns:a16="http://schemas.microsoft.com/office/drawing/2014/main" xmlns="" id="{E5934ED5-E60C-49ED-B13D-ECF696B50267}"/>
                </a:ext>
              </a:extLst>
            </p:cNvPr>
            <p:cNvSpPr/>
            <p:nvPr userDrawn="1"/>
          </p:nvSpPr>
          <p:spPr bwMode="auto">
            <a:xfrm>
              <a:off x="7296151" y="2830513"/>
              <a:ext cx="1655763" cy="606425"/>
            </a:xfrm>
            <a:custGeom>
              <a:avLst/>
              <a:gdLst>
                <a:gd name="T0" fmla="*/ 0 w 1043"/>
                <a:gd name="T1" fmla="*/ 0 h 382"/>
                <a:gd name="T2" fmla="*/ 0 w 1043"/>
                <a:gd name="T3" fmla="*/ 29 h 382"/>
                <a:gd name="T4" fmla="*/ 613 w 1043"/>
                <a:gd name="T5" fmla="*/ 382 h 382"/>
                <a:gd name="T6" fmla="*/ 1043 w 1043"/>
                <a:gd name="T7" fmla="*/ 135 h 382"/>
                <a:gd name="T8" fmla="*/ 1043 w 1043"/>
                <a:gd name="T9" fmla="*/ 106 h 382"/>
                <a:gd name="T10" fmla="*/ 0 w 1043"/>
                <a:gd name="T11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82">
                  <a:moveTo>
                    <a:pt x="0" y="0"/>
                  </a:moveTo>
                  <a:lnTo>
                    <a:pt x="0" y="29"/>
                  </a:lnTo>
                  <a:lnTo>
                    <a:pt x="613" y="382"/>
                  </a:lnTo>
                  <a:lnTo>
                    <a:pt x="1043" y="135"/>
                  </a:lnTo>
                  <a:lnTo>
                    <a:pt x="1043" y="10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7" name="íšḷïdé">
              <a:extLst>
                <a:ext uri="{FF2B5EF4-FFF2-40B4-BE49-F238E27FC236}">
                  <a16:creationId xmlns:a16="http://schemas.microsoft.com/office/drawing/2014/main" xmlns="" id="{3B58BBEE-02AB-4618-80BA-8ED2B7D9E984}"/>
                </a:ext>
              </a:extLst>
            </p:cNvPr>
            <p:cNvSpPr/>
            <p:nvPr userDrawn="1"/>
          </p:nvSpPr>
          <p:spPr bwMode="auto">
            <a:xfrm>
              <a:off x="7296151" y="2438401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8" name="îṩļîḑé">
              <a:extLst>
                <a:ext uri="{FF2B5EF4-FFF2-40B4-BE49-F238E27FC236}">
                  <a16:creationId xmlns:a16="http://schemas.microsoft.com/office/drawing/2014/main" xmlns="" id="{D306B89A-6294-4DF3-9B99-C4348A7FBAC3}"/>
                </a:ext>
              </a:extLst>
            </p:cNvPr>
            <p:cNvSpPr/>
            <p:nvPr userDrawn="1"/>
          </p:nvSpPr>
          <p:spPr bwMode="auto">
            <a:xfrm>
              <a:off x="7296151" y="2438401"/>
              <a:ext cx="1655763" cy="955675"/>
            </a:xfrm>
            <a:custGeom>
              <a:avLst/>
              <a:gdLst>
                <a:gd name="T0" fmla="*/ 1043 w 1043"/>
                <a:gd name="T1" fmla="*/ 353 h 602"/>
                <a:gd name="T2" fmla="*/ 430 w 1043"/>
                <a:gd name="T3" fmla="*/ 0 h 602"/>
                <a:gd name="T4" fmla="*/ 0 w 1043"/>
                <a:gd name="T5" fmla="*/ 247 h 602"/>
                <a:gd name="T6" fmla="*/ 613 w 1043"/>
                <a:gd name="T7" fmla="*/ 602 h 602"/>
                <a:gd name="T8" fmla="*/ 1043 w 1043"/>
                <a:gd name="T9" fmla="*/ 353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2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49" name="ï$ļiḍê">
              <a:extLst>
                <a:ext uri="{FF2B5EF4-FFF2-40B4-BE49-F238E27FC236}">
                  <a16:creationId xmlns:a16="http://schemas.microsoft.com/office/drawing/2014/main" xmlns="" id="{A0C9911A-5B53-42D6-93AA-2E680F94A161}"/>
                </a:ext>
              </a:extLst>
            </p:cNvPr>
            <p:cNvSpPr/>
            <p:nvPr userDrawn="1"/>
          </p:nvSpPr>
          <p:spPr bwMode="auto">
            <a:xfrm>
              <a:off x="7296151" y="2411413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0" name="íŝļïḑè">
              <a:extLst>
                <a:ext uri="{FF2B5EF4-FFF2-40B4-BE49-F238E27FC236}">
                  <a16:creationId xmlns:a16="http://schemas.microsoft.com/office/drawing/2014/main" xmlns="" id="{9D956336-9CC8-435E-B608-47C342BCAA55}"/>
                </a:ext>
              </a:extLst>
            </p:cNvPr>
            <p:cNvSpPr/>
            <p:nvPr userDrawn="1"/>
          </p:nvSpPr>
          <p:spPr bwMode="auto">
            <a:xfrm>
              <a:off x="7296151" y="2411413"/>
              <a:ext cx="1655763" cy="952500"/>
            </a:xfrm>
            <a:custGeom>
              <a:avLst/>
              <a:gdLst>
                <a:gd name="T0" fmla="*/ 1043 w 1043"/>
                <a:gd name="T1" fmla="*/ 353 h 600"/>
                <a:gd name="T2" fmla="*/ 430 w 1043"/>
                <a:gd name="T3" fmla="*/ 0 h 600"/>
                <a:gd name="T4" fmla="*/ 0 w 1043"/>
                <a:gd name="T5" fmla="*/ 247 h 600"/>
                <a:gd name="T6" fmla="*/ 613 w 1043"/>
                <a:gd name="T7" fmla="*/ 600 h 600"/>
                <a:gd name="T8" fmla="*/ 1043 w 1043"/>
                <a:gd name="T9" fmla="*/ 353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0">
                  <a:moveTo>
                    <a:pt x="1043" y="353"/>
                  </a:moveTo>
                  <a:lnTo>
                    <a:pt x="430" y="0"/>
                  </a:lnTo>
                  <a:lnTo>
                    <a:pt x="0" y="247"/>
                  </a:lnTo>
                  <a:lnTo>
                    <a:pt x="613" y="600"/>
                  </a:lnTo>
                  <a:lnTo>
                    <a:pt x="1043" y="3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1" name="ïs1îde">
              <a:extLst>
                <a:ext uri="{FF2B5EF4-FFF2-40B4-BE49-F238E27FC236}">
                  <a16:creationId xmlns:a16="http://schemas.microsoft.com/office/drawing/2014/main" xmlns="" id="{98C5D9E7-0AC0-4586-BF8B-46F3AA2A2822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1655763" cy="573088"/>
            </a:xfrm>
            <a:custGeom>
              <a:avLst/>
              <a:gdLst>
                <a:gd name="T0" fmla="*/ 0 w 1043"/>
                <a:gd name="T1" fmla="*/ 0 h 361"/>
                <a:gd name="T2" fmla="*/ 0 w 1043"/>
                <a:gd name="T3" fmla="*/ 8 h 361"/>
                <a:gd name="T4" fmla="*/ 613 w 1043"/>
                <a:gd name="T5" fmla="*/ 361 h 361"/>
                <a:gd name="T6" fmla="*/ 1043 w 1043"/>
                <a:gd name="T7" fmla="*/ 114 h 361"/>
                <a:gd name="T8" fmla="*/ 1043 w 1043"/>
                <a:gd name="T9" fmla="*/ 106 h 361"/>
                <a:gd name="T10" fmla="*/ 0 w 1043"/>
                <a:gd name="T11" fmla="*/ 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1">
                  <a:moveTo>
                    <a:pt x="0" y="0"/>
                  </a:moveTo>
                  <a:lnTo>
                    <a:pt x="0" y="8"/>
                  </a:lnTo>
                  <a:lnTo>
                    <a:pt x="613" y="361"/>
                  </a:lnTo>
                  <a:lnTo>
                    <a:pt x="1043" y="114"/>
                  </a:lnTo>
                  <a:lnTo>
                    <a:pt x="104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2" name="íşḷïdê">
              <a:extLst>
                <a:ext uri="{FF2B5EF4-FFF2-40B4-BE49-F238E27FC236}">
                  <a16:creationId xmlns:a16="http://schemas.microsoft.com/office/drawing/2014/main" xmlns="" id="{A2DEDF9E-C1B9-4BAE-A97F-B61EDF3A1314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1655763" cy="573088"/>
            </a:xfrm>
            <a:custGeom>
              <a:avLst/>
              <a:gdLst>
                <a:gd name="T0" fmla="*/ 0 w 1043"/>
                <a:gd name="T1" fmla="*/ 0 h 361"/>
                <a:gd name="T2" fmla="*/ 0 w 1043"/>
                <a:gd name="T3" fmla="*/ 8 h 361"/>
                <a:gd name="T4" fmla="*/ 613 w 1043"/>
                <a:gd name="T5" fmla="*/ 361 h 361"/>
                <a:gd name="T6" fmla="*/ 1043 w 1043"/>
                <a:gd name="T7" fmla="*/ 114 h 361"/>
                <a:gd name="T8" fmla="*/ 1043 w 1043"/>
                <a:gd name="T9" fmla="*/ 106 h 361"/>
                <a:gd name="T10" fmla="*/ 0 w 1043"/>
                <a:gd name="T11" fmla="*/ 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361">
                  <a:moveTo>
                    <a:pt x="0" y="0"/>
                  </a:moveTo>
                  <a:lnTo>
                    <a:pt x="0" y="8"/>
                  </a:lnTo>
                  <a:lnTo>
                    <a:pt x="613" y="361"/>
                  </a:lnTo>
                  <a:lnTo>
                    <a:pt x="1043" y="114"/>
                  </a:lnTo>
                  <a:lnTo>
                    <a:pt x="1043" y="10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3" name="íŝḻîďê">
              <a:extLst>
                <a:ext uri="{FF2B5EF4-FFF2-40B4-BE49-F238E27FC236}">
                  <a16:creationId xmlns:a16="http://schemas.microsoft.com/office/drawing/2014/main" xmlns="" id="{073EDF65-8F93-4C6A-8F21-DFC07A1D2C2B}"/>
                </a:ext>
              </a:extLst>
            </p:cNvPr>
            <p:cNvSpPr/>
            <p:nvPr userDrawn="1"/>
          </p:nvSpPr>
          <p:spPr bwMode="auto">
            <a:xfrm>
              <a:off x="7296151" y="23955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4" name="îS1îďé">
              <a:extLst>
                <a:ext uri="{FF2B5EF4-FFF2-40B4-BE49-F238E27FC236}">
                  <a16:creationId xmlns:a16="http://schemas.microsoft.com/office/drawing/2014/main" xmlns="" id="{86A4D930-D3BA-4D46-9096-BDD57BD9359E}"/>
                </a:ext>
              </a:extLst>
            </p:cNvPr>
            <p:cNvSpPr/>
            <p:nvPr userDrawn="1"/>
          </p:nvSpPr>
          <p:spPr bwMode="auto">
            <a:xfrm>
              <a:off x="7296151" y="2395538"/>
              <a:ext cx="1655763" cy="955675"/>
            </a:xfrm>
            <a:custGeom>
              <a:avLst/>
              <a:gdLst>
                <a:gd name="T0" fmla="*/ 1043 w 1043"/>
                <a:gd name="T1" fmla="*/ 355 h 602"/>
                <a:gd name="T2" fmla="*/ 430 w 1043"/>
                <a:gd name="T3" fmla="*/ 0 h 602"/>
                <a:gd name="T4" fmla="*/ 0 w 1043"/>
                <a:gd name="T5" fmla="*/ 249 h 602"/>
                <a:gd name="T6" fmla="*/ 613 w 1043"/>
                <a:gd name="T7" fmla="*/ 602 h 602"/>
                <a:gd name="T8" fmla="*/ 1043 w 1043"/>
                <a:gd name="T9" fmla="*/ 35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3" h="602">
                  <a:moveTo>
                    <a:pt x="1043" y="355"/>
                  </a:moveTo>
                  <a:lnTo>
                    <a:pt x="430" y="0"/>
                  </a:lnTo>
                  <a:lnTo>
                    <a:pt x="0" y="249"/>
                  </a:lnTo>
                  <a:lnTo>
                    <a:pt x="613" y="602"/>
                  </a:lnTo>
                  <a:lnTo>
                    <a:pt x="1043" y="35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5" name="iśḻîḍe">
              <a:extLst>
                <a:ext uri="{FF2B5EF4-FFF2-40B4-BE49-F238E27FC236}">
                  <a16:creationId xmlns:a16="http://schemas.microsoft.com/office/drawing/2014/main" xmlns="" id="{1D8C15C3-DB8E-4A19-B683-A4978C87A219}"/>
                </a:ext>
              </a:extLst>
            </p:cNvPr>
            <p:cNvSpPr/>
            <p:nvPr userDrawn="1"/>
          </p:nvSpPr>
          <p:spPr bwMode="auto">
            <a:xfrm>
              <a:off x="7588251" y="2566988"/>
              <a:ext cx="1069975" cy="615950"/>
            </a:xfrm>
            <a:custGeom>
              <a:avLst/>
              <a:gdLst>
                <a:gd name="T0" fmla="*/ 0 w 674"/>
                <a:gd name="T1" fmla="*/ 141 h 388"/>
                <a:gd name="T2" fmla="*/ 246 w 674"/>
                <a:gd name="T3" fmla="*/ 0 h 388"/>
                <a:gd name="T4" fmla="*/ 674 w 674"/>
                <a:gd name="T5" fmla="*/ 247 h 388"/>
                <a:gd name="T6" fmla="*/ 429 w 674"/>
                <a:gd name="T7" fmla="*/ 388 h 388"/>
                <a:gd name="T8" fmla="*/ 0 w 674"/>
                <a:gd name="T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4" h="388">
                  <a:moveTo>
                    <a:pt x="0" y="141"/>
                  </a:moveTo>
                  <a:lnTo>
                    <a:pt x="246" y="0"/>
                  </a:lnTo>
                  <a:lnTo>
                    <a:pt x="674" y="247"/>
                  </a:lnTo>
                  <a:lnTo>
                    <a:pt x="429" y="388"/>
                  </a:lnTo>
                  <a:lnTo>
                    <a:pt x="0" y="141"/>
                  </a:lnTo>
                  <a:close/>
                </a:path>
              </a:pathLst>
            </a:custGeom>
            <a:solidFill>
              <a:srgbClr val="FFF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6" name="îślíďê">
              <a:extLst>
                <a:ext uri="{FF2B5EF4-FFF2-40B4-BE49-F238E27FC236}">
                  <a16:creationId xmlns:a16="http://schemas.microsoft.com/office/drawing/2014/main" xmlns="" id="{16BDE442-93F9-4611-B26B-04056044A199}"/>
                </a:ext>
              </a:extLst>
            </p:cNvPr>
            <p:cNvSpPr/>
            <p:nvPr userDrawn="1"/>
          </p:nvSpPr>
          <p:spPr bwMode="auto">
            <a:xfrm>
              <a:off x="7588251" y="2566988"/>
              <a:ext cx="1069975" cy="615950"/>
            </a:xfrm>
            <a:custGeom>
              <a:avLst/>
              <a:gdLst>
                <a:gd name="T0" fmla="*/ 0 w 674"/>
                <a:gd name="T1" fmla="*/ 141 h 388"/>
                <a:gd name="T2" fmla="*/ 246 w 674"/>
                <a:gd name="T3" fmla="*/ 0 h 388"/>
                <a:gd name="T4" fmla="*/ 674 w 674"/>
                <a:gd name="T5" fmla="*/ 247 h 388"/>
                <a:gd name="T6" fmla="*/ 429 w 674"/>
                <a:gd name="T7" fmla="*/ 388 h 388"/>
                <a:gd name="T8" fmla="*/ 0 w 674"/>
                <a:gd name="T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4" h="388">
                  <a:moveTo>
                    <a:pt x="0" y="141"/>
                  </a:moveTo>
                  <a:lnTo>
                    <a:pt x="246" y="0"/>
                  </a:lnTo>
                  <a:lnTo>
                    <a:pt x="674" y="247"/>
                  </a:lnTo>
                  <a:lnTo>
                    <a:pt x="429" y="388"/>
                  </a:lnTo>
                  <a:lnTo>
                    <a:pt x="0" y="14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7" name="îşľîdé">
              <a:extLst>
                <a:ext uri="{FF2B5EF4-FFF2-40B4-BE49-F238E27FC236}">
                  <a16:creationId xmlns:a16="http://schemas.microsoft.com/office/drawing/2014/main" xmlns="" id="{9247F508-6CA0-4268-9FF5-5E6BA3C0D9B8}"/>
                </a:ext>
              </a:extLst>
            </p:cNvPr>
            <p:cNvSpPr/>
            <p:nvPr userDrawn="1"/>
          </p:nvSpPr>
          <p:spPr bwMode="auto">
            <a:xfrm>
              <a:off x="7296151" y="2790826"/>
              <a:ext cx="973138" cy="676275"/>
            </a:xfrm>
            <a:custGeom>
              <a:avLst/>
              <a:gdLst>
                <a:gd name="T0" fmla="*/ 613 w 613"/>
                <a:gd name="T1" fmla="*/ 353 h 426"/>
                <a:gd name="T2" fmla="*/ 613 w 613"/>
                <a:gd name="T3" fmla="*/ 426 h 426"/>
                <a:gd name="T4" fmla="*/ 0 w 613"/>
                <a:gd name="T5" fmla="*/ 73 h 426"/>
                <a:gd name="T6" fmla="*/ 0 w 613"/>
                <a:gd name="T7" fmla="*/ 0 h 426"/>
                <a:gd name="T8" fmla="*/ 613 w 613"/>
                <a:gd name="T9" fmla="*/ 353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3" h="426">
                  <a:moveTo>
                    <a:pt x="613" y="353"/>
                  </a:moveTo>
                  <a:lnTo>
                    <a:pt x="613" y="426"/>
                  </a:lnTo>
                  <a:lnTo>
                    <a:pt x="0" y="73"/>
                  </a:lnTo>
                  <a:lnTo>
                    <a:pt x="0" y="0"/>
                  </a:lnTo>
                  <a:lnTo>
                    <a:pt x="613" y="353"/>
                  </a:lnTo>
                  <a:close/>
                </a:path>
              </a:pathLst>
            </a:custGeom>
            <a:solidFill>
              <a:srgbClr val="4CA6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8" name="išlîďé">
              <a:extLst>
                <a:ext uri="{FF2B5EF4-FFF2-40B4-BE49-F238E27FC236}">
                  <a16:creationId xmlns:a16="http://schemas.microsoft.com/office/drawing/2014/main" xmlns="" id="{DC693261-4F77-4E74-9E09-4B8A428B7905}"/>
                </a:ext>
              </a:extLst>
            </p:cNvPr>
            <p:cNvSpPr/>
            <p:nvPr userDrawn="1"/>
          </p:nvSpPr>
          <p:spPr bwMode="auto">
            <a:xfrm>
              <a:off x="4689476" y="4205288"/>
              <a:ext cx="841375" cy="504825"/>
            </a:xfrm>
            <a:custGeom>
              <a:avLst/>
              <a:gdLst>
                <a:gd name="T0" fmla="*/ 0 w 255"/>
                <a:gd name="T1" fmla="*/ 1 h 153"/>
                <a:gd name="T2" fmla="*/ 0 w 255"/>
                <a:gd name="T3" fmla="*/ 0 h 153"/>
                <a:gd name="T4" fmla="*/ 2 w 255"/>
                <a:gd name="T5" fmla="*/ 0 h 153"/>
                <a:gd name="T6" fmla="*/ 4 w 255"/>
                <a:gd name="T7" fmla="*/ 1 h 153"/>
                <a:gd name="T8" fmla="*/ 7 w 255"/>
                <a:gd name="T9" fmla="*/ 2 h 153"/>
                <a:gd name="T10" fmla="*/ 11 w 255"/>
                <a:gd name="T11" fmla="*/ 4 h 153"/>
                <a:gd name="T12" fmla="*/ 13 w 255"/>
                <a:gd name="T13" fmla="*/ 4 h 153"/>
                <a:gd name="T14" fmla="*/ 15 w 255"/>
                <a:gd name="T15" fmla="*/ 5 h 153"/>
                <a:gd name="T16" fmla="*/ 35 w 255"/>
                <a:gd name="T17" fmla="*/ 12 h 153"/>
                <a:gd name="T18" fmla="*/ 35 w 255"/>
                <a:gd name="T19" fmla="*/ 12 h 153"/>
                <a:gd name="T20" fmla="*/ 35 w 255"/>
                <a:gd name="T21" fmla="*/ 12 h 153"/>
                <a:gd name="T22" fmla="*/ 35 w 255"/>
                <a:gd name="T23" fmla="*/ 12 h 153"/>
                <a:gd name="T24" fmla="*/ 35 w 255"/>
                <a:gd name="T25" fmla="*/ 12 h 153"/>
                <a:gd name="T26" fmla="*/ 251 w 255"/>
                <a:gd name="T27" fmla="*/ 137 h 153"/>
                <a:gd name="T28" fmla="*/ 255 w 255"/>
                <a:gd name="T29" fmla="*/ 142 h 153"/>
                <a:gd name="T30" fmla="*/ 251 w 255"/>
                <a:gd name="T31" fmla="*/ 149 h 153"/>
                <a:gd name="T32" fmla="*/ 245 w 255"/>
                <a:gd name="T33" fmla="*/ 153 h 153"/>
                <a:gd name="T34" fmla="*/ 29 w 255"/>
                <a:gd name="T35" fmla="*/ 27 h 153"/>
                <a:gd name="T36" fmla="*/ 29 w 255"/>
                <a:gd name="T37" fmla="*/ 27 h 153"/>
                <a:gd name="T38" fmla="*/ 11 w 255"/>
                <a:gd name="T39" fmla="*/ 10 h 153"/>
                <a:gd name="T40" fmla="*/ 0 w 255"/>
                <a:gd name="T41" fmla="*/ 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5" h="153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3" y="1"/>
                    <a:pt x="4" y="1"/>
                  </a:cubicBezTo>
                  <a:cubicBezTo>
                    <a:pt x="5" y="1"/>
                    <a:pt x="6" y="2"/>
                    <a:pt x="7" y="2"/>
                  </a:cubicBezTo>
                  <a:cubicBezTo>
                    <a:pt x="9" y="3"/>
                    <a:pt x="10" y="3"/>
                    <a:pt x="11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6" y="5"/>
                    <a:pt x="33" y="11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251" y="137"/>
                    <a:pt x="251" y="137"/>
                    <a:pt x="251" y="137"/>
                  </a:cubicBezTo>
                  <a:cubicBezTo>
                    <a:pt x="255" y="142"/>
                    <a:pt x="255" y="142"/>
                    <a:pt x="255" y="142"/>
                  </a:cubicBezTo>
                  <a:cubicBezTo>
                    <a:pt x="251" y="149"/>
                    <a:pt x="251" y="149"/>
                    <a:pt x="251" y="149"/>
                  </a:cubicBezTo>
                  <a:cubicBezTo>
                    <a:pt x="245" y="153"/>
                    <a:pt x="245" y="153"/>
                    <a:pt x="245" y="153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3" y="22"/>
                    <a:pt x="17" y="15"/>
                    <a:pt x="11" y="10"/>
                  </a:cubicBezTo>
                  <a:cubicBezTo>
                    <a:pt x="7" y="7"/>
                    <a:pt x="3" y="4"/>
                    <a:pt x="0" y="1"/>
                  </a:cubicBezTo>
                  <a:close/>
                </a:path>
              </a:pathLst>
            </a:custGeom>
            <a:solidFill>
              <a:srgbClr val="647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59" name="ïšḷïḋé">
              <a:extLst>
                <a:ext uri="{FF2B5EF4-FFF2-40B4-BE49-F238E27FC236}">
                  <a16:creationId xmlns:a16="http://schemas.microsoft.com/office/drawing/2014/main" xmlns="" id="{5E810548-741F-4E88-85B1-DEFC16F65795}"/>
                </a:ext>
              </a:extLst>
            </p:cNvPr>
            <p:cNvSpPr/>
            <p:nvPr userDrawn="1"/>
          </p:nvSpPr>
          <p:spPr bwMode="auto">
            <a:xfrm>
              <a:off x="4699001" y="4192588"/>
              <a:ext cx="52388" cy="33338"/>
            </a:xfrm>
            <a:custGeom>
              <a:avLst/>
              <a:gdLst>
                <a:gd name="T0" fmla="*/ 1 w 16"/>
                <a:gd name="T1" fmla="*/ 0 h 10"/>
                <a:gd name="T2" fmla="*/ 2 w 16"/>
                <a:gd name="T3" fmla="*/ 1 h 10"/>
                <a:gd name="T4" fmla="*/ 4 w 16"/>
                <a:gd name="T5" fmla="*/ 1 h 10"/>
                <a:gd name="T6" fmla="*/ 8 w 16"/>
                <a:gd name="T7" fmla="*/ 3 h 10"/>
                <a:gd name="T8" fmla="*/ 12 w 16"/>
                <a:gd name="T9" fmla="*/ 4 h 10"/>
                <a:gd name="T10" fmla="*/ 14 w 16"/>
                <a:gd name="T11" fmla="*/ 5 h 10"/>
                <a:gd name="T12" fmla="*/ 16 w 16"/>
                <a:gd name="T13" fmla="*/ 5 h 10"/>
                <a:gd name="T14" fmla="*/ 11 w 16"/>
                <a:gd name="T15" fmla="*/ 10 h 10"/>
                <a:gd name="T16" fmla="*/ 0 w 16"/>
                <a:gd name="T17" fmla="*/ 1 h 10"/>
                <a:gd name="T18" fmla="*/ 1 w 16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0"/>
                  </a:moveTo>
                  <a:cubicBezTo>
                    <a:pt x="1" y="0"/>
                    <a:pt x="2" y="0"/>
                    <a:pt x="2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2"/>
                    <a:pt x="7" y="2"/>
                    <a:pt x="8" y="3"/>
                  </a:cubicBezTo>
                  <a:cubicBezTo>
                    <a:pt x="9" y="3"/>
                    <a:pt x="11" y="3"/>
                    <a:pt x="12" y="4"/>
                  </a:cubicBezTo>
                  <a:cubicBezTo>
                    <a:pt x="13" y="4"/>
                    <a:pt x="13" y="4"/>
                    <a:pt x="14" y="5"/>
                  </a:cubicBezTo>
                  <a:cubicBezTo>
                    <a:pt x="15" y="5"/>
                    <a:pt x="15" y="5"/>
                    <a:pt x="16" y="5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7"/>
                    <a:pt x="4" y="4"/>
                    <a:pt x="0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342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0" name="í$lîḍê">
              <a:extLst>
                <a:ext uri="{FF2B5EF4-FFF2-40B4-BE49-F238E27FC236}">
                  <a16:creationId xmlns:a16="http://schemas.microsoft.com/office/drawing/2014/main" xmlns="" id="{3557B4CA-1320-4BB8-BA24-68800B4B8B1A}"/>
                </a:ext>
              </a:extLst>
            </p:cNvPr>
            <p:cNvSpPr/>
            <p:nvPr userDrawn="1"/>
          </p:nvSpPr>
          <p:spPr bwMode="auto">
            <a:xfrm>
              <a:off x="4735513" y="4208463"/>
              <a:ext cx="82550" cy="76200"/>
            </a:xfrm>
            <a:custGeom>
              <a:avLst/>
              <a:gdLst>
                <a:gd name="T0" fmla="*/ 5 w 25"/>
                <a:gd name="T1" fmla="*/ 0 h 23"/>
                <a:gd name="T2" fmla="*/ 25 w 25"/>
                <a:gd name="T3" fmla="*/ 7 h 23"/>
                <a:gd name="T4" fmla="*/ 23 w 25"/>
                <a:gd name="T5" fmla="*/ 9 h 23"/>
                <a:gd name="T6" fmla="*/ 17 w 25"/>
                <a:gd name="T7" fmla="*/ 17 h 23"/>
                <a:gd name="T8" fmla="*/ 19 w 25"/>
                <a:gd name="T9" fmla="*/ 23 h 23"/>
                <a:gd name="T10" fmla="*/ 0 w 25"/>
                <a:gd name="T11" fmla="*/ 5 h 23"/>
                <a:gd name="T12" fmla="*/ 5 w 25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3">
                  <a:moveTo>
                    <a:pt x="5" y="0"/>
                  </a:moveTo>
                  <a:cubicBezTo>
                    <a:pt x="6" y="1"/>
                    <a:pt x="24" y="7"/>
                    <a:pt x="25" y="7"/>
                  </a:cubicBezTo>
                  <a:cubicBezTo>
                    <a:pt x="24" y="8"/>
                    <a:pt x="24" y="8"/>
                    <a:pt x="23" y="9"/>
                  </a:cubicBezTo>
                  <a:cubicBezTo>
                    <a:pt x="20" y="10"/>
                    <a:pt x="17" y="14"/>
                    <a:pt x="17" y="17"/>
                  </a:cubicBezTo>
                  <a:cubicBezTo>
                    <a:pt x="17" y="19"/>
                    <a:pt x="18" y="22"/>
                    <a:pt x="19" y="23"/>
                  </a:cubicBezTo>
                  <a:cubicBezTo>
                    <a:pt x="13" y="17"/>
                    <a:pt x="6" y="10"/>
                    <a:pt x="0" y="5"/>
                  </a:cubicBezTo>
                  <a:cubicBezTo>
                    <a:pt x="0" y="4"/>
                    <a:pt x="4" y="0"/>
                    <a:pt x="5" y="0"/>
                  </a:cubicBezTo>
                  <a:close/>
                </a:path>
              </a:pathLst>
            </a:custGeom>
            <a:solidFill>
              <a:srgbClr val="FFE2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1" name="işļîdé">
              <a:extLst>
                <a:ext uri="{FF2B5EF4-FFF2-40B4-BE49-F238E27FC236}">
                  <a16:creationId xmlns:a16="http://schemas.microsoft.com/office/drawing/2014/main" xmlns="" id="{C7503120-A3FA-494B-A181-BE099D1AFB46}"/>
                </a:ext>
              </a:extLst>
            </p:cNvPr>
            <p:cNvSpPr/>
            <p:nvPr userDrawn="1"/>
          </p:nvSpPr>
          <p:spPr bwMode="auto">
            <a:xfrm>
              <a:off x="4791076" y="4232276"/>
              <a:ext cx="36513" cy="49213"/>
            </a:xfrm>
            <a:custGeom>
              <a:avLst/>
              <a:gdLst>
                <a:gd name="T0" fmla="*/ 0 w 11"/>
                <a:gd name="T1" fmla="*/ 10 h 15"/>
                <a:gd name="T2" fmla="*/ 5 w 11"/>
                <a:gd name="T3" fmla="*/ 14 h 15"/>
                <a:gd name="T4" fmla="*/ 11 w 11"/>
                <a:gd name="T5" fmla="*/ 4 h 15"/>
                <a:gd name="T6" fmla="*/ 6 w 11"/>
                <a:gd name="T7" fmla="*/ 1 h 15"/>
                <a:gd name="T8" fmla="*/ 0 w 11"/>
                <a:gd name="T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0" y="10"/>
                  </a:moveTo>
                  <a:cubicBezTo>
                    <a:pt x="0" y="14"/>
                    <a:pt x="2" y="15"/>
                    <a:pt x="5" y="14"/>
                  </a:cubicBezTo>
                  <a:cubicBezTo>
                    <a:pt x="8" y="12"/>
                    <a:pt x="11" y="8"/>
                    <a:pt x="11" y="4"/>
                  </a:cubicBezTo>
                  <a:cubicBezTo>
                    <a:pt x="11" y="1"/>
                    <a:pt x="9" y="0"/>
                    <a:pt x="6" y="1"/>
                  </a:cubicBezTo>
                  <a:cubicBezTo>
                    <a:pt x="3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2" name="îşḷïďe">
              <a:extLst>
                <a:ext uri="{FF2B5EF4-FFF2-40B4-BE49-F238E27FC236}">
                  <a16:creationId xmlns:a16="http://schemas.microsoft.com/office/drawing/2014/main" xmlns="" id="{4617E819-B21C-4B70-ADD7-F0B4336E7F16}"/>
                </a:ext>
              </a:extLst>
            </p:cNvPr>
            <p:cNvSpPr/>
            <p:nvPr userDrawn="1"/>
          </p:nvSpPr>
          <p:spPr bwMode="auto">
            <a:xfrm>
              <a:off x="4787901" y="4268788"/>
              <a:ext cx="722313" cy="428625"/>
            </a:xfrm>
            <a:custGeom>
              <a:avLst/>
              <a:gdLst>
                <a:gd name="T0" fmla="*/ 449 w 455"/>
                <a:gd name="T1" fmla="*/ 261 h 270"/>
                <a:gd name="T2" fmla="*/ 0 w 455"/>
                <a:gd name="T3" fmla="*/ 0 h 270"/>
                <a:gd name="T4" fmla="*/ 6 w 455"/>
                <a:gd name="T5" fmla="*/ 10 h 270"/>
                <a:gd name="T6" fmla="*/ 455 w 455"/>
                <a:gd name="T7" fmla="*/ 270 h 270"/>
                <a:gd name="T8" fmla="*/ 449 w 455"/>
                <a:gd name="T9" fmla="*/ 261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0">
                  <a:moveTo>
                    <a:pt x="449" y="261"/>
                  </a:moveTo>
                  <a:lnTo>
                    <a:pt x="0" y="0"/>
                  </a:lnTo>
                  <a:lnTo>
                    <a:pt x="6" y="10"/>
                  </a:lnTo>
                  <a:lnTo>
                    <a:pt x="455" y="270"/>
                  </a:lnTo>
                  <a:lnTo>
                    <a:pt x="449" y="261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3" name="ísḻíḓe">
              <a:extLst>
                <a:ext uri="{FF2B5EF4-FFF2-40B4-BE49-F238E27FC236}">
                  <a16:creationId xmlns:a16="http://schemas.microsoft.com/office/drawing/2014/main" xmlns="" id="{6AB33EBD-6EFE-4F5F-AD17-C4D1D64950D1}"/>
                </a:ext>
              </a:extLst>
            </p:cNvPr>
            <p:cNvSpPr/>
            <p:nvPr userDrawn="1"/>
          </p:nvSpPr>
          <p:spPr bwMode="auto">
            <a:xfrm>
              <a:off x="4787901" y="4241801"/>
              <a:ext cx="722313" cy="441325"/>
            </a:xfrm>
            <a:custGeom>
              <a:avLst/>
              <a:gdLst>
                <a:gd name="T0" fmla="*/ 455 w 455"/>
                <a:gd name="T1" fmla="*/ 262 h 278"/>
                <a:gd name="T2" fmla="*/ 6 w 455"/>
                <a:gd name="T3" fmla="*/ 0 h 278"/>
                <a:gd name="T4" fmla="*/ 0 w 455"/>
                <a:gd name="T5" fmla="*/ 17 h 278"/>
                <a:gd name="T6" fmla="*/ 449 w 455"/>
                <a:gd name="T7" fmla="*/ 278 h 278"/>
                <a:gd name="T8" fmla="*/ 455 w 455"/>
                <a:gd name="T9" fmla="*/ 26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78">
                  <a:moveTo>
                    <a:pt x="455" y="262"/>
                  </a:moveTo>
                  <a:lnTo>
                    <a:pt x="6" y="0"/>
                  </a:lnTo>
                  <a:lnTo>
                    <a:pt x="0" y="17"/>
                  </a:lnTo>
                  <a:lnTo>
                    <a:pt x="449" y="278"/>
                  </a:lnTo>
                  <a:lnTo>
                    <a:pt x="455" y="262"/>
                  </a:lnTo>
                  <a:close/>
                </a:path>
              </a:pathLst>
            </a:custGeom>
            <a:solidFill>
              <a:srgbClr val="DBA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4" name="íṩľiḓé">
              <a:extLst>
                <a:ext uri="{FF2B5EF4-FFF2-40B4-BE49-F238E27FC236}">
                  <a16:creationId xmlns:a16="http://schemas.microsoft.com/office/drawing/2014/main" xmlns="" id="{4E391A3C-E5E5-49D6-B712-4A6267F21436}"/>
                </a:ext>
              </a:extLst>
            </p:cNvPr>
            <p:cNvSpPr/>
            <p:nvPr userDrawn="1"/>
          </p:nvSpPr>
          <p:spPr bwMode="auto">
            <a:xfrm>
              <a:off x="4797426" y="4232276"/>
              <a:ext cx="733425" cy="425450"/>
            </a:xfrm>
            <a:custGeom>
              <a:avLst/>
              <a:gdLst>
                <a:gd name="T0" fmla="*/ 462 w 462"/>
                <a:gd name="T1" fmla="*/ 261 h 268"/>
                <a:gd name="T2" fmla="*/ 13 w 462"/>
                <a:gd name="T3" fmla="*/ 0 h 268"/>
                <a:gd name="T4" fmla="*/ 0 w 462"/>
                <a:gd name="T5" fmla="*/ 6 h 268"/>
                <a:gd name="T6" fmla="*/ 449 w 462"/>
                <a:gd name="T7" fmla="*/ 268 h 268"/>
                <a:gd name="T8" fmla="*/ 462 w 462"/>
                <a:gd name="T9" fmla="*/ 261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2" h="268">
                  <a:moveTo>
                    <a:pt x="462" y="261"/>
                  </a:moveTo>
                  <a:lnTo>
                    <a:pt x="13" y="0"/>
                  </a:lnTo>
                  <a:lnTo>
                    <a:pt x="0" y="6"/>
                  </a:lnTo>
                  <a:lnTo>
                    <a:pt x="449" y="268"/>
                  </a:lnTo>
                  <a:lnTo>
                    <a:pt x="462" y="261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5" name="íş1îdé">
              <a:extLst>
                <a:ext uri="{FF2B5EF4-FFF2-40B4-BE49-F238E27FC236}">
                  <a16:creationId xmlns:a16="http://schemas.microsoft.com/office/drawing/2014/main" xmlns="" id="{8D2F1911-6473-4458-8465-B8AC6D4959CB}"/>
                </a:ext>
              </a:extLst>
            </p:cNvPr>
            <p:cNvSpPr/>
            <p:nvPr userDrawn="1"/>
          </p:nvSpPr>
          <p:spPr bwMode="auto">
            <a:xfrm>
              <a:off x="5500688" y="4646613"/>
              <a:ext cx="39688" cy="50800"/>
            </a:xfrm>
            <a:custGeom>
              <a:avLst/>
              <a:gdLst>
                <a:gd name="T0" fmla="*/ 6 w 25"/>
                <a:gd name="T1" fmla="*/ 7 h 32"/>
                <a:gd name="T2" fmla="*/ 0 w 25"/>
                <a:gd name="T3" fmla="*/ 23 h 32"/>
                <a:gd name="T4" fmla="*/ 6 w 25"/>
                <a:gd name="T5" fmla="*/ 32 h 32"/>
                <a:gd name="T6" fmla="*/ 19 w 25"/>
                <a:gd name="T7" fmla="*/ 25 h 32"/>
                <a:gd name="T8" fmla="*/ 25 w 25"/>
                <a:gd name="T9" fmla="*/ 9 h 32"/>
                <a:gd name="T10" fmla="*/ 19 w 25"/>
                <a:gd name="T11" fmla="*/ 0 h 32"/>
                <a:gd name="T12" fmla="*/ 6 w 25"/>
                <a:gd name="T13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2">
                  <a:moveTo>
                    <a:pt x="6" y="7"/>
                  </a:moveTo>
                  <a:lnTo>
                    <a:pt x="0" y="23"/>
                  </a:lnTo>
                  <a:lnTo>
                    <a:pt x="6" y="32"/>
                  </a:lnTo>
                  <a:lnTo>
                    <a:pt x="19" y="25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433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6" name="ïsľîḍe">
              <a:extLst>
                <a:ext uri="{FF2B5EF4-FFF2-40B4-BE49-F238E27FC236}">
                  <a16:creationId xmlns:a16="http://schemas.microsoft.com/office/drawing/2014/main" xmlns="" id="{96E63022-90E9-472D-9330-B9DC8BD491FC}"/>
                </a:ext>
              </a:extLst>
            </p:cNvPr>
            <p:cNvSpPr/>
            <p:nvPr userDrawn="1"/>
          </p:nvSpPr>
          <p:spPr bwMode="auto">
            <a:xfrm>
              <a:off x="3236913" y="4429126"/>
              <a:ext cx="1979613" cy="798513"/>
            </a:xfrm>
            <a:custGeom>
              <a:avLst/>
              <a:gdLst>
                <a:gd name="T0" fmla="*/ 372 w 600"/>
                <a:gd name="T1" fmla="*/ 219 h 242"/>
                <a:gd name="T2" fmla="*/ 488 w 600"/>
                <a:gd name="T3" fmla="*/ 161 h 242"/>
                <a:gd name="T4" fmla="*/ 465 w 600"/>
                <a:gd name="T5" fmla="*/ 148 h 242"/>
                <a:gd name="T6" fmla="*/ 364 w 600"/>
                <a:gd name="T7" fmla="*/ 214 h 242"/>
                <a:gd name="T8" fmla="*/ 465 w 600"/>
                <a:gd name="T9" fmla="*/ 148 h 242"/>
                <a:gd name="T10" fmla="*/ 339 w 600"/>
                <a:gd name="T11" fmla="*/ 199 h 242"/>
                <a:gd name="T12" fmla="*/ 454 w 600"/>
                <a:gd name="T13" fmla="*/ 141 h 242"/>
                <a:gd name="T14" fmla="*/ 429 w 600"/>
                <a:gd name="T15" fmla="*/ 127 h 242"/>
                <a:gd name="T16" fmla="*/ 328 w 600"/>
                <a:gd name="T17" fmla="*/ 193 h 242"/>
                <a:gd name="T18" fmla="*/ 429 w 600"/>
                <a:gd name="T19" fmla="*/ 127 h 242"/>
                <a:gd name="T20" fmla="*/ 477 w 600"/>
                <a:gd name="T21" fmla="*/ 135 h 242"/>
                <a:gd name="T22" fmla="*/ 528 w 600"/>
                <a:gd name="T23" fmla="*/ 140 h 242"/>
                <a:gd name="T24" fmla="*/ 495 w 600"/>
                <a:gd name="T25" fmla="*/ 93 h 242"/>
                <a:gd name="T26" fmla="*/ 530 w 600"/>
                <a:gd name="T27" fmla="*/ 138 h 242"/>
                <a:gd name="T28" fmla="*/ 495 w 600"/>
                <a:gd name="T29" fmla="*/ 93 h 242"/>
                <a:gd name="T30" fmla="*/ 516 w 600"/>
                <a:gd name="T31" fmla="*/ 102 h 242"/>
                <a:gd name="T32" fmla="*/ 576 w 600"/>
                <a:gd name="T33" fmla="*/ 112 h 242"/>
                <a:gd name="T34" fmla="*/ 216 w 600"/>
                <a:gd name="T35" fmla="*/ 72 h 242"/>
                <a:gd name="T36" fmla="*/ 169 w 600"/>
                <a:gd name="T37" fmla="*/ 98 h 242"/>
                <a:gd name="T38" fmla="*/ 216 w 600"/>
                <a:gd name="T39" fmla="*/ 126 h 242"/>
                <a:gd name="T40" fmla="*/ 216 w 600"/>
                <a:gd name="T41" fmla="*/ 126 h 242"/>
                <a:gd name="T42" fmla="*/ 262 w 600"/>
                <a:gd name="T43" fmla="*/ 99 h 242"/>
                <a:gd name="T44" fmla="*/ 216 w 600"/>
                <a:gd name="T45" fmla="*/ 72 h 242"/>
                <a:gd name="T46" fmla="*/ 503 w 600"/>
                <a:gd name="T47" fmla="*/ 67 h 242"/>
                <a:gd name="T48" fmla="*/ 600 w 600"/>
                <a:gd name="T49" fmla="*/ 98 h 242"/>
                <a:gd name="T50" fmla="*/ 503 w 600"/>
                <a:gd name="T51" fmla="*/ 67 h 242"/>
                <a:gd name="T52" fmla="*/ 278 w 600"/>
                <a:gd name="T53" fmla="*/ 178 h 242"/>
                <a:gd name="T54" fmla="*/ 491 w 600"/>
                <a:gd name="T55" fmla="*/ 63 h 242"/>
                <a:gd name="T56" fmla="*/ 451 w 600"/>
                <a:gd name="T57" fmla="*/ 53 h 242"/>
                <a:gd name="T58" fmla="*/ 264 w 600"/>
                <a:gd name="T59" fmla="*/ 170 h 242"/>
                <a:gd name="T60" fmla="*/ 451 w 600"/>
                <a:gd name="T61" fmla="*/ 53 h 242"/>
                <a:gd name="T62" fmla="*/ 0 w 600"/>
                <a:gd name="T63" fmla="*/ 50 h 242"/>
                <a:gd name="T64" fmla="*/ 351 w 600"/>
                <a:gd name="T65" fmla="*/ 242 h 242"/>
                <a:gd name="T66" fmla="*/ 419 w 600"/>
                <a:gd name="T67" fmla="*/ 45 h 242"/>
                <a:gd name="T68" fmla="*/ 241 w 600"/>
                <a:gd name="T69" fmla="*/ 156 h 242"/>
                <a:gd name="T70" fmla="*/ 419 w 600"/>
                <a:gd name="T71" fmla="*/ 45 h 242"/>
                <a:gd name="T72" fmla="*/ 43 w 600"/>
                <a:gd name="T73" fmla="*/ 41 h 242"/>
                <a:gd name="T74" fmla="*/ 82 w 600"/>
                <a:gd name="T75" fmla="*/ 33 h 242"/>
                <a:gd name="T76" fmla="*/ 261 w 600"/>
                <a:gd name="T77" fmla="*/ 35 h 242"/>
                <a:gd name="T78" fmla="*/ 260 w 600"/>
                <a:gd name="T79" fmla="*/ 73 h 242"/>
                <a:gd name="T80" fmla="*/ 293 w 600"/>
                <a:gd name="T81" fmla="*/ 81 h 242"/>
                <a:gd name="T82" fmla="*/ 326 w 600"/>
                <a:gd name="T83" fmla="*/ 73 h 242"/>
                <a:gd name="T84" fmla="*/ 327 w 600"/>
                <a:gd name="T85" fmla="*/ 35 h 242"/>
                <a:gd name="T86" fmla="*/ 329 w 600"/>
                <a:gd name="T87" fmla="*/ 21 h 242"/>
                <a:gd name="T88" fmla="*/ 371 w 600"/>
                <a:gd name="T89" fmla="*/ 36 h 242"/>
                <a:gd name="T90" fmla="*/ 371 w 600"/>
                <a:gd name="T91" fmla="*/ 36 h 242"/>
                <a:gd name="T92" fmla="*/ 329 w 600"/>
                <a:gd name="T93" fmla="*/ 21 h 242"/>
                <a:gd name="T94" fmla="*/ 124 w 600"/>
                <a:gd name="T95" fmla="*/ 25 h 242"/>
                <a:gd name="T96" fmla="*/ 77 w 600"/>
                <a:gd name="T97" fmla="*/ 61 h 242"/>
                <a:gd name="T98" fmla="*/ 198 w 600"/>
                <a:gd name="T99" fmla="*/ 10 h 242"/>
                <a:gd name="T100" fmla="*/ 86 w 600"/>
                <a:gd name="T101" fmla="*/ 66 h 242"/>
                <a:gd name="T102" fmla="*/ 198 w 600"/>
                <a:gd name="T103" fmla="*/ 10 h 242"/>
                <a:gd name="T104" fmla="*/ 118 w 600"/>
                <a:gd name="T105" fmla="*/ 85 h 242"/>
                <a:gd name="T106" fmla="*/ 271 w 600"/>
                <a:gd name="T107" fmla="*/ 6 h 242"/>
                <a:gd name="T108" fmla="*/ 248 w 600"/>
                <a:gd name="T109" fmla="*/ 0 h 242"/>
                <a:gd name="T110" fmla="*/ 102 w 600"/>
                <a:gd name="T111" fmla="*/ 76 h 242"/>
                <a:gd name="T112" fmla="*/ 248 w 600"/>
                <a:gd name="T11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0" h="242">
                  <a:moveTo>
                    <a:pt x="480" y="156"/>
                  </a:moveTo>
                  <a:cubicBezTo>
                    <a:pt x="372" y="219"/>
                    <a:pt x="372" y="219"/>
                    <a:pt x="372" y="219"/>
                  </a:cubicBezTo>
                  <a:cubicBezTo>
                    <a:pt x="380" y="223"/>
                    <a:pt x="380" y="223"/>
                    <a:pt x="380" y="223"/>
                  </a:cubicBezTo>
                  <a:cubicBezTo>
                    <a:pt x="488" y="161"/>
                    <a:pt x="488" y="161"/>
                    <a:pt x="488" y="161"/>
                  </a:cubicBezTo>
                  <a:cubicBezTo>
                    <a:pt x="480" y="156"/>
                    <a:pt x="480" y="156"/>
                    <a:pt x="480" y="156"/>
                  </a:cubicBezTo>
                  <a:moveTo>
                    <a:pt x="465" y="148"/>
                  </a:moveTo>
                  <a:cubicBezTo>
                    <a:pt x="357" y="210"/>
                    <a:pt x="357" y="210"/>
                    <a:pt x="357" y="210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472" y="152"/>
                    <a:pt x="472" y="152"/>
                    <a:pt x="472" y="152"/>
                  </a:cubicBezTo>
                  <a:cubicBezTo>
                    <a:pt x="465" y="148"/>
                    <a:pt x="465" y="148"/>
                    <a:pt x="465" y="148"/>
                  </a:cubicBezTo>
                  <a:moveTo>
                    <a:pt x="447" y="137"/>
                  </a:moveTo>
                  <a:cubicBezTo>
                    <a:pt x="339" y="199"/>
                    <a:pt x="339" y="199"/>
                    <a:pt x="339" y="199"/>
                  </a:cubicBezTo>
                  <a:cubicBezTo>
                    <a:pt x="346" y="204"/>
                    <a:pt x="346" y="204"/>
                    <a:pt x="346" y="204"/>
                  </a:cubicBezTo>
                  <a:cubicBezTo>
                    <a:pt x="454" y="141"/>
                    <a:pt x="454" y="141"/>
                    <a:pt x="454" y="141"/>
                  </a:cubicBezTo>
                  <a:cubicBezTo>
                    <a:pt x="447" y="137"/>
                    <a:pt x="447" y="137"/>
                    <a:pt x="447" y="137"/>
                  </a:cubicBezTo>
                  <a:moveTo>
                    <a:pt x="429" y="127"/>
                  </a:moveTo>
                  <a:cubicBezTo>
                    <a:pt x="321" y="189"/>
                    <a:pt x="321" y="189"/>
                    <a:pt x="321" y="189"/>
                  </a:cubicBezTo>
                  <a:cubicBezTo>
                    <a:pt x="328" y="193"/>
                    <a:pt x="328" y="193"/>
                    <a:pt x="328" y="193"/>
                  </a:cubicBezTo>
                  <a:cubicBezTo>
                    <a:pt x="436" y="131"/>
                    <a:pt x="436" y="131"/>
                    <a:pt x="436" y="131"/>
                  </a:cubicBezTo>
                  <a:cubicBezTo>
                    <a:pt x="429" y="127"/>
                    <a:pt x="429" y="127"/>
                    <a:pt x="429" y="127"/>
                  </a:cubicBezTo>
                  <a:moveTo>
                    <a:pt x="499" y="123"/>
                  </a:moveTo>
                  <a:cubicBezTo>
                    <a:pt x="477" y="135"/>
                    <a:pt x="477" y="135"/>
                    <a:pt x="477" y="135"/>
                  </a:cubicBezTo>
                  <a:cubicBezTo>
                    <a:pt x="506" y="152"/>
                    <a:pt x="506" y="152"/>
                    <a:pt x="506" y="152"/>
                  </a:cubicBezTo>
                  <a:cubicBezTo>
                    <a:pt x="528" y="140"/>
                    <a:pt x="528" y="140"/>
                    <a:pt x="528" y="140"/>
                  </a:cubicBezTo>
                  <a:cubicBezTo>
                    <a:pt x="499" y="123"/>
                    <a:pt x="499" y="123"/>
                    <a:pt x="499" y="123"/>
                  </a:cubicBezTo>
                  <a:moveTo>
                    <a:pt x="495" y="93"/>
                  </a:moveTo>
                  <a:cubicBezTo>
                    <a:pt x="473" y="105"/>
                    <a:pt x="473" y="105"/>
                    <a:pt x="473" y="105"/>
                  </a:cubicBezTo>
                  <a:cubicBezTo>
                    <a:pt x="530" y="138"/>
                    <a:pt x="530" y="138"/>
                    <a:pt x="530" y="138"/>
                  </a:cubicBezTo>
                  <a:cubicBezTo>
                    <a:pt x="552" y="126"/>
                    <a:pt x="552" y="126"/>
                    <a:pt x="552" y="126"/>
                  </a:cubicBezTo>
                  <a:cubicBezTo>
                    <a:pt x="495" y="93"/>
                    <a:pt x="495" y="93"/>
                    <a:pt x="495" y="93"/>
                  </a:cubicBezTo>
                  <a:moveTo>
                    <a:pt x="537" y="90"/>
                  </a:moveTo>
                  <a:cubicBezTo>
                    <a:pt x="516" y="102"/>
                    <a:pt x="516" y="102"/>
                    <a:pt x="516" y="102"/>
                  </a:cubicBezTo>
                  <a:cubicBezTo>
                    <a:pt x="554" y="125"/>
                    <a:pt x="554" y="125"/>
                    <a:pt x="554" y="125"/>
                  </a:cubicBezTo>
                  <a:cubicBezTo>
                    <a:pt x="576" y="112"/>
                    <a:pt x="576" y="112"/>
                    <a:pt x="576" y="112"/>
                  </a:cubicBezTo>
                  <a:cubicBezTo>
                    <a:pt x="537" y="90"/>
                    <a:pt x="537" y="90"/>
                    <a:pt x="537" y="90"/>
                  </a:cubicBezTo>
                  <a:moveTo>
                    <a:pt x="216" y="72"/>
                  </a:moveTo>
                  <a:cubicBezTo>
                    <a:pt x="204" y="72"/>
                    <a:pt x="192" y="74"/>
                    <a:pt x="183" y="79"/>
                  </a:cubicBezTo>
                  <a:cubicBezTo>
                    <a:pt x="174" y="84"/>
                    <a:pt x="170" y="91"/>
                    <a:pt x="169" y="98"/>
                  </a:cubicBezTo>
                  <a:cubicBezTo>
                    <a:pt x="169" y="105"/>
                    <a:pt x="174" y="112"/>
                    <a:pt x="183" y="118"/>
                  </a:cubicBezTo>
                  <a:cubicBezTo>
                    <a:pt x="191" y="123"/>
                    <a:pt x="203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28" y="126"/>
                    <a:pt x="240" y="123"/>
                    <a:pt x="249" y="118"/>
                  </a:cubicBezTo>
                  <a:cubicBezTo>
                    <a:pt x="258" y="113"/>
                    <a:pt x="262" y="106"/>
                    <a:pt x="262" y="99"/>
                  </a:cubicBezTo>
                  <a:cubicBezTo>
                    <a:pt x="263" y="91"/>
                    <a:pt x="258" y="85"/>
                    <a:pt x="249" y="79"/>
                  </a:cubicBezTo>
                  <a:cubicBezTo>
                    <a:pt x="240" y="74"/>
                    <a:pt x="228" y="72"/>
                    <a:pt x="216" y="72"/>
                  </a:cubicBezTo>
                  <a:moveTo>
                    <a:pt x="503" y="67"/>
                  </a:moveTo>
                  <a:cubicBezTo>
                    <a:pt x="503" y="67"/>
                    <a:pt x="503" y="67"/>
                    <a:pt x="503" y="67"/>
                  </a:cubicBezTo>
                  <a:cubicBezTo>
                    <a:pt x="578" y="111"/>
                    <a:pt x="578" y="111"/>
                    <a:pt x="578" y="111"/>
                  </a:cubicBezTo>
                  <a:cubicBezTo>
                    <a:pt x="600" y="98"/>
                    <a:pt x="600" y="98"/>
                    <a:pt x="600" y="98"/>
                  </a:cubicBezTo>
                  <a:cubicBezTo>
                    <a:pt x="579" y="87"/>
                    <a:pt x="579" y="87"/>
                    <a:pt x="579" y="87"/>
                  </a:cubicBezTo>
                  <a:cubicBezTo>
                    <a:pt x="503" y="67"/>
                    <a:pt x="503" y="67"/>
                    <a:pt x="503" y="67"/>
                  </a:cubicBezTo>
                  <a:moveTo>
                    <a:pt x="481" y="61"/>
                  </a:moveTo>
                  <a:cubicBezTo>
                    <a:pt x="278" y="178"/>
                    <a:pt x="278" y="178"/>
                    <a:pt x="278" y="178"/>
                  </a:cubicBezTo>
                  <a:cubicBezTo>
                    <a:pt x="285" y="182"/>
                    <a:pt x="285" y="182"/>
                    <a:pt x="285" y="182"/>
                  </a:cubicBezTo>
                  <a:cubicBezTo>
                    <a:pt x="491" y="63"/>
                    <a:pt x="491" y="63"/>
                    <a:pt x="491" y="63"/>
                  </a:cubicBezTo>
                  <a:cubicBezTo>
                    <a:pt x="481" y="61"/>
                    <a:pt x="481" y="61"/>
                    <a:pt x="481" y="61"/>
                  </a:cubicBezTo>
                  <a:moveTo>
                    <a:pt x="451" y="53"/>
                  </a:moveTo>
                  <a:cubicBezTo>
                    <a:pt x="256" y="165"/>
                    <a:pt x="256" y="165"/>
                    <a:pt x="256" y="165"/>
                  </a:cubicBezTo>
                  <a:cubicBezTo>
                    <a:pt x="264" y="170"/>
                    <a:pt x="264" y="170"/>
                    <a:pt x="264" y="170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51" y="53"/>
                    <a:pt x="451" y="53"/>
                    <a:pt x="451" y="53"/>
                  </a:cubicBezTo>
                  <a:moveTo>
                    <a:pt x="15" y="47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49" y="242"/>
                    <a:pt x="349" y="242"/>
                    <a:pt x="349" y="242"/>
                  </a:cubicBezTo>
                  <a:cubicBezTo>
                    <a:pt x="350" y="242"/>
                    <a:pt x="350" y="242"/>
                    <a:pt x="351" y="242"/>
                  </a:cubicBezTo>
                  <a:cubicBezTo>
                    <a:pt x="15" y="47"/>
                    <a:pt x="15" y="47"/>
                    <a:pt x="15" y="47"/>
                  </a:cubicBezTo>
                  <a:moveTo>
                    <a:pt x="419" y="45"/>
                  </a:moveTo>
                  <a:cubicBezTo>
                    <a:pt x="233" y="152"/>
                    <a:pt x="233" y="152"/>
                    <a:pt x="233" y="152"/>
                  </a:cubicBezTo>
                  <a:cubicBezTo>
                    <a:pt x="241" y="156"/>
                    <a:pt x="241" y="156"/>
                    <a:pt x="241" y="156"/>
                  </a:cubicBezTo>
                  <a:cubicBezTo>
                    <a:pt x="430" y="47"/>
                    <a:pt x="430" y="47"/>
                    <a:pt x="430" y="47"/>
                  </a:cubicBezTo>
                  <a:cubicBezTo>
                    <a:pt x="419" y="45"/>
                    <a:pt x="419" y="45"/>
                    <a:pt x="419" y="45"/>
                  </a:cubicBezTo>
                  <a:moveTo>
                    <a:pt x="82" y="33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82" y="33"/>
                    <a:pt x="82" y="33"/>
                    <a:pt x="82" y="33"/>
                  </a:cubicBezTo>
                  <a:moveTo>
                    <a:pt x="294" y="27"/>
                  </a:moveTo>
                  <a:cubicBezTo>
                    <a:pt x="281" y="27"/>
                    <a:pt x="269" y="29"/>
                    <a:pt x="261" y="35"/>
                  </a:cubicBezTo>
                  <a:cubicBezTo>
                    <a:pt x="252" y="40"/>
                    <a:pt x="247" y="46"/>
                    <a:pt x="247" y="53"/>
                  </a:cubicBezTo>
                  <a:cubicBezTo>
                    <a:pt x="246" y="60"/>
                    <a:pt x="251" y="68"/>
                    <a:pt x="260" y="73"/>
                  </a:cubicBezTo>
                  <a:cubicBezTo>
                    <a:pt x="269" y="78"/>
                    <a:pt x="281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293" y="81"/>
                    <a:pt x="293" y="81"/>
                    <a:pt x="293" y="81"/>
                  </a:cubicBezTo>
                  <a:cubicBezTo>
                    <a:pt x="306" y="81"/>
                    <a:pt x="318" y="78"/>
                    <a:pt x="326" y="73"/>
                  </a:cubicBezTo>
                  <a:cubicBezTo>
                    <a:pt x="335" y="68"/>
                    <a:pt x="340" y="61"/>
                    <a:pt x="340" y="54"/>
                  </a:cubicBezTo>
                  <a:cubicBezTo>
                    <a:pt x="340" y="46"/>
                    <a:pt x="335" y="40"/>
                    <a:pt x="327" y="35"/>
                  </a:cubicBezTo>
                  <a:cubicBezTo>
                    <a:pt x="318" y="29"/>
                    <a:pt x="306" y="27"/>
                    <a:pt x="294" y="27"/>
                  </a:cubicBezTo>
                  <a:moveTo>
                    <a:pt x="329" y="21"/>
                  </a:moveTo>
                  <a:cubicBezTo>
                    <a:pt x="332" y="24"/>
                    <a:pt x="335" y="26"/>
                    <a:pt x="338" y="28"/>
                  </a:cubicBezTo>
                  <a:cubicBezTo>
                    <a:pt x="347" y="33"/>
                    <a:pt x="358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5" y="36"/>
                    <a:pt x="379" y="36"/>
                    <a:pt x="383" y="35"/>
                  </a:cubicBezTo>
                  <a:cubicBezTo>
                    <a:pt x="329" y="21"/>
                    <a:pt x="329" y="21"/>
                    <a:pt x="329" y="21"/>
                  </a:cubicBezTo>
                  <a:moveTo>
                    <a:pt x="147" y="20"/>
                  </a:moveTo>
                  <a:cubicBezTo>
                    <a:pt x="124" y="25"/>
                    <a:pt x="124" y="25"/>
                    <a:pt x="124" y="25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147" y="20"/>
                    <a:pt x="147" y="20"/>
                    <a:pt x="147" y="20"/>
                  </a:cubicBezTo>
                  <a:moveTo>
                    <a:pt x="198" y="10"/>
                  </a:moveTo>
                  <a:cubicBezTo>
                    <a:pt x="174" y="15"/>
                    <a:pt x="174" y="15"/>
                    <a:pt x="174" y="15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198" y="10"/>
                    <a:pt x="198" y="10"/>
                    <a:pt x="198" y="10"/>
                  </a:cubicBezTo>
                  <a:moveTo>
                    <a:pt x="260" y="3"/>
                  </a:moveTo>
                  <a:cubicBezTo>
                    <a:pt x="118" y="85"/>
                    <a:pt x="118" y="85"/>
                    <a:pt x="118" y="85"/>
                  </a:cubicBezTo>
                  <a:cubicBezTo>
                    <a:pt x="126" y="90"/>
                    <a:pt x="126" y="90"/>
                    <a:pt x="126" y="90"/>
                  </a:cubicBezTo>
                  <a:cubicBezTo>
                    <a:pt x="271" y="6"/>
                    <a:pt x="271" y="6"/>
                    <a:pt x="271" y="6"/>
                  </a:cubicBezTo>
                  <a:cubicBezTo>
                    <a:pt x="260" y="3"/>
                    <a:pt x="260" y="3"/>
                    <a:pt x="260" y="3"/>
                  </a:cubicBezTo>
                  <a:moveTo>
                    <a:pt x="248" y="0"/>
                  </a:moveTo>
                  <a:cubicBezTo>
                    <a:pt x="225" y="5"/>
                    <a:pt x="225" y="5"/>
                    <a:pt x="225" y="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248" y="0"/>
                    <a:pt x="248" y="0"/>
                    <a:pt x="248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7" name="iṩḷídê">
              <a:extLst>
                <a:ext uri="{FF2B5EF4-FFF2-40B4-BE49-F238E27FC236}">
                  <a16:creationId xmlns:a16="http://schemas.microsoft.com/office/drawing/2014/main" xmlns="" id="{24417A83-4C20-463D-A6DA-345181A75B53}"/>
                </a:ext>
              </a:extLst>
            </p:cNvPr>
            <p:cNvSpPr/>
            <p:nvPr userDrawn="1"/>
          </p:nvSpPr>
          <p:spPr bwMode="auto">
            <a:xfrm>
              <a:off x="4438651" y="4419601"/>
              <a:ext cx="58738" cy="36513"/>
            </a:xfrm>
            <a:custGeom>
              <a:avLst/>
              <a:gdLst>
                <a:gd name="T0" fmla="*/ 3 w 18"/>
                <a:gd name="T1" fmla="*/ 2 h 11"/>
                <a:gd name="T2" fmla="*/ 14 w 18"/>
                <a:gd name="T3" fmla="*/ 2 h 11"/>
                <a:gd name="T4" fmla="*/ 14 w 18"/>
                <a:gd name="T5" fmla="*/ 9 h 11"/>
                <a:gd name="T6" fmla="*/ 3 w 18"/>
                <a:gd name="T7" fmla="*/ 9 h 11"/>
                <a:gd name="T8" fmla="*/ 3 w 18"/>
                <a:gd name="T9" fmla="*/ 2 h 11"/>
                <a:gd name="T10" fmla="*/ 11 w 18"/>
                <a:gd name="T11" fmla="*/ 4 h 11"/>
                <a:gd name="T12" fmla="*/ 6 w 18"/>
                <a:gd name="T13" fmla="*/ 4 h 11"/>
                <a:gd name="T14" fmla="*/ 6 w 18"/>
                <a:gd name="T15" fmla="*/ 7 h 11"/>
                <a:gd name="T16" fmla="*/ 12 w 18"/>
                <a:gd name="T17" fmla="*/ 7 h 11"/>
                <a:gd name="T18" fmla="*/ 11 w 18"/>
                <a:gd name="T1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1">
                  <a:moveTo>
                    <a:pt x="3" y="2"/>
                  </a:moveTo>
                  <a:cubicBezTo>
                    <a:pt x="6" y="0"/>
                    <a:pt x="11" y="1"/>
                    <a:pt x="14" y="2"/>
                  </a:cubicBezTo>
                  <a:cubicBezTo>
                    <a:pt x="17" y="4"/>
                    <a:pt x="18" y="7"/>
                    <a:pt x="14" y="9"/>
                  </a:cubicBezTo>
                  <a:cubicBezTo>
                    <a:pt x="11" y="11"/>
                    <a:pt x="6" y="11"/>
                    <a:pt x="3" y="9"/>
                  </a:cubicBezTo>
                  <a:cubicBezTo>
                    <a:pt x="0" y="7"/>
                    <a:pt x="0" y="4"/>
                    <a:pt x="3" y="2"/>
                  </a:cubicBezTo>
                  <a:close/>
                  <a:moveTo>
                    <a:pt x="11" y="4"/>
                  </a:moveTo>
                  <a:cubicBezTo>
                    <a:pt x="9" y="3"/>
                    <a:pt x="7" y="3"/>
                    <a:pt x="6" y="4"/>
                  </a:cubicBezTo>
                  <a:cubicBezTo>
                    <a:pt x="5" y="5"/>
                    <a:pt x="5" y="6"/>
                    <a:pt x="6" y="7"/>
                  </a:cubicBezTo>
                  <a:cubicBezTo>
                    <a:pt x="8" y="8"/>
                    <a:pt x="10" y="8"/>
                    <a:pt x="12" y="7"/>
                  </a:cubicBezTo>
                  <a:cubicBezTo>
                    <a:pt x="13" y="6"/>
                    <a:pt x="13" y="5"/>
                    <a:pt x="11" y="4"/>
                  </a:cubicBezTo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8" name="ïṧḻîḋe">
              <a:extLst>
                <a:ext uri="{FF2B5EF4-FFF2-40B4-BE49-F238E27FC236}">
                  <a16:creationId xmlns:a16="http://schemas.microsoft.com/office/drawing/2014/main" xmlns="" id="{1D4F72F5-5E4D-464C-B6CC-F9C316E95C9B}"/>
                </a:ext>
              </a:extLst>
            </p:cNvPr>
            <p:cNvSpPr/>
            <p:nvPr userDrawn="1"/>
          </p:nvSpPr>
          <p:spPr bwMode="auto">
            <a:xfrm>
              <a:off x="4454526" y="4429126"/>
              <a:ext cx="26988" cy="17463"/>
            </a:xfrm>
            <a:custGeom>
              <a:avLst/>
              <a:gdLst>
                <a:gd name="T0" fmla="*/ 1 w 8"/>
                <a:gd name="T1" fmla="*/ 4 h 5"/>
                <a:gd name="T2" fmla="*/ 7 w 8"/>
                <a:gd name="T3" fmla="*/ 4 h 5"/>
                <a:gd name="T4" fmla="*/ 6 w 8"/>
                <a:gd name="T5" fmla="*/ 1 h 5"/>
                <a:gd name="T6" fmla="*/ 1 w 8"/>
                <a:gd name="T7" fmla="*/ 1 h 5"/>
                <a:gd name="T8" fmla="*/ 1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1" y="4"/>
                  </a:moveTo>
                  <a:cubicBezTo>
                    <a:pt x="3" y="5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69" name="îšļiḋe">
              <a:extLst>
                <a:ext uri="{FF2B5EF4-FFF2-40B4-BE49-F238E27FC236}">
                  <a16:creationId xmlns:a16="http://schemas.microsoft.com/office/drawing/2014/main" xmlns="" id="{B7BA85E7-4319-4D43-AD61-E71961144634}"/>
                </a:ext>
              </a:extLst>
            </p:cNvPr>
            <p:cNvSpPr/>
            <p:nvPr userDrawn="1"/>
          </p:nvSpPr>
          <p:spPr bwMode="auto">
            <a:xfrm>
              <a:off x="4395788" y="4452938"/>
              <a:ext cx="134938" cy="19050"/>
            </a:xfrm>
            <a:custGeom>
              <a:avLst/>
              <a:gdLst>
                <a:gd name="T0" fmla="*/ 8 w 85"/>
                <a:gd name="T1" fmla="*/ 0 h 12"/>
                <a:gd name="T2" fmla="*/ 0 w 85"/>
                <a:gd name="T3" fmla="*/ 4 h 12"/>
                <a:gd name="T4" fmla="*/ 76 w 85"/>
                <a:gd name="T5" fmla="*/ 12 h 12"/>
                <a:gd name="T6" fmla="*/ 85 w 85"/>
                <a:gd name="T7" fmla="*/ 8 h 12"/>
                <a:gd name="T8" fmla="*/ 8 w 8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2">
                  <a:moveTo>
                    <a:pt x="8" y="0"/>
                  </a:moveTo>
                  <a:lnTo>
                    <a:pt x="0" y="4"/>
                  </a:lnTo>
                  <a:lnTo>
                    <a:pt x="76" y="12"/>
                  </a:lnTo>
                  <a:lnTo>
                    <a:pt x="85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0" name="íşlïḋe">
              <a:extLst>
                <a:ext uri="{FF2B5EF4-FFF2-40B4-BE49-F238E27FC236}">
                  <a16:creationId xmlns:a16="http://schemas.microsoft.com/office/drawing/2014/main" xmlns="" id="{8FBCB2FE-C04B-453D-8BB5-A02A5ADCB846}"/>
                </a:ext>
              </a:extLst>
            </p:cNvPr>
            <p:cNvSpPr/>
            <p:nvPr userDrawn="1"/>
          </p:nvSpPr>
          <p:spPr bwMode="auto">
            <a:xfrm>
              <a:off x="4445001" y="4475163"/>
              <a:ext cx="28575" cy="17463"/>
            </a:xfrm>
            <a:custGeom>
              <a:avLst/>
              <a:gdLst>
                <a:gd name="T0" fmla="*/ 7 w 9"/>
                <a:gd name="T1" fmla="*/ 1 h 5"/>
                <a:gd name="T2" fmla="*/ 2 w 9"/>
                <a:gd name="T3" fmla="*/ 1 h 5"/>
                <a:gd name="T4" fmla="*/ 2 w 9"/>
                <a:gd name="T5" fmla="*/ 4 h 5"/>
                <a:gd name="T6" fmla="*/ 7 w 9"/>
                <a:gd name="T7" fmla="*/ 4 h 5"/>
                <a:gd name="T8" fmla="*/ 7 w 9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7" y="1"/>
                  </a:moveTo>
                  <a:cubicBezTo>
                    <a:pt x="5" y="0"/>
                    <a:pt x="3" y="0"/>
                    <a:pt x="2" y="1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9" y="4"/>
                    <a:pt x="9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1" name="îşḻiḋê">
              <a:extLst>
                <a:ext uri="{FF2B5EF4-FFF2-40B4-BE49-F238E27FC236}">
                  <a16:creationId xmlns:a16="http://schemas.microsoft.com/office/drawing/2014/main" xmlns="" id="{4C0DF8A4-8803-4D11-81B2-36C6DF0135F4}"/>
                </a:ext>
              </a:extLst>
            </p:cNvPr>
            <p:cNvSpPr/>
            <p:nvPr userDrawn="1"/>
          </p:nvSpPr>
          <p:spPr bwMode="auto">
            <a:xfrm>
              <a:off x="4352926" y="4370388"/>
              <a:ext cx="263525" cy="177800"/>
            </a:xfrm>
            <a:custGeom>
              <a:avLst/>
              <a:gdLst>
                <a:gd name="T0" fmla="*/ 6 w 80"/>
                <a:gd name="T1" fmla="*/ 42 h 54"/>
                <a:gd name="T2" fmla="*/ 0 w 80"/>
                <a:gd name="T3" fmla="*/ 46 h 54"/>
                <a:gd name="T4" fmla="*/ 33 w 80"/>
                <a:gd name="T5" fmla="*/ 54 h 54"/>
                <a:gd name="T6" fmla="*/ 66 w 80"/>
                <a:gd name="T7" fmla="*/ 46 h 54"/>
                <a:gd name="T8" fmla="*/ 80 w 80"/>
                <a:gd name="T9" fmla="*/ 27 h 54"/>
                <a:gd name="T10" fmla="*/ 66 w 80"/>
                <a:gd name="T11" fmla="*/ 8 h 54"/>
                <a:gd name="T12" fmla="*/ 33 w 80"/>
                <a:gd name="T13" fmla="*/ 0 h 54"/>
                <a:gd name="T14" fmla="*/ 0 w 80"/>
                <a:gd name="T15" fmla="*/ 8 h 54"/>
                <a:gd name="T16" fmla="*/ 7 w 80"/>
                <a:gd name="T17" fmla="*/ 11 h 54"/>
                <a:gd name="T18" fmla="*/ 33 w 80"/>
                <a:gd name="T19" fmla="*/ 5 h 54"/>
                <a:gd name="T20" fmla="*/ 60 w 80"/>
                <a:gd name="T21" fmla="*/ 11 h 54"/>
                <a:gd name="T22" fmla="*/ 71 w 80"/>
                <a:gd name="T23" fmla="*/ 27 h 54"/>
                <a:gd name="T24" fmla="*/ 60 w 80"/>
                <a:gd name="T25" fmla="*/ 42 h 54"/>
                <a:gd name="T26" fmla="*/ 33 w 80"/>
                <a:gd name="T27" fmla="*/ 49 h 54"/>
                <a:gd name="T28" fmla="*/ 6 w 80"/>
                <a:gd name="T2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54">
                  <a:moveTo>
                    <a:pt x="6" y="42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9" y="51"/>
                    <a:pt x="21" y="54"/>
                    <a:pt x="33" y="54"/>
                  </a:cubicBezTo>
                  <a:cubicBezTo>
                    <a:pt x="45" y="54"/>
                    <a:pt x="57" y="51"/>
                    <a:pt x="66" y="46"/>
                  </a:cubicBezTo>
                  <a:cubicBezTo>
                    <a:pt x="75" y="41"/>
                    <a:pt x="80" y="34"/>
                    <a:pt x="80" y="27"/>
                  </a:cubicBezTo>
                  <a:cubicBezTo>
                    <a:pt x="80" y="20"/>
                    <a:pt x="75" y="13"/>
                    <a:pt x="66" y="8"/>
                  </a:cubicBezTo>
                  <a:cubicBezTo>
                    <a:pt x="57" y="3"/>
                    <a:pt x="46" y="0"/>
                    <a:pt x="33" y="0"/>
                  </a:cubicBezTo>
                  <a:cubicBezTo>
                    <a:pt x="21" y="0"/>
                    <a:pt x="9" y="3"/>
                    <a:pt x="0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4" y="7"/>
                    <a:pt x="23" y="5"/>
                    <a:pt x="33" y="5"/>
                  </a:cubicBezTo>
                  <a:cubicBezTo>
                    <a:pt x="43" y="5"/>
                    <a:pt x="53" y="7"/>
                    <a:pt x="60" y="11"/>
                  </a:cubicBezTo>
                  <a:cubicBezTo>
                    <a:pt x="67" y="16"/>
                    <a:pt x="71" y="21"/>
                    <a:pt x="71" y="27"/>
                  </a:cubicBezTo>
                  <a:cubicBezTo>
                    <a:pt x="71" y="33"/>
                    <a:pt x="67" y="38"/>
                    <a:pt x="60" y="42"/>
                  </a:cubicBezTo>
                  <a:cubicBezTo>
                    <a:pt x="53" y="46"/>
                    <a:pt x="43" y="49"/>
                    <a:pt x="33" y="49"/>
                  </a:cubicBezTo>
                  <a:cubicBezTo>
                    <a:pt x="23" y="49"/>
                    <a:pt x="13" y="46"/>
                    <a:pt x="6" y="42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2" name="îšḷîḋe">
              <a:extLst>
                <a:ext uri="{FF2B5EF4-FFF2-40B4-BE49-F238E27FC236}">
                  <a16:creationId xmlns:a16="http://schemas.microsoft.com/office/drawing/2014/main" xmlns="" id="{1F793B13-BD4F-45FE-9943-C8E7660C238B}"/>
                </a:ext>
              </a:extLst>
            </p:cNvPr>
            <p:cNvSpPr/>
            <p:nvPr userDrawn="1"/>
          </p:nvSpPr>
          <p:spPr bwMode="auto">
            <a:xfrm>
              <a:off x="3365501" y="4122738"/>
              <a:ext cx="811213" cy="468313"/>
            </a:xfrm>
            <a:custGeom>
              <a:avLst/>
              <a:gdLst>
                <a:gd name="T0" fmla="*/ 0 w 511"/>
                <a:gd name="T1" fmla="*/ 274 h 295"/>
                <a:gd name="T2" fmla="*/ 35 w 511"/>
                <a:gd name="T3" fmla="*/ 295 h 295"/>
                <a:gd name="T4" fmla="*/ 511 w 511"/>
                <a:gd name="T5" fmla="*/ 19 h 295"/>
                <a:gd name="T6" fmla="*/ 478 w 511"/>
                <a:gd name="T7" fmla="*/ 0 h 295"/>
                <a:gd name="T8" fmla="*/ 0 w 511"/>
                <a:gd name="T9" fmla="*/ 27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1" h="295">
                  <a:moveTo>
                    <a:pt x="0" y="274"/>
                  </a:moveTo>
                  <a:lnTo>
                    <a:pt x="35" y="295"/>
                  </a:lnTo>
                  <a:lnTo>
                    <a:pt x="511" y="19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3" name="işľíḋê">
              <a:extLst>
                <a:ext uri="{FF2B5EF4-FFF2-40B4-BE49-F238E27FC236}">
                  <a16:creationId xmlns:a16="http://schemas.microsoft.com/office/drawing/2014/main" xmlns="" id="{7E8D7ED6-3D30-4C82-933E-8F65CE37910C}"/>
                </a:ext>
              </a:extLst>
            </p:cNvPr>
            <p:cNvSpPr/>
            <p:nvPr userDrawn="1"/>
          </p:nvSpPr>
          <p:spPr bwMode="auto">
            <a:xfrm>
              <a:off x="4197351" y="4578351"/>
              <a:ext cx="25400" cy="15875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4 h 5"/>
                <a:gd name="T4" fmla="*/ 7 w 8"/>
                <a:gd name="T5" fmla="*/ 1 h 5"/>
                <a:gd name="T6" fmla="*/ 2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0" y="1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4" name="îṣḷide">
              <a:extLst>
                <a:ext uri="{FF2B5EF4-FFF2-40B4-BE49-F238E27FC236}">
                  <a16:creationId xmlns:a16="http://schemas.microsoft.com/office/drawing/2014/main" xmlns="" id="{84B6A977-AE81-4EA5-88E7-A9B5E3792C25}"/>
                </a:ext>
              </a:extLst>
            </p:cNvPr>
            <p:cNvSpPr/>
            <p:nvPr userDrawn="1"/>
          </p:nvSpPr>
          <p:spPr bwMode="auto">
            <a:xfrm>
              <a:off x="4078288" y="4535488"/>
              <a:ext cx="250825" cy="144463"/>
            </a:xfrm>
            <a:custGeom>
              <a:avLst/>
              <a:gdLst>
                <a:gd name="T0" fmla="*/ 12 w 76"/>
                <a:gd name="T1" fmla="*/ 37 h 44"/>
                <a:gd name="T2" fmla="*/ 1 w 76"/>
                <a:gd name="T3" fmla="*/ 21 h 44"/>
                <a:gd name="T4" fmla="*/ 12 w 76"/>
                <a:gd name="T5" fmla="*/ 6 h 44"/>
                <a:gd name="T6" fmla="*/ 39 w 76"/>
                <a:gd name="T7" fmla="*/ 0 h 44"/>
                <a:gd name="T8" fmla="*/ 65 w 76"/>
                <a:gd name="T9" fmla="*/ 6 h 44"/>
                <a:gd name="T10" fmla="*/ 76 w 76"/>
                <a:gd name="T11" fmla="*/ 22 h 44"/>
                <a:gd name="T12" fmla="*/ 65 w 76"/>
                <a:gd name="T13" fmla="*/ 37 h 44"/>
                <a:gd name="T14" fmla="*/ 38 w 76"/>
                <a:gd name="T15" fmla="*/ 44 h 44"/>
                <a:gd name="T16" fmla="*/ 12 w 76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12" y="37"/>
                  </a:moveTo>
                  <a:cubicBezTo>
                    <a:pt x="4" y="33"/>
                    <a:pt x="0" y="27"/>
                    <a:pt x="1" y="21"/>
                  </a:cubicBezTo>
                  <a:cubicBezTo>
                    <a:pt x="1" y="16"/>
                    <a:pt x="5" y="10"/>
                    <a:pt x="12" y="6"/>
                  </a:cubicBezTo>
                  <a:cubicBezTo>
                    <a:pt x="19" y="2"/>
                    <a:pt x="29" y="0"/>
                    <a:pt x="39" y="0"/>
                  </a:cubicBezTo>
                  <a:cubicBezTo>
                    <a:pt x="49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8"/>
                    <a:pt x="72" y="33"/>
                    <a:pt x="65" y="37"/>
                  </a:cubicBezTo>
                  <a:cubicBezTo>
                    <a:pt x="58" y="41"/>
                    <a:pt x="48" y="44"/>
                    <a:pt x="38" y="44"/>
                  </a:cubicBezTo>
                  <a:cubicBezTo>
                    <a:pt x="28" y="44"/>
                    <a:pt x="19" y="41"/>
                    <a:pt x="12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5" name="iṣḻídé">
              <a:extLst>
                <a:ext uri="{FF2B5EF4-FFF2-40B4-BE49-F238E27FC236}">
                  <a16:creationId xmlns:a16="http://schemas.microsoft.com/office/drawing/2014/main" xmlns="" id="{E33CEEC9-E4CE-470F-87DC-80E4EF151165}"/>
                </a:ext>
              </a:extLst>
            </p:cNvPr>
            <p:cNvSpPr/>
            <p:nvPr userDrawn="1"/>
          </p:nvSpPr>
          <p:spPr bwMode="auto">
            <a:xfrm>
              <a:off x="4191001" y="4624388"/>
              <a:ext cx="25400" cy="15875"/>
            </a:xfrm>
            <a:custGeom>
              <a:avLst/>
              <a:gdLst>
                <a:gd name="T0" fmla="*/ 7 w 8"/>
                <a:gd name="T1" fmla="*/ 1 h 5"/>
                <a:gd name="T2" fmla="*/ 1 w 8"/>
                <a:gd name="T3" fmla="*/ 1 h 5"/>
                <a:gd name="T4" fmla="*/ 2 w 8"/>
                <a:gd name="T5" fmla="*/ 4 h 5"/>
                <a:gd name="T6" fmla="*/ 7 w 8"/>
                <a:gd name="T7" fmla="*/ 4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5" y="0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ubicBezTo>
                    <a:pt x="4" y="5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6" name="i$lîḓe">
              <a:extLst>
                <a:ext uri="{FF2B5EF4-FFF2-40B4-BE49-F238E27FC236}">
                  <a16:creationId xmlns:a16="http://schemas.microsoft.com/office/drawing/2014/main" xmlns="" id="{E3294991-0945-479B-AF44-CBFF3D1E2E1D}"/>
                </a:ext>
              </a:extLst>
            </p:cNvPr>
            <p:cNvSpPr/>
            <p:nvPr userDrawn="1"/>
          </p:nvSpPr>
          <p:spPr bwMode="auto">
            <a:xfrm>
              <a:off x="3521076" y="4208463"/>
              <a:ext cx="781050" cy="455613"/>
            </a:xfrm>
            <a:custGeom>
              <a:avLst/>
              <a:gdLst>
                <a:gd name="T0" fmla="*/ 0 w 492"/>
                <a:gd name="T1" fmla="*/ 276 h 287"/>
                <a:gd name="T2" fmla="*/ 14 w 492"/>
                <a:gd name="T3" fmla="*/ 287 h 287"/>
                <a:gd name="T4" fmla="*/ 492 w 492"/>
                <a:gd name="T5" fmla="*/ 11 h 287"/>
                <a:gd name="T6" fmla="*/ 476 w 492"/>
                <a:gd name="T7" fmla="*/ 0 h 287"/>
                <a:gd name="T8" fmla="*/ 0 w 492"/>
                <a:gd name="T9" fmla="*/ 27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7">
                  <a:moveTo>
                    <a:pt x="0" y="276"/>
                  </a:moveTo>
                  <a:lnTo>
                    <a:pt x="14" y="287"/>
                  </a:lnTo>
                  <a:lnTo>
                    <a:pt x="492" y="11"/>
                  </a:lnTo>
                  <a:lnTo>
                    <a:pt x="476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7" name="ïŝļidè">
              <a:extLst>
                <a:ext uri="{FF2B5EF4-FFF2-40B4-BE49-F238E27FC236}">
                  <a16:creationId xmlns:a16="http://schemas.microsoft.com/office/drawing/2014/main" xmlns="" id="{7E3D1B39-BFBF-4018-8965-88EA0EA68B97}"/>
                </a:ext>
              </a:extLst>
            </p:cNvPr>
            <p:cNvSpPr/>
            <p:nvPr userDrawn="1"/>
          </p:nvSpPr>
          <p:spPr bwMode="auto">
            <a:xfrm>
              <a:off x="3573463" y="4241801"/>
              <a:ext cx="782638" cy="450850"/>
            </a:xfrm>
            <a:custGeom>
              <a:avLst/>
              <a:gdLst>
                <a:gd name="T0" fmla="*/ 0 w 493"/>
                <a:gd name="T1" fmla="*/ 276 h 284"/>
                <a:gd name="T2" fmla="*/ 15 w 493"/>
                <a:gd name="T3" fmla="*/ 284 h 284"/>
                <a:gd name="T4" fmla="*/ 493 w 493"/>
                <a:gd name="T5" fmla="*/ 8 h 284"/>
                <a:gd name="T6" fmla="*/ 478 w 493"/>
                <a:gd name="T7" fmla="*/ 0 h 284"/>
                <a:gd name="T8" fmla="*/ 0 w 493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3" h="284">
                  <a:moveTo>
                    <a:pt x="0" y="276"/>
                  </a:moveTo>
                  <a:lnTo>
                    <a:pt x="15" y="284"/>
                  </a:lnTo>
                  <a:lnTo>
                    <a:pt x="493" y="8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8" name="íşļíďe">
              <a:extLst>
                <a:ext uri="{FF2B5EF4-FFF2-40B4-BE49-F238E27FC236}">
                  <a16:creationId xmlns:a16="http://schemas.microsoft.com/office/drawing/2014/main" xmlns="" id="{203D16FE-6C68-43C3-B4C5-097D9C5C6D29}"/>
                </a:ext>
              </a:extLst>
            </p:cNvPr>
            <p:cNvSpPr/>
            <p:nvPr userDrawn="1"/>
          </p:nvSpPr>
          <p:spPr bwMode="auto">
            <a:xfrm>
              <a:off x="4078288" y="4518026"/>
              <a:ext cx="280988" cy="179388"/>
            </a:xfrm>
            <a:custGeom>
              <a:avLst/>
              <a:gdLst>
                <a:gd name="T0" fmla="*/ 6 w 85"/>
                <a:gd name="T1" fmla="*/ 8 h 54"/>
                <a:gd name="T2" fmla="*/ 12 w 85"/>
                <a:gd name="T3" fmla="*/ 11 h 54"/>
                <a:gd name="T4" fmla="*/ 1 w 85"/>
                <a:gd name="T5" fmla="*/ 26 h 54"/>
                <a:gd name="T6" fmla="*/ 12 w 85"/>
                <a:gd name="T7" fmla="*/ 42 h 54"/>
                <a:gd name="T8" fmla="*/ 1 w 85"/>
                <a:gd name="T9" fmla="*/ 26 h 54"/>
                <a:gd name="T10" fmla="*/ 12 w 85"/>
                <a:gd name="T11" fmla="*/ 11 h 54"/>
                <a:gd name="T12" fmla="*/ 39 w 85"/>
                <a:gd name="T13" fmla="*/ 5 h 54"/>
                <a:gd name="T14" fmla="*/ 65 w 85"/>
                <a:gd name="T15" fmla="*/ 11 h 54"/>
                <a:gd name="T16" fmla="*/ 76 w 85"/>
                <a:gd name="T17" fmla="*/ 27 h 54"/>
                <a:gd name="T18" fmla="*/ 65 w 85"/>
                <a:gd name="T19" fmla="*/ 42 h 54"/>
                <a:gd name="T20" fmla="*/ 71 w 85"/>
                <a:gd name="T21" fmla="*/ 46 h 54"/>
                <a:gd name="T22" fmla="*/ 38 w 85"/>
                <a:gd name="T23" fmla="*/ 54 h 54"/>
                <a:gd name="T24" fmla="*/ 5 w 85"/>
                <a:gd name="T25" fmla="*/ 46 h 54"/>
                <a:gd name="T26" fmla="*/ 38 w 85"/>
                <a:gd name="T27" fmla="*/ 54 h 54"/>
                <a:gd name="T28" fmla="*/ 71 w 85"/>
                <a:gd name="T29" fmla="*/ 46 h 54"/>
                <a:gd name="T30" fmla="*/ 85 w 85"/>
                <a:gd name="T31" fmla="*/ 27 h 54"/>
                <a:gd name="T32" fmla="*/ 72 w 85"/>
                <a:gd name="T33" fmla="*/ 8 h 54"/>
                <a:gd name="T34" fmla="*/ 39 w 85"/>
                <a:gd name="T35" fmla="*/ 0 h 54"/>
                <a:gd name="T36" fmla="*/ 6 w 85"/>
                <a:gd name="T37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54">
                  <a:moveTo>
                    <a:pt x="6" y="8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5" y="15"/>
                    <a:pt x="1" y="21"/>
                    <a:pt x="1" y="26"/>
                  </a:cubicBezTo>
                  <a:cubicBezTo>
                    <a:pt x="0" y="32"/>
                    <a:pt x="4" y="38"/>
                    <a:pt x="12" y="42"/>
                  </a:cubicBezTo>
                  <a:cubicBezTo>
                    <a:pt x="4" y="38"/>
                    <a:pt x="0" y="32"/>
                    <a:pt x="1" y="26"/>
                  </a:cubicBezTo>
                  <a:cubicBezTo>
                    <a:pt x="1" y="21"/>
                    <a:pt x="5" y="15"/>
                    <a:pt x="12" y="11"/>
                  </a:cubicBezTo>
                  <a:cubicBezTo>
                    <a:pt x="19" y="7"/>
                    <a:pt x="29" y="5"/>
                    <a:pt x="39" y="5"/>
                  </a:cubicBezTo>
                  <a:cubicBezTo>
                    <a:pt x="49" y="5"/>
                    <a:pt x="58" y="7"/>
                    <a:pt x="65" y="11"/>
                  </a:cubicBezTo>
                  <a:cubicBezTo>
                    <a:pt x="72" y="15"/>
                    <a:pt x="76" y="21"/>
                    <a:pt x="76" y="27"/>
                  </a:cubicBezTo>
                  <a:cubicBezTo>
                    <a:pt x="76" y="33"/>
                    <a:pt x="72" y="38"/>
                    <a:pt x="65" y="42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63" y="51"/>
                    <a:pt x="51" y="54"/>
                    <a:pt x="38" y="54"/>
                  </a:cubicBezTo>
                  <a:cubicBezTo>
                    <a:pt x="26" y="54"/>
                    <a:pt x="14" y="51"/>
                    <a:pt x="5" y="46"/>
                  </a:cubicBezTo>
                  <a:cubicBezTo>
                    <a:pt x="14" y="51"/>
                    <a:pt x="26" y="54"/>
                    <a:pt x="38" y="54"/>
                  </a:cubicBezTo>
                  <a:cubicBezTo>
                    <a:pt x="51" y="54"/>
                    <a:pt x="63" y="51"/>
                    <a:pt x="71" y="46"/>
                  </a:cubicBezTo>
                  <a:cubicBezTo>
                    <a:pt x="80" y="41"/>
                    <a:pt x="85" y="34"/>
                    <a:pt x="85" y="27"/>
                  </a:cubicBezTo>
                  <a:cubicBezTo>
                    <a:pt x="85" y="19"/>
                    <a:pt x="80" y="13"/>
                    <a:pt x="72" y="8"/>
                  </a:cubicBezTo>
                  <a:cubicBezTo>
                    <a:pt x="63" y="2"/>
                    <a:pt x="51" y="0"/>
                    <a:pt x="39" y="0"/>
                  </a:cubicBezTo>
                  <a:cubicBezTo>
                    <a:pt x="26" y="0"/>
                    <a:pt x="14" y="2"/>
                    <a:pt x="6" y="8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79" name="îsļíḋé">
              <a:extLst>
                <a:ext uri="{FF2B5EF4-FFF2-40B4-BE49-F238E27FC236}">
                  <a16:creationId xmlns:a16="http://schemas.microsoft.com/office/drawing/2014/main" xmlns="" id="{1A2A5C2A-BD8C-4ED8-99BA-E0B08C5C83A1}"/>
                </a:ext>
              </a:extLst>
            </p:cNvPr>
            <p:cNvSpPr/>
            <p:nvPr userDrawn="1"/>
          </p:nvSpPr>
          <p:spPr bwMode="auto">
            <a:xfrm>
              <a:off x="4048126" y="4545013"/>
              <a:ext cx="265113" cy="152400"/>
            </a:xfrm>
            <a:custGeom>
              <a:avLst/>
              <a:gdLst>
                <a:gd name="T0" fmla="*/ 15 w 80"/>
                <a:gd name="T1" fmla="*/ 0 h 46"/>
                <a:gd name="T2" fmla="*/ 1 w 80"/>
                <a:gd name="T3" fmla="*/ 18 h 46"/>
                <a:gd name="T4" fmla="*/ 14 w 80"/>
                <a:gd name="T5" fmla="*/ 38 h 46"/>
                <a:gd name="T6" fmla="*/ 47 w 80"/>
                <a:gd name="T7" fmla="*/ 46 h 46"/>
                <a:gd name="T8" fmla="*/ 80 w 80"/>
                <a:gd name="T9" fmla="*/ 38 h 46"/>
                <a:gd name="T10" fmla="*/ 74 w 80"/>
                <a:gd name="T11" fmla="*/ 34 h 46"/>
                <a:gd name="T12" fmla="*/ 47 w 80"/>
                <a:gd name="T13" fmla="*/ 41 h 46"/>
                <a:gd name="T14" fmla="*/ 21 w 80"/>
                <a:gd name="T15" fmla="*/ 34 h 46"/>
                <a:gd name="T16" fmla="*/ 10 w 80"/>
                <a:gd name="T17" fmla="*/ 18 h 46"/>
                <a:gd name="T18" fmla="*/ 21 w 80"/>
                <a:gd name="T19" fmla="*/ 3 h 46"/>
                <a:gd name="T20" fmla="*/ 15 w 80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46">
                  <a:moveTo>
                    <a:pt x="15" y="0"/>
                  </a:moveTo>
                  <a:cubicBezTo>
                    <a:pt x="6" y="5"/>
                    <a:pt x="1" y="11"/>
                    <a:pt x="1" y="18"/>
                  </a:cubicBezTo>
                  <a:cubicBezTo>
                    <a:pt x="0" y="25"/>
                    <a:pt x="5" y="33"/>
                    <a:pt x="14" y="38"/>
                  </a:cubicBezTo>
                  <a:cubicBezTo>
                    <a:pt x="23" y="43"/>
                    <a:pt x="35" y="46"/>
                    <a:pt x="47" y="46"/>
                  </a:cubicBezTo>
                  <a:cubicBezTo>
                    <a:pt x="60" y="46"/>
                    <a:pt x="72" y="43"/>
                    <a:pt x="80" y="38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67" y="38"/>
                    <a:pt x="57" y="41"/>
                    <a:pt x="47" y="41"/>
                  </a:cubicBezTo>
                  <a:cubicBezTo>
                    <a:pt x="37" y="41"/>
                    <a:pt x="28" y="38"/>
                    <a:pt x="21" y="34"/>
                  </a:cubicBezTo>
                  <a:cubicBezTo>
                    <a:pt x="13" y="30"/>
                    <a:pt x="9" y="24"/>
                    <a:pt x="10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0" name="íṣḻïdé">
              <a:extLst>
                <a:ext uri="{FF2B5EF4-FFF2-40B4-BE49-F238E27FC236}">
                  <a16:creationId xmlns:a16="http://schemas.microsoft.com/office/drawing/2014/main" xmlns="" id="{6DE5AB99-27F4-4661-A1C0-C5613E4451A7}"/>
                </a:ext>
              </a:extLst>
            </p:cNvPr>
            <p:cNvSpPr/>
            <p:nvPr userDrawn="1"/>
          </p:nvSpPr>
          <p:spPr bwMode="auto">
            <a:xfrm>
              <a:off x="3625851" y="4271963"/>
              <a:ext cx="785813" cy="454025"/>
            </a:xfrm>
            <a:custGeom>
              <a:avLst/>
              <a:gdLst>
                <a:gd name="T0" fmla="*/ 0 w 495"/>
                <a:gd name="T1" fmla="*/ 276 h 286"/>
                <a:gd name="T2" fmla="*/ 17 w 495"/>
                <a:gd name="T3" fmla="*/ 286 h 286"/>
                <a:gd name="T4" fmla="*/ 495 w 495"/>
                <a:gd name="T5" fmla="*/ 10 h 286"/>
                <a:gd name="T6" fmla="*/ 478 w 495"/>
                <a:gd name="T7" fmla="*/ 0 h 286"/>
                <a:gd name="T8" fmla="*/ 0 w 495"/>
                <a:gd name="T9" fmla="*/ 27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6">
                  <a:moveTo>
                    <a:pt x="0" y="276"/>
                  </a:moveTo>
                  <a:lnTo>
                    <a:pt x="17" y="286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1" name="ïsḷiḑe">
              <a:extLst>
                <a:ext uri="{FF2B5EF4-FFF2-40B4-BE49-F238E27FC236}">
                  <a16:creationId xmlns:a16="http://schemas.microsoft.com/office/drawing/2014/main" xmlns="" id="{F6E65772-E63B-4A42-8463-6013F6EED985}"/>
                </a:ext>
              </a:extLst>
            </p:cNvPr>
            <p:cNvSpPr/>
            <p:nvPr userDrawn="1"/>
          </p:nvSpPr>
          <p:spPr bwMode="auto">
            <a:xfrm>
              <a:off x="3943351" y="4722813"/>
              <a:ext cx="25400" cy="17463"/>
            </a:xfrm>
            <a:custGeom>
              <a:avLst/>
              <a:gdLst>
                <a:gd name="T0" fmla="*/ 2 w 8"/>
                <a:gd name="T1" fmla="*/ 4 h 5"/>
                <a:gd name="T2" fmla="*/ 7 w 8"/>
                <a:gd name="T3" fmla="*/ 5 h 5"/>
                <a:gd name="T4" fmla="*/ 6 w 8"/>
                <a:gd name="T5" fmla="*/ 2 h 5"/>
                <a:gd name="T6" fmla="*/ 1 w 8"/>
                <a:gd name="T7" fmla="*/ 1 h 5"/>
                <a:gd name="T8" fmla="*/ 2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4"/>
                  </a:moveTo>
                  <a:cubicBezTo>
                    <a:pt x="3" y="5"/>
                    <a:pt x="5" y="5"/>
                    <a:pt x="7" y="5"/>
                  </a:cubicBezTo>
                  <a:cubicBezTo>
                    <a:pt x="8" y="4"/>
                    <a:pt x="8" y="3"/>
                    <a:pt x="6" y="2"/>
                  </a:cubicBezTo>
                  <a:cubicBezTo>
                    <a:pt x="5" y="1"/>
                    <a:pt x="3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2" name="ïṣ1íḍé">
              <a:extLst>
                <a:ext uri="{FF2B5EF4-FFF2-40B4-BE49-F238E27FC236}">
                  <a16:creationId xmlns:a16="http://schemas.microsoft.com/office/drawing/2014/main" xmlns="" id="{CFA917A9-E6EA-497B-9D21-7DD10764E090}"/>
                </a:ext>
              </a:extLst>
            </p:cNvPr>
            <p:cNvSpPr/>
            <p:nvPr userDrawn="1"/>
          </p:nvSpPr>
          <p:spPr bwMode="auto">
            <a:xfrm>
              <a:off x="3824288" y="4683126"/>
              <a:ext cx="250825" cy="142875"/>
            </a:xfrm>
            <a:custGeom>
              <a:avLst/>
              <a:gdLst>
                <a:gd name="T0" fmla="*/ 11 w 76"/>
                <a:gd name="T1" fmla="*/ 37 h 43"/>
                <a:gd name="T2" fmla="*/ 0 w 76"/>
                <a:gd name="T3" fmla="*/ 21 h 43"/>
                <a:gd name="T4" fmla="*/ 11 w 76"/>
                <a:gd name="T5" fmla="*/ 6 h 43"/>
                <a:gd name="T6" fmla="*/ 38 w 76"/>
                <a:gd name="T7" fmla="*/ 0 h 43"/>
                <a:gd name="T8" fmla="*/ 65 w 76"/>
                <a:gd name="T9" fmla="*/ 6 h 43"/>
                <a:gd name="T10" fmla="*/ 76 w 76"/>
                <a:gd name="T11" fmla="*/ 22 h 43"/>
                <a:gd name="T12" fmla="*/ 64 w 76"/>
                <a:gd name="T13" fmla="*/ 37 h 43"/>
                <a:gd name="T14" fmla="*/ 38 w 76"/>
                <a:gd name="T15" fmla="*/ 43 h 43"/>
                <a:gd name="T16" fmla="*/ 11 w 76"/>
                <a:gd name="T17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3">
                  <a:moveTo>
                    <a:pt x="11" y="37"/>
                  </a:moveTo>
                  <a:cubicBezTo>
                    <a:pt x="4" y="33"/>
                    <a:pt x="0" y="27"/>
                    <a:pt x="0" y="21"/>
                  </a:cubicBezTo>
                  <a:cubicBezTo>
                    <a:pt x="0" y="15"/>
                    <a:pt x="4" y="10"/>
                    <a:pt x="11" y="6"/>
                  </a:cubicBezTo>
                  <a:cubicBezTo>
                    <a:pt x="18" y="2"/>
                    <a:pt x="28" y="0"/>
                    <a:pt x="38" y="0"/>
                  </a:cubicBezTo>
                  <a:cubicBezTo>
                    <a:pt x="48" y="0"/>
                    <a:pt x="58" y="2"/>
                    <a:pt x="65" y="6"/>
                  </a:cubicBezTo>
                  <a:cubicBezTo>
                    <a:pt x="72" y="10"/>
                    <a:pt x="76" y="16"/>
                    <a:pt x="76" y="22"/>
                  </a:cubicBezTo>
                  <a:cubicBezTo>
                    <a:pt x="76" y="27"/>
                    <a:pt x="72" y="33"/>
                    <a:pt x="64" y="37"/>
                  </a:cubicBezTo>
                  <a:cubicBezTo>
                    <a:pt x="57" y="41"/>
                    <a:pt x="48" y="43"/>
                    <a:pt x="38" y="43"/>
                  </a:cubicBezTo>
                  <a:cubicBezTo>
                    <a:pt x="28" y="43"/>
                    <a:pt x="18" y="41"/>
                    <a:pt x="11" y="37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3" name="íṥľíḓe">
              <a:extLst>
                <a:ext uri="{FF2B5EF4-FFF2-40B4-BE49-F238E27FC236}">
                  <a16:creationId xmlns:a16="http://schemas.microsoft.com/office/drawing/2014/main" xmlns="" id="{40E1EE65-1B44-4119-8E1D-A54716B9D238}"/>
                </a:ext>
              </a:extLst>
            </p:cNvPr>
            <p:cNvSpPr/>
            <p:nvPr userDrawn="1"/>
          </p:nvSpPr>
          <p:spPr bwMode="auto">
            <a:xfrm>
              <a:off x="3937001" y="4772026"/>
              <a:ext cx="25400" cy="17463"/>
            </a:xfrm>
            <a:custGeom>
              <a:avLst/>
              <a:gdLst>
                <a:gd name="T0" fmla="*/ 6 w 8"/>
                <a:gd name="T1" fmla="*/ 1 h 5"/>
                <a:gd name="T2" fmla="*/ 1 w 8"/>
                <a:gd name="T3" fmla="*/ 0 h 5"/>
                <a:gd name="T4" fmla="*/ 1 w 8"/>
                <a:gd name="T5" fmla="*/ 3 h 5"/>
                <a:gd name="T6" fmla="*/ 7 w 8"/>
                <a:gd name="T7" fmla="*/ 4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4" y="0"/>
                    <a:pt x="2" y="0"/>
                    <a:pt x="1" y="0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3" y="4"/>
                    <a:pt x="5" y="5"/>
                    <a:pt x="7" y="4"/>
                  </a:cubicBezTo>
                  <a:cubicBezTo>
                    <a:pt x="8" y="3"/>
                    <a:pt x="8" y="2"/>
                    <a:pt x="6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4" name="íŝḷîḓê">
              <a:extLst>
                <a:ext uri="{FF2B5EF4-FFF2-40B4-BE49-F238E27FC236}">
                  <a16:creationId xmlns:a16="http://schemas.microsoft.com/office/drawing/2014/main" xmlns="" id="{9C5493D4-0314-40DA-A6EE-C49158F6E1A8}"/>
                </a:ext>
              </a:extLst>
            </p:cNvPr>
            <p:cNvSpPr/>
            <p:nvPr userDrawn="1"/>
          </p:nvSpPr>
          <p:spPr bwMode="auto">
            <a:xfrm>
              <a:off x="4895851" y="4606926"/>
              <a:ext cx="320675" cy="188913"/>
            </a:xfrm>
            <a:custGeom>
              <a:avLst/>
              <a:gdLst>
                <a:gd name="T0" fmla="*/ 0 w 202"/>
                <a:gd name="T1" fmla="*/ 27 h 119"/>
                <a:gd name="T2" fmla="*/ 156 w 202"/>
                <a:gd name="T3" fmla="*/ 119 h 119"/>
                <a:gd name="T4" fmla="*/ 202 w 202"/>
                <a:gd name="T5" fmla="*/ 92 h 119"/>
                <a:gd name="T6" fmla="*/ 44 w 202"/>
                <a:gd name="T7" fmla="*/ 0 h 119"/>
                <a:gd name="T8" fmla="*/ 0 w 202"/>
                <a:gd name="T9" fmla="*/ 2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119">
                  <a:moveTo>
                    <a:pt x="0" y="27"/>
                  </a:moveTo>
                  <a:lnTo>
                    <a:pt x="156" y="119"/>
                  </a:lnTo>
                  <a:lnTo>
                    <a:pt x="202" y="92"/>
                  </a:lnTo>
                  <a:lnTo>
                    <a:pt x="44" y="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5" name="ïṧḻîde">
              <a:extLst>
                <a:ext uri="{FF2B5EF4-FFF2-40B4-BE49-F238E27FC236}">
                  <a16:creationId xmlns:a16="http://schemas.microsoft.com/office/drawing/2014/main" xmlns="" id="{5C2A32E8-D0DD-4FA7-A580-DEE530911D00}"/>
                </a:ext>
              </a:extLst>
            </p:cNvPr>
            <p:cNvSpPr/>
            <p:nvPr userDrawn="1"/>
          </p:nvSpPr>
          <p:spPr bwMode="auto">
            <a:xfrm>
              <a:off x="3824288" y="4667251"/>
              <a:ext cx="234950" cy="138113"/>
            </a:xfrm>
            <a:custGeom>
              <a:avLst/>
              <a:gdLst>
                <a:gd name="T0" fmla="*/ 5 w 71"/>
                <a:gd name="T1" fmla="*/ 7 h 42"/>
                <a:gd name="T2" fmla="*/ 11 w 71"/>
                <a:gd name="T3" fmla="*/ 11 h 42"/>
                <a:gd name="T4" fmla="*/ 0 w 71"/>
                <a:gd name="T5" fmla="*/ 26 h 42"/>
                <a:gd name="T6" fmla="*/ 11 w 71"/>
                <a:gd name="T7" fmla="*/ 42 h 42"/>
                <a:gd name="T8" fmla="*/ 0 w 71"/>
                <a:gd name="T9" fmla="*/ 26 h 42"/>
                <a:gd name="T10" fmla="*/ 11 w 71"/>
                <a:gd name="T11" fmla="*/ 11 h 42"/>
                <a:gd name="T12" fmla="*/ 38 w 71"/>
                <a:gd name="T13" fmla="*/ 5 h 42"/>
                <a:gd name="T14" fmla="*/ 65 w 71"/>
                <a:gd name="T15" fmla="*/ 11 h 42"/>
                <a:gd name="T16" fmla="*/ 71 w 71"/>
                <a:gd name="T17" fmla="*/ 7 h 42"/>
                <a:gd name="T18" fmla="*/ 38 w 71"/>
                <a:gd name="T19" fmla="*/ 0 h 42"/>
                <a:gd name="T20" fmla="*/ 5 w 71"/>
                <a:gd name="T21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42">
                  <a:moveTo>
                    <a:pt x="5" y="7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4" y="15"/>
                    <a:pt x="0" y="20"/>
                    <a:pt x="0" y="26"/>
                  </a:cubicBezTo>
                  <a:cubicBezTo>
                    <a:pt x="0" y="32"/>
                    <a:pt x="4" y="38"/>
                    <a:pt x="11" y="42"/>
                  </a:cubicBezTo>
                  <a:cubicBezTo>
                    <a:pt x="4" y="38"/>
                    <a:pt x="0" y="32"/>
                    <a:pt x="0" y="26"/>
                  </a:cubicBezTo>
                  <a:cubicBezTo>
                    <a:pt x="0" y="20"/>
                    <a:pt x="4" y="15"/>
                    <a:pt x="11" y="11"/>
                  </a:cubicBezTo>
                  <a:cubicBezTo>
                    <a:pt x="18" y="7"/>
                    <a:pt x="28" y="5"/>
                    <a:pt x="38" y="5"/>
                  </a:cubicBezTo>
                  <a:cubicBezTo>
                    <a:pt x="48" y="5"/>
                    <a:pt x="58" y="7"/>
                    <a:pt x="65" y="1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2" y="2"/>
                    <a:pt x="50" y="0"/>
                    <a:pt x="38" y="0"/>
                  </a:cubicBezTo>
                  <a:cubicBezTo>
                    <a:pt x="26" y="0"/>
                    <a:pt x="14" y="2"/>
                    <a:pt x="5" y="7"/>
                  </a:cubicBez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6" name="i$ļiḋe">
              <a:extLst>
                <a:ext uri="{FF2B5EF4-FFF2-40B4-BE49-F238E27FC236}">
                  <a16:creationId xmlns:a16="http://schemas.microsoft.com/office/drawing/2014/main" xmlns="" id="{106ACBF9-C956-4F44-A0F2-1B88120148E3}"/>
                </a:ext>
              </a:extLst>
            </p:cNvPr>
            <p:cNvSpPr/>
            <p:nvPr userDrawn="1"/>
          </p:nvSpPr>
          <p:spPr bwMode="auto">
            <a:xfrm>
              <a:off x="4938713" y="4725988"/>
              <a:ext cx="198438" cy="115888"/>
            </a:xfrm>
            <a:custGeom>
              <a:avLst/>
              <a:gdLst>
                <a:gd name="T0" fmla="*/ 0 w 125"/>
                <a:gd name="T1" fmla="*/ 25 h 73"/>
                <a:gd name="T2" fmla="*/ 79 w 125"/>
                <a:gd name="T3" fmla="*/ 73 h 73"/>
                <a:gd name="T4" fmla="*/ 125 w 125"/>
                <a:gd name="T5" fmla="*/ 46 h 73"/>
                <a:gd name="T6" fmla="*/ 44 w 125"/>
                <a:gd name="T7" fmla="*/ 0 h 73"/>
                <a:gd name="T8" fmla="*/ 0 w 125"/>
                <a:gd name="T9" fmla="*/ 2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73">
                  <a:moveTo>
                    <a:pt x="0" y="25"/>
                  </a:moveTo>
                  <a:lnTo>
                    <a:pt x="79" y="73"/>
                  </a:lnTo>
                  <a:lnTo>
                    <a:pt x="125" y="46"/>
                  </a:lnTo>
                  <a:lnTo>
                    <a:pt x="44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7" name="îslîḍè">
              <a:extLst>
                <a:ext uri="{FF2B5EF4-FFF2-40B4-BE49-F238E27FC236}">
                  <a16:creationId xmlns:a16="http://schemas.microsoft.com/office/drawing/2014/main" xmlns="" id="{02D0B2F1-BD12-41B1-94B4-0EE4DD15C920}"/>
                </a:ext>
              </a:extLst>
            </p:cNvPr>
            <p:cNvSpPr/>
            <p:nvPr userDrawn="1"/>
          </p:nvSpPr>
          <p:spPr bwMode="auto">
            <a:xfrm>
              <a:off x="4810126" y="4835526"/>
              <a:ext cx="168275" cy="95250"/>
            </a:xfrm>
            <a:custGeom>
              <a:avLst/>
              <a:gdLst>
                <a:gd name="T0" fmla="*/ 0 w 106"/>
                <a:gd name="T1" fmla="*/ 25 h 60"/>
                <a:gd name="T2" fmla="*/ 61 w 106"/>
                <a:gd name="T3" fmla="*/ 60 h 60"/>
                <a:gd name="T4" fmla="*/ 106 w 106"/>
                <a:gd name="T5" fmla="*/ 35 h 60"/>
                <a:gd name="T6" fmla="*/ 46 w 106"/>
                <a:gd name="T7" fmla="*/ 0 h 60"/>
                <a:gd name="T8" fmla="*/ 0 w 106"/>
                <a:gd name="T9" fmla="*/ 2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60">
                  <a:moveTo>
                    <a:pt x="0" y="25"/>
                  </a:moveTo>
                  <a:lnTo>
                    <a:pt x="61" y="60"/>
                  </a:lnTo>
                  <a:lnTo>
                    <a:pt x="106" y="35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8" name="iśḷiďê">
              <a:extLst>
                <a:ext uri="{FF2B5EF4-FFF2-40B4-BE49-F238E27FC236}">
                  <a16:creationId xmlns:a16="http://schemas.microsoft.com/office/drawing/2014/main" xmlns="" id="{D05A9A76-B447-435C-9AF1-504E0E010F56}"/>
                </a:ext>
              </a:extLst>
            </p:cNvPr>
            <p:cNvSpPr/>
            <p:nvPr userDrawn="1"/>
          </p:nvSpPr>
          <p:spPr bwMode="auto">
            <a:xfrm>
              <a:off x="4081463" y="4538663"/>
              <a:ext cx="785813" cy="450850"/>
            </a:xfrm>
            <a:custGeom>
              <a:avLst/>
              <a:gdLst>
                <a:gd name="T0" fmla="*/ 0 w 495"/>
                <a:gd name="T1" fmla="*/ 274 h 284"/>
                <a:gd name="T2" fmla="*/ 17 w 495"/>
                <a:gd name="T3" fmla="*/ 284 h 284"/>
                <a:gd name="T4" fmla="*/ 495 w 495"/>
                <a:gd name="T5" fmla="*/ 8 h 284"/>
                <a:gd name="T6" fmla="*/ 478 w 495"/>
                <a:gd name="T7" fmla="*/ 0 h 284"/>
                <a:gd name="T8" fmla="*/ 0 w 495"/>
                <a:gd name="T9" fmla="*/ 27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4"/>
                  </a:moveTo>
                  <a:lnTo>
                    <a:pt x="17" y="284"/>
                  </a:lnTo>
                  <a:lnTo>
                    <a:pt x="495" y="8"/>
                  </a:lnTo>
                  <a:lnTo>
                    <a:pt x="478" y="0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89" name="i$ḻïḍè">
              <a:extLst>
                <a:ext uri="{FF2B5EF4-FFF2-40B4-BE49-F238E27FC236}">
                  <a16:creationId xmlns:a16="http://schemas.microsoft.com/office/drawing/2014/main" xmlns="" id="{7FD547A4-99B3-4EA5-978E-D4B7A097A770}"/>
                </a:ext>
              </a:extLst>
            </p:cNvPr>
            <p:cNvSpPr/>
            <p:nvPr userDrawn="1"/>
          </p:nvSpPr>
          <p:spPr bwMode="auto">
            <a:xfrm>
              <a:off x="4154488" y="4578351"/>
              <a:ext cx="781050" cy="450850"/>
            </a:xfrm>
            <a:custGeom>
              <a:avLst/>
              <a:gdLst>
                <a:gd name="T0" fmla="*/ 0 w 492"/>
                <a:gd name="T1" fmla="*/ 276 h 284"/>
                <a:gd name="T2" fmla="*/ 14 w 492"/>
                <a:gd name="T3" fmla="*/ 284 h 284"/>
                <a:gd name="T4" fmla="*/ 492 w 492"/>
                <a:gd name="T5" fmla="*/ 10 h 284"/>
                <a:gd name="T6" fmla="*/ 478 w 492"/>
                <a:gd name="T7" fmla="*/ 0 h 284"/>
                <a:gd name="T8" fmla="*/ 0 w 492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284">
                  <a:moveTo>
                    <a:pt x="0" y="276"/>
                  </a:moveTo>
                  <a:lnTo>
                    <a:pt x="14" y="284"/>
                  </a:lnTo>
                  <a:lnTo>
                    <a:pt x="492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0" name="ï$lïḍê">
              <a:extLst>
                <a:ext uri="{FF2B5EF4-FFF2-40B4-BE49-F238E27FC236}">
                  <a16:creationId xmlns:a16="http://schemas.microsoft.com/office/drawing/2014/main" xmlns="" id="{5E4E4412-ED8B-4347-8A50-8CB72F7DB26B}"/>
                </a:ext>
              </a:extLst>
            </p:cNvPr>
            <p:cNvSpPr/>
            <p:nvPr userDrawn="1"/>
          </p:nvSpPr>
          <p:spPr bwMode="auto">
            <a:xfrm>
              <a:off x="4295776" y="4848226"/>
              <a:ext cx="379413" cy="217488"/>
            </a:xfrm>
            <a:custGeom>
              <a:avLst/>
              <a:gdLst>
                <a:gd name="T0" fmla="*/ 0 w 239"/>
                <a:gd name="T1" fmla="*/ 129 h 137"/>
                <a:gd name="T2" fmla="*/ 15 w 239"/>
                <a:gd name="T3" fmla="*/ 137 h 137"/>
                <a:gd name="T4" fmla="*/ 239 w 239"/>
                <a:gd name="T5" fmla="*/ 8 h 137"/>
                <a:gd name="T6" fmla="*/ 225 w 239"/>
                <a:gd name="T7" fmla="*/ 0 h 137"/>
                <a:gd name="T8" fmla="*/ 0 w 239"/>
                <a:gd name="T9" fmla="*/ 12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9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5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1" name="iṡļïḋe">
              <a:extLst>
                <a:ext uri="{FF2B5EF4-FFF2-40B4-BE49-F238E27FC236}">
                  <a16:creationId xmlns:a16="http://schemas.microsoft.com/office/drawing/2014/main" xmlns="" id="{398CD17E-BD6F-4D00-A4D7-C70BEB02DCB6}"/>
                </a:ext>
              </a:extLst>
            </p:cNvPr>
            <p:cNvSpPr/>
            <p:nvPr userDrawn="1"/>
          </p:nvSpPr>
          <p:spPr bwMode="auto">
            <a:xfrm>
              <a:off x="4356101" y="4881563"/>
              <a:ext cx="379413" cy="220663"/>
            </a:xfrm>
            <a:custGeom>
              <a:avLst/>
              <a:gdLst>
                <a:gd name="T0" fmla="*/ 0 w 239"/>
                <a:gd name="T1" fmla="*/ 129 h 139"/>
                <a:gd name="T2" fmla="*/ 14 w 239"/>
                <a:gd name="T3" fmla="*/ 139 h 139"/>
                <a:gd name="T4" fmla="*/ 239 w 239"/>
                <a:gd name="T5" fmla="*/ 8 h 139"/>
                <a:gd name="T6" fmla="*/ 224 w 239"/>
                <a:gd name="T7" fmla="*/ 0 h 139"/>
                <a:gd name="T8" fmla="*/ 0 w 239"/>
                <a:gd name="T9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9">
                  <a:moveTo>
                    <a:pt x="0" y="129"/>
                  </a:moveTo>
                  <a:lnTo>
                    <a:pt x="14" y="139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2" name="ï$líḓé">
              <a:extLst>
                <a:ext uri="{FF2B5EF4-FFF2-40B4-BE49-F238E27FC236}">
                  <a16:creationId xmlns:a16="http://schemas.microsoft.com/office/drawing/2014/main" xmlns="" id="{29C469D4-7E59-468C-A747-BC814696ABD2}"/>
                </a:ext>
              </a:extLst>
            </p:cNvPr>
            <p:cNvSpPr/>
            <p:nvPr userDrawn="1"/>
          </p:nvSpPr>
          <p:spPr bwMode="auto">
            <a:xfrm>
              <a:off x="4414838" y="4918076"/>
              <a:ext cx="379413" cy="217488"/>
            </a:xfrm>
            <a:custGeom>
              <a:avLst/>
              <a:gdLst>
                <a:gd name="T0" fmla="*/ 0 w 239"/>
                <a:gd name="T1" fmla="*/ 128 h 137"/>
                <a:gd name="T2" fmla="*/ 15 w 239"/>
                <a:gd name="T3" fmla="*/ 137 h 137"/>
                <a:gd name="T4" fmla="*/ 239 w 239"/>
                <a:gd name="T5" fmla="*/ 8 h 137"/>
                <a:gd name="T6" fmla="*/ 224 w 239"/>
                <a:gd name="T7" fmla="*/ 0 h 137"/>
                <a:gd name="T8" fmla="*/ 0 w 239"/>
                <a:gd name="T9" fmla="*/ 12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7">
                  <a:moveTo>
                    <a:pt x="0" y="128"/>
                  </a:moveTo>
                  <a:lnTo>
                    <a:pt x="15" y="137"/>
                  </a:lnTo>
                  <a:lnTo>
                    <a:pt x="239" y="8"/>
                  </a:lnTo>
                  <a:lnTo>
                    <a:pt x="224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3" name="ïşľíḑè">
              <a:extLst>
                <a:ext uri="{FF2B5EF4-FFF2-40B4-BE49-F238E27FC236}">
                  <a16:creationId xmlns:a16="http://schemas.microsoft.com/office/drawing/2014/main" xmlns="" id="{F52E1218-7BB9-40F6-87E5-66376A547120}"/>
                </a:ext>
              </a:extLst>
            </p:cNvPr>
            <p:cNvSpPr/>
            <p:nvPr userDrawn="1"/>
          </p:nvSpPr>
          <p:spPr bwMode="auto">
            <a:xfrm>
              <a:off x="4464051" y="4943476"/>
              <a:ext cx="382588" cy="220663"/>
            </a:xfrm>
            <a:custGeom>
              <a:avLst/>
              <a:gdLst>
                <a:gd name="T0" fmla="*/ 0 w 241"/>
                <a:gd name="T1" fmla="*/ 131 h 139"/>
                <a:gd name="T2" fmla="*/ 17 w 241"/>
                <a:gd name="T3" fmla="*/ 139 h 139"/>
                <a:gd name="T4" fmla="*/ 241 w 241"/>
                <a:gd name="T5" fmla="*/ 11 h 139"/>
                <a:gd name="T6" fmla="*/ 225 w 241"/>
                <a:gd name="T7" fmla="*/ 0 h 139"/>
                <a:gd name="T8" fmla="*/ 0 w 241"/>
                <a:gd name="T9" fmla="*/ 13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0" y="131"/>
                  </a:moveTo>
                  <a:lnTo>
                    <a:pt x="17" y="139"/>
                  </a:lnTo>
                  <a:lnTo>
                    <a:pt x="241" y="11"/>
                  </a:lnTo>
                  <a:lnTo>
                    <a:pt x="225" y="0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4" name="iŝḻiḑê">
              <a:extLst>
                <a:ext uri="{FF2B5EF4-FFF2-40B4-BE49-F238E27FC236}">
                  <a16:creationId xmlns:a16="http://schemas.microsoft.com/office/drawing/2014/main" xmlns="" id="{C114CA3D-7238-4552-B7C5-024731D3DA16}"/>
                </a:ext>
              </a:extLst>
            </p:cNvPr>
            <p:cNvSpPr/>
            <p:nvPr userDrawn="1"/>
          </p:nvSpPr>
          <p:spPr bwMode="auto">
            <a:xfrm>
              <a:off x="3249613" y="4054476"/>
              <a:ext cx="2132013" cy="1231900"/>
            </a:xfrm>
            <a:custGeom>
              <a:avLst/>
              <a:gdLst>
                <a:gd name="T0" fmla="*/ 378 w 646"/>
                <a:gd name="T1" fmla="*/ 374 h 374"/>
                <a:gd name="T2" fmla="*/ 268 w 646"/>
                <a:gd name="T3" fmla="*/ 0 h 374"/>
                <a:gd name="T4" fmla="*/ 323 w 646"/>
                <a:gd name="T5" fmla="*/ 149 h 374"/>
                <a:gd name="T6" fmla="*/ 257 w 646"/>
                <a:gd name="T7" fmla="*/ 149 h 374"/>
                <a:gd name="T8" fmla="*/ 256 w 646"/>
                <a:gd name="T9" fmla="*/ 187 h 374"/>
                <a:gd name="T10" fmla="*/ 322 w 646"/>
                <a:gd name="T11" fmla="*/ 187 h 374"/>
                <a:gd name="T12" fmla="*/ 323 w 646"/>
                <a:gd name="T13" fmla="*/ 149 h 374"/>
                <a:gd name="T14" fmla="*/ 212 w 646"/>
                <a:gd name="T15" fmla="*/ 186 h 374"/>
                <a:gd name="T16" fmla="*/ 165 w 646"/>
                <a:gd name="T17" fmla="*/ 212 h 374"/>
                <a:gd name="T18" fmla="*/ 212 w 646"/>
                <a:gd name="T19" fmla="*/ 240 h 374"/>
                <a:gd name="T20" fmla="*/ 258 w 646"/>
                <a:gd name="T21" fmla="*/ 213 h 374"/>
                <a:gd name="T22" fmla="*/ 400 w 646"/>
                <a:gd name="T23" fmla="*/ 104 h 374"/>
                <a:gd name="T24" fmla="*/ 334 w 646"/>
                <a:gd name="T25" fmla="*/ 104 h 374"/>
                <a:gd name="T26" fmla="*/ 334 w 646"/>
                <a:gd name="T27" fmla="*/ 142 h 374"/>
                <a:gd name="T28" fmla="*/ 400 w 646"/>
                <a:gd name="T29" fmla="*/ 142 h 374"/>
                <a:gd name="T30" fmla="*/ 400 w 646"/>
                <a:gd name="T31" fmla="*/ 104 h 374"/>
                <a:gd name="T32" fmla="*/ 281 w 646"/>
                <a:gd name="T33" fmla="*/ 30 h 374"/>
                <a:gd name="T34" fmla="*/ 35 w 646"/>
                <a:gd name="T35" fmla="*/ 153 h 374"/>
                <a:gd name="T36" fmla="*/ 105 w 646"/>
                <a:gd name="T37" fmla="*/ 194 h 374"/>
                <a:gd name="T38" fmla="*/ 328 w 646"/>
                <a:gd name="T39" fmla="*/ 57 h 374"/>
                <a:gd name="T40" fmla="*/ 105 w 646"/>
                <a:gd name="T41" fmla="*/ 194 h 374"/>
                <a:gd name="T42" fmla="*/ 303 w 646"/>
                <a:gd name="T43" fmla="*/ 42 h 374"/>
                <a:gd name="T44" fmla="*/ 65 w 646"/>
                <a:gd name="T45" fmla="*/ 171 h 374"/>
                <a:gd name="T46" fmla="*/ 89 w 646"/>
                <a:gd name="T47" fmla="*/ 185 h 374"/>
                <a:gd name="T48" fmla="*/ 311 w 646"/>
                <a:gd name="T49" fmla="*/ 47 h 374"/>
                <a:gd name="T50" fmla="*/ 89 w 646"/>
                <a:gd name="T51" fmla="*/ 185 h 374"/>
                <a:gd name="T52" fmla="*/ 352 w 646"/>
                <a:gd name="T53" fmla="*/ 71 h 374"/>
                <a:gd name="T54" fmla="*/ 114 w 646"/>
                <a:gd name="T55" fmla="*/ 199 h 374"/>
                <a:gd name="T56" fmla="*/ 281 w 646"/>
                <a:gd name="T57" fmla="*/ 296 h 374"/>
                <a:gd name="T58" fmla="*/ 504 w 646"/>
                <a:gd name="T59" fmla="*/ 159 h 374"/>
                <a:gd name="T60" fmla="*/ 281 w 646"/>
                <a:gd name="T61" fmla="*/ 296 h 374"/>
                <a:gd name="T62" fmla="*/ 490 w 646"/>
                <a:gd name="T63" fmla="*/ 151 h 374"/>
                <a:gd name="T64" fmla="*/ 252 w 646"/>
                <a:gd name="T65" fmla="*/ 279 h 374"/>
                <a:gd name="T66" fmla="*/ 237 w 646"/>
                <a:gd name="T67" fmla="*/ 270 h 374"/>
                <a:gd name="T68" fmla="*/ 459 w 646"/>
                <a:gd name="T69" fmla="*/ 133 h 374"/>
                <a:gd name="T70" fmla="*/ 237 w 646"/>
                <a:gd name="T71" fmla="*/ 270 h 374"/>
                <a:gd name="T72" fmla="*/ 596 w 646"/>
                <a:gd name="T73" fmla="*/ 212 h 374"/>
                <a:gd name="T74" fmla="*/ 499 w 646"/>
                <a:gd name="T75" fmla="*/ 181 h 374"/>
                <a:gd name="T76" fmla="*/ 526 w 646"/>
                <a:gd name="T77" fmla="*/ 252 h 374"/>
                <a:gd name="T78" fmla="*/ 491 w 646"/>
                <a:gd name="T79" fmla="*/ 207 h 374"/>
                <a:gd name="T80" fmla="*/ 526 w 646"/>
                <a:gd name="T81" fmla="*/ 252 h 374"/>
                <a:gd name="T82" fmla="*/ 572 w 646"/>
                <a:gd name="T83" fmla="*/ 226 h 374"/>
                <a:gd name="T84" fmla="*/ 512 w 646"/>
                <a:gd name="T85" fmla="*/ 216 h 374"/>
                <a:gd name="T86" fmla="*/ 342 w 646"/>
                <a:gd name="T87" fmla="*/ 318 h 374"/>
                <a:gd name="T88" fmla="*/ 443 w 646"/>
                <a:gd name="T89" fmla="*/ 251 h 374"/>
                <a:gd name="T90" fmla="*/ 342 w 646"/>
                <a:gd name="T91" fmla="*/ 318 h 374"/>
                <a:gd name="T92" fmla="*/ 432 w 646"/>
                <a:gd name="T93" fmla="*/ 245 h 374"/>
                <a:gd name="T94" fmla="*/ 317 w 646"/>
                <a:gd name="T95" fmla="*/ 303 h 374"/>
                <a:gd name="T96" fmla="*/ 360 w 646"/>
                <a:gd name="T97" fmla="*/ 328 h 374"/>
                <a:gd name="T98" fmla="*/ 461 w 646"/>
                <a:gd name="T99" fmla="*/ 262 h 374"/>
                <a:gd name="T100" fmla="*/ 360 w 646"/>
                <a:gd name="T101" fmla="*/ 328 h 374"/>
                <a:gd name="T102" fmla="*/ 484 w 646"/>
                <a:gd name="T103" fmla="*/ 275 h 374"/>
                <a:gd name="T104" fmla="*/ 368 w 646"/>
                <a:gd name="T105" fmla="*/ 333 h 374"/>
                <a:gd name="T106" fmla="*/ 502 w 646"/>
                <a:gd name="T107" fmla="*/ 266 h 374"/>
                <a:gd name="T108" fmla="*/ 495 w 646"/>
                <a:gd name="T109" fmla="*/ 237 h 374"/>
                <a:gd name="T110" fmla="*/ 502 w 646"/>
                <a:gd name="T111" fmla="*/ 26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6" h="374">
                  <a:moveTo>
                    <a:pt x="646" y="219"/>
                  </a:moveTo>
                  <a:cubicBezTo>
                    <a:pt x="378" y="374"/>
                    <a:pt x="378" y="374"/>
                    <a:pt x="378" y="37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646" y="219"/>
                    <a:pt x="646" y="219"/>
                    <a:pt x="646" y="219"/>
                  </a:cubicBezTo>
                  <a:moveTo>
                    <a:pt x="323" y="149"/>
                  </a:moveTo>
                  <a:cubicBezTo>
                    <a:pt x="314" y="143"/>
                    <a:pt x="302" y="141"/>
                    <a:pt x="290" y="141"/>
                  </a:cubicBezTo>
                  <a:cubicBezTo>
                    <a:pt x="277" y="141"/>
                    <a:pt x="265" y="143"/>
                    <a:pt x="257" y="149"/>
                  </a:cubicBezTo>
                  <a:cubicBezTo>
                    <a:pt x="248" y="154"/>
                    <a:pt x="243" y="160"/>
                    <a:pt x="243" y="167"/>
                  </a:cubicBezTo>
                  <a:cubicBezTo>
                    <a:pt x="242" y="174"/>
                    <a:pt x="247" y="182"/>
                    <a:pt x="256" y="187"/>
                  </a:cubicBezTo>
                  <a:cubicBezTo>
                    <a:pt x="265" y="192"/>
                    <a:pt x="277" y="195"/>
                    <a:pt x="289" y="195"/>
                  </a:cubicBezTo>
                  <a:cubicBezTo>
                    <a:pt x="302" y="195"/>
                    <a:pt x="314" y="192"/>
                    <a:pt x="322" y="187"/>
                  </a:cubicBezTo>
                  <a:cubicBezTo>
                    <a:pt x="331" y="182"/>
                    <a:pt x="336" y="175"/>
                    <a:pt x="336" y="168"/>
                  </a:cubicBezTo>
                  <a:cubicBezTo>
                    <a:pt x="336" y="160"/>
                    <a:pt x="331" y="154"/>
                    <a:pt x="323" y="149"/>
                  </a:cubicBezTo>
                  <a:moveTo>
                    <a:pt x="245" y="193"/>
                  </a:moveTo>
                  <a:cubicBezTo>
                    <a:pt x="236" y="188"/>
                    <a:pt x="224" y="186"/>
                    <a:pt x="212" y="186"/>
                  </a:cubicBezTo>
                  <a:cubicBezTo>
                    <a:pt x="200" y="186"/>
                    <a:pt x="188" y="188"/>
                    <a:pt x="179" y="193"/>
                  </a:cubicBezTo>
                  <a:cubicBezTo>
                    <a:pt x="170" y="198"/>
                    <a:pt x="166" y="205"/>
                    <a:pt x="165" y="212"/>
                  </a:cubicBezTo>
                  <a:cubicBezTo>
                    <a:pt x="165" y="219"/>
                    <a:pt x="170" y="226"/>
                    <a:pt x="179" y="232"/>
                  </a:cubicBezTo>
                  <a:cubicBezTo>
                    <a:pt x="187" y="237"/>
                    <a:pt x="199" y="240"/>
                    <a:pt x="212" y="240"/>
                  </a:cubicBezTo>
                  <a:cubicBezTo>
                    <a:pt x="224" y="240"/>
                    <a:pt x="236" y="237"/>
                    <a:pt x="245" y="232"/>
                  </a:cubicBezTo>
                  <a:cubicBezTo>
                    <a:pt x="254" y="227"/>
                    <a:pt x="258" y="220"/>
                    <a:pt x="258" y="213"/>
                  </a:cubicBezTo>
                  <a:cubicBezTo>
                    <a:pt x="259" y="205"/>
                    <a:pt x="254" y="199"/>
                    <a:pt x="245" y="193"/>
                  </a:cubicBezTo>
                  <a:moveTo>
                    <a:pt x="400" y="104"/>
                  </a:moveTo>
                  <a:cubicBezTo>
                    <a:pt x="391" y="99"/>
                    <a:pt x="380" y="96"/>
                    <a:pt x="367" y="96"/>
                  </a:cubicBezTo>
                  <a:cubicBezTo>
                    <a:pt x="355" y="96"/>
                    <a:pt x="343" y="99"/>
                    <a:pt x="334" y="104"/>
                  </a:cubicBezTo>
                  <a:cubicBezTo>
                    <a:pt x="326" y="109"/>
                    <a:pt x="321" y="115"/>
                    <a:pt x="320" y="122"/>
                  </a:cubicBezTo>
                  <a:cubicBezTo>
                    <a:pt x="320" y="130"/>
                    <a:pt x="325" y="137"/>
                    <a:pt x="334" y="142"/>
                  </a:cubicBezTo>
                  <a:cubicBezTo>
                    <a:pt x="343" y="147"/>
                    <a:pt x="355" y="150"/>
                    <a:pt x="367" y="150"/>
                  </a:cubicBezTo>
                  <a:cubicBezTo>
                    <a:pt x="379" y="150"/>
                    <a:pt x="391" y="147"/>
                    <a:pt x="400" y="142"/>
                  </a:cubicBezTo>
                  <a:cubicBezTo>
                    <a:pt x="409" y="137"/>
                    <a:pt x="414" y="130"/>
                    <a:pt x="414" y="123"/>
                  </a:cubicBezTo>
                  <a:cubicBezTo>
                    <a:pt x="414" y="116"/>
                    <a:pt x="409" y="109"/>
                    <a:pt x="400" y="104"/>
                  </a:cubicBezTo>
                  <a:moveTo>
                    <a:pt x="52" y="163"/>
                  </a:moveTo>
                  <a:cubicBezTo>
                    <a:pt x="281" y="30"/>
                    <a:pt x="281" y="30"/>
                    <a:pt x="281" y="30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52" y="163"/>
                    <a:pt x="52" y="163"/>
                    <a:pt x="52" y="163"/>
                  </a:cubicBezTo>
                  <a:moveTo>
                    <a:pt x="105" y="194"/>
                  </a:moveTo>
                  <a:cubicBezTo>
                    <a:pt x="335" y="61"/>
                    <a:pt x="335" y="61"/>
                    <a:pt x="335" y="61"/>
                  </a:cubicBezTo>
                  <a:cubicBezTo>
                    <a:pt x="328" y="57"/>
                    <a:pt x="328" y="57"/>
                    <a:pt x="328" y="57"/>
                  </a:cubicBezTo>
                  <a:cubicBezTo>
                    <a:pt x="98" y="190"/>
                    <a:pt x="98" y="190"/>
                    <a:pt x="98" y="190"/>
                  </a:cubicBezTo>
                  <a:cubicBezTo>
                    <a:pt x="105" y="194"/>
                    <a:pt x="105" y="194"/>
                    <a:pt x="105" y="194"/>
                  </a:cubicBezTo>
                  <a:moveTo>
                    <a:pt x="73" y="175"/>
                  </a:moveTo>
                  <a:cubicBezTo>
                    <a:pt x="303" y="42"/>
                    <a:pt x="303" y="42"/>
                    <a:pt x="303" y="42"/>
                  </a:cubicBezTo>
                  <a:cubicBezTo>
                    <a:pt x="295" y="38"/>
                    <a:pt x="295" y="38"/>
                    <a:pt x="295" y="38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73" y="175"/>
                    <a:pt x="73" y="175"/>
                    <a:pt x="73" y="175"/>
                  </a:cubicBezTo>
                  <a:moveTo>
                    <a:pt x="89" y="185"/>
                  </a:moveTo>
                  <a:cubicBezTo>
                    <a:pt x="319" y="52"/>
                    <a:pt x="319" y="52"/>
                    <a:pt x="319" y="52"/>
                  </a:cubicBezTo>
                  <a:cubicBezTo>
                    <a:pt x="311" y="47"/>
                    <a:pt x="311" y="47"/>
                    <a:pt x="311" y="47"/>
                  </a:cubicBezTo>
                  <a:cubicBezTo>
                    <a:pt x="82" y="180"/>
                    <a:pt x="82" y="180"/>
                    <a:pt x="82" y="180"/>
                  </a:cubicBezTo>
                  <a:cubicBezTo>
                    <a:pt x="89" y="185"/>
                    <a:pt x="89" y="185"/>
                    <a:pt x="89" y="185"/>
                  </a:cubicBezTo>
                  <a:moveTo>
                    <a:pt x="122" y="204"/>
                  </a:moveTo>
                  <a:cubicBezTo>
                    <a:pt x="352" y="71"/>
                    <a:pt x="352" y="71"/>
                    <a:pt x="352" y="71"/>
                  </a:cubicBezTo>
                  <a:cubicBezTo>
                    <a:pt x="344" y="66"/>
                    <a:pt x="344" y="66"/>
                    <a:pt x="344" y="66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122" y="204"/>
                    <a:pt x="122" y="204"/>
                    <a:pt x="122" y="204"/>
                  </a:cubicBezTo>
                  <a:moveTo>
                    <a:pt x="281" y="296"/>
                  </a:moveTo>
                  <a:cubicBezTo>
                    <a:pt x="511" y="164"/>
                    <a:pt x="511" y="164"/>
                    <a:pt x="511" y="164"/>
                  </a:cubicBezTo>
                  <a:cubicBezTo>
                    <a:pt x="504" y="159"/>
                    <a:pt x="504" y="159"/>
                    <a:pt x="504" y="159"/>
                  </a:cubicBezTo>
                  <a:cubicBezTo>
                    <a:pt x="274" y="292"/>
                    <a:pt x="274" y="292"/>
                    <a:pt x="274" y="292"/>
                  </a:cubicBezTo>
                  <a:cubicBezTo>
                    <a:pt x="281" y="296"/>
                    <a:pt x="281" y="296"/>
                    <a:pt x="281" y="296"/>
                  </a:cubicBezTo>
                  <a:moveTo>
                    <a:pt x="260" y="284"/>
                  </a:moveTo>
                  <a:cubicBezTo>
                    <a:pt x="490" y="151"/>
                    <a:pt x="490" y="151"/>
                    <a:pt x="490" y="151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252" y="279"/>
                    <a:pt x="252" y="279"/>
                    <a:pt x="252" y="279"/>
                  </a:cubicBezTo>
                  <a:cubicBezTo>
                    <a:pt x="260" y="284"/>
                    <a:pt x="260" y="284"/>
                    <a:pt x="260" y="284"/>
                  </a:cubicBezTo>
                  <a:moveTo>
                    <a:pt x="237" y="270"/>
                  </a:moveTo>
                  <a:cubicBezTo>
                    <a:pt x="467" y="138"/>
                    <a:pt x="467" y="138"/>
                    <a:pt x="467" y="138"/>
                  </a:cubicBezTo>
                  <a:cubicBezTo>
                    <a:pt x="459" y="133"/>
                    <a:pt x="459" y="133"/>
                    <a:pt x="459" y="133"/>
                  </a:cubicBezTo>
                  <a:cubicBezTo>
                    <a:pt x="229" y="266"/>
                    <a:pt x="229" y="266"/>
                    <a:pt x="229" y="266"/>
                  </a:cubicBezTo>
                  <a:cubicBezTo>
                    <a:pt x="237" y="270"/>
                    <a:pt x="237" y="270"/>
                    <a:pt x="237" y="270"/>
                  </a:cubicBezTo>
                  <a:moveTo>
                    <a:pt x="574" y="225"/>
                  </a:moveTo>
                  <a:cubicBezTo>
                    <a:pt x="596" y="212"/>
                    <a:pt x="596" y="212"/>
                    <a:pt x="596" y="212"/>
                  </a:cubicBezTo>
                  <a:cubicBezTo>
                    <a:pt x="520" y="168"/>
                    <a:pt x="520" y="168"/>
                    <a:pt x="520" y="168"/>
                  </a:cubicBezTo>
                  <a:cubicBezTo>
                    <a:pt x="499" y="181"/>
                    <a:pt x="499" y="181"/>
                    <a:pt x="499" y="181"/>
                  </a:cubicBezTo>
                  <a:cubicBezTo>
                    <a:pt x="574" y="225"/>
                    <a:pt x="574" y="225"/>
                    <a:pt x="574" y="225"/>
                  </a:cubicBezTo>
                  <a:moveTo>
                    <a:pt x="526" y="252"/>
                  </a:moveTo>
                  <a:cubicBezTo>
                    <a:pt x="548" y="240"/>
                    <a:pt x="548" y="240"/>
                    <a:pt x="548" y="240"/>
                  </a:cubicBezTo>
                  <a:cubicBezTo>
                    <a:pt x="491" y="207"/>
                    <a:pt x="491" y="207"/>
                    <a:pt x="491" y="207"/>
                  </a:cubicBezTo>
                  <a:cubicBezTo>
                    <a:pt x="469" y="219"/>
                    <a:pt x="469" y="219"/>
                    <a:pt x="469" y="219"/>
                  </a:cubicBezTo>
                  <a:cubicBezTo>
                    <a:pt x="526" y="252"/>
                    <a:pt x="526" y="252"/>
                    <a:pt x="526" y="252"/>
                  </a:cubicBezTo>
                  <a:moveTo>
                    <a:pt x="550" y="239"/>
                  </a:moveTo>
                  <a:cubicBezTo>
                    <a:pt x="572" y="226"/>
                    <a:pt x="572" y="226"/>
                    <a:pt x="572" y="226"/>
                  </a:cubicBezTo>
                  <a:cubicBezTo>
                    <a:pt x="533" y="204"/>
                    <a:pt x="533" y="204"/>
                    <a:pt x="533" y="204"/>
                  </a:cubicBezTo>
                  <a:cubicBezTo>
                    <a:pt x="512" y="216"/>
                    <a:pt x="512" y="216"/>
                    <a:pt x="512" y="216"/>
                  </a:cubicBezTo>
                  <a:cubicBezTo>
                    <a:pt x="550" y="239"/>
                    <a:pt x="550" y="239"/>
                    <a:pt x="550" y="239"/>
                  </a:cubicBezTo>
                  <a:moveTo>
                    <a:pt x="342" y="318"/>
                  </a:moveTo>
                  <a:cubicBezTo>
                    <a:pt x="450" y="255"/>
                    <a:pt x="450" y="255"/>
                    <a:pt x="450" y="255"/>
                  </a:cubicBezTo>
                  <a:cubicBezTo>
                    <a:pt x="443" y="251"/>
                    <a:pt x="443" y="251"/>
                    <a:pt x="443" y="251"/>
                  </a:cubicBezTo>
                  <a:cubicBezTo>
                    <a:pt x="335" y="313"/>
                    <a:pt x="335" y="313"/>
                    <a:pt x="335" y="313"/>
                  </a:cubicBezTo>
                  <a:cubicBezTo>
                    <a:pt x="342" y="318"/>
                    <a:pt x="342" y="318"/>
                    <a:pt x="342" y="318"/>
                  </a:cubicBezTo>
                  <a:moveTo>
                    <a:pt x="324" y="307"/>
                  </a:moveTo>
                  <a:cubicBezTo>
                    <a:pt x="432" y="245"/>
                    <a:pt x="432" y="245"/>
                    <a:pt x="432" y="245"/>
                  </a:cubicBezTo>
                  <a:cubicBezTo>
                    <a:pt x="425" y="241"/>
                    <a:pt x="425" y="241"/>
                    <a:pt x="425" y="241"/>
                  </a:cubicBezTo>
                  <a:cubicBezTo>
                    <a:pt x="317" y="303"/>
                    <a:pt x="317" y="303"/>
                    <a:pt x="317" y="303"/>
                  </a:cubicBezTo>
                  <a:cubicBezTo>
                    <a:pt x="324" y="307"/>
                    <a:pt x="324" y="307"/>
                    <a:pt x="324" y="307"/>
                  </a:cubicBezTo>
                  <a:moveTo>
                    <a:pt x="360" y="328"/>
                  </a:moveTo>
                  <a:cubicBezTo>
                    <a:pt x="468" y="266"/>
                    <a:pt x="468" y="266"/>
                    <a:pt x="468" y="266"/>
                  </a:cubicBezTo>
                  <a:cubicBezTo>
                    <a:pt x="461" y="262"/>
                    <a:pt x="461" y="262"/>
                    <a:pt x="461" y="262"/>
                  </a:cubicBezTo>
                  <a:cubicBezTo>
                    <a:pt x="353" y="324"/>
                    <a:pt x="353" y="324"/>
                    <a:pt x="353" y="324"/>
                  </a:cubicBezTo>
                  <a:cubicBezTo>
                    <a:pt x="360" y="328"/>
                    <a:pt x="360" y="328"/>
                    <a:pt x="360" y="328"/>
                  </a:cubicBezTo>
                  <a:moveTo>
                    <a:pt x="376" y="337"/>
                  </a:moveTo>
                  <a:cubicBezTo>
                    <a:pt x="484" y="275"/>
                    <a:pt x="484" y="275"/>
                    <a:pt x="484" y="275"/>
                  </a:cubicBezTo>
                  <a:cubicBezTo>
                    <a:pt x="476" y="270"/>
                    <a:pt x="476" y="270"/>
                    <a:pt x="476" y="270"/>
                  </a:cubicBezTo>
                  <a:cubicBezTo>
                    <a:pt x="368" y="333"/>
                    <a:pt x="368" y="333"/>
                    <a:pt x="368" y="333"/>
                  </a:cubicBezTo>
                  <a:cubicBezTo>
                    <a:pt x="376" y="337"/>
                    <a:pt x="376" y="337"/>
                    <a:pt x="376" y="337"/>
                  </a:cubicBezTo>
                  <a:moveTo>
                    <a:pt x="502" y="266"/>
                  </a:moveTo>
                  <a:cubicBezTo>
                    <a:pt x="524" y="254"/>
                    <a:pt x="524" y="254"/>
                    <a:pt x="524" y="254"/>
                  </a:cubicBezTo>
                  <a:cubicBezTo>
                    <a:pt x="495" y="237"/>
                    <a:pt x="495" y="237"/>
                    <a:pt x="495" y="237"/>
                  </a:cubicBezTo>
                  <a:cubicBezTo>
                    <a:pt x="473" y="249"/>
                    <a:pt x="473" y="249"/>
                    <a:pt x="473" y="249"/>
                  </a:cubicBezTo>
                  <a:cubicBezTo>
                    <a:pt x="502" y="266"/>
                    <a:pt x="502" y="266"/>
                    <a:pt x="502" y="266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5" name="iśḷíḋe">
              <a:extLst>
                <a:ext uri="{FF2B5EF4-FFF2-40B4-BE49-F238E27FC236}">
                  <a16:creationId xmlns:a16="http://schemas.microsoft.com/office/drawing/2014/main" xmlns="" id="{81DE0DA3-0E6C-4146-AD25-1C9C8F9DCE84}"/>
                </a:ext>
              </a:extLst>
            </p:cNvPr>
            <p:cNvSpPr/>
            <p:nvPr userDrawn="1"/>
          </p:nvSpPr>
          <p:spPr bwMode="auto">
            <a:xfrm>
              <a:off x="4305301" y="4397376"/>
              <a:ext cx="69850" cy="123825"/>
            </a:xfrm>
            <a:custGeom>
              <a:avLst/>
              <a:gdLst>
                <a:gd name="T0" fmla="*/ 14 w 21"/>
                <a:gd name="T1" fmla="*/ 0 h 38"/>
                <a:gd name="T2" fmla="*/ 0 w 21"/>
                <a:gd name="T3" fmla="*/ 18 h 38"/>
                <a:gd name="T4" fmla="*/ 14 w 21"/>
                <a:gd name="T5" fmla="*/ 38 h 38"/>
                <a:gd name="T6" fmla="*/ 20 w 21"/>
                <a:gd name="T7" fmla="*/ 34 h 38"/>
                <a:gd name="T8" fmla="*/ 9 w 21"/>
                <a:gd name="T9" fmla="*/ 18 h 38"/>
                <a:gd name="T10" fmla="*/ 21 w 21"/>
                <a:gd name="T11" fmla="*/ 3 h 38"/>
                <a:gd name="T12" fmla="*/ 14 w 21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8">
                  <a:moveTo>
                    <a:pt x="14" y="0"/>
                  </a:moveTo>
                  <a:cubicBezTo>
                    <a:pt x="6" y="5"/>
                    <a:pt x="1" y="11"/>
                    <a:pt x="0" y="18"/>
                  </a:cubicBezTo>
                  <a:cubicBezTo>
                    <a:pt x="0" y="26"/>
                    <a:pt x="5" y="33"/>
                    <a:pt x="14" y="38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3" y="30"/>
                    <a:pt x="9" y="24"/>
                    <a:pt x="9" y="18"/>
                  </a:cubicBezTo>
                  <a:cubicBezTo>
                    <a:pt x="10" y="13"/>
                    <a:pt x="14" y="7"/>
                    <a:pt x="21" y="3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F66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6" name="îŝḷíḍe">
              <a:extLst>
                <a:ext uri="{FF2B5EF4-FFF2-40B4-BE49-F238E27FC236}">
                  <a16:creationId xmlns:a16="http://schemas.microsoft.com/office/drawing/2014/main" xmlns="" id="{EC2A529E-14B0-4933-907F-298E6BA67E47}"/>
                </a:ext>
              </a:extLst>
            </p:cNvPr>
            <p:cNvSpPr/>
            <p:nvPr userDrawn="1"/>
          </p:nvSpPr>
          <p:spPr bwMode="auto">
            <a:xfrm>
              <a:off x="4335463" y="4386263"/>
              <a:ext cx="250825" cy="146050"/>
            </a:xfrm>
            <a:custGeom>
              <a:avLst/>
              <a:gdLst>
                <a:gd name="T0" fmla="*/ 76 w 76"/>
                <a:gd name="T1" fmla="*/ 22 h 44"/>
                <a:gd name="T2" fmla="*/ 65 w 76"/>
                <a:gd name="T3" fmla="*/ 6 h 44"/>
                <a:gd name="T4" fmla="*/ 38 w 76"/>
                <a:gd name="T5" fmla="*/ 0 h 44"/>
                <a:gd name="T6" fmla="*/ 12 w 76"/>
                <a:gd name="T7" fmla="*/ 6 h 44"/>
                <a:gd name="T8" fmla="*/ 0 w 76"/>
                <a:gd name="T9" fmla="*/ 21 h 44"/>
                <a:gd name="T10" fmla="*/ 11 w 76"/>
                <a:gd name="T11" fmla="*/ 37 h 44"/>
                <a:gd name="T12" fmla="*/ 38 w 76"/>
                <a:gd name="T13" fmla="*/ 44 h 44"/>
                <a:gd name="T14" fmla="*/ 65 w 76"/>
                <a:gd name="T15" fmla="*/ 37 h 44"/>
                <a:gd name="T16" fmla="*/ 76 w 76"/>
                <a:gd name="T17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76" y="22"/>
                  </a:moveTo>
                  <a:cubicBezTo>
                    <a:pt x="76" y="16"/>
                    <a:pt x="72" y="11"/>
                    <a:pt x="65" y="6"/>
                  </a:cubicBezTo>
                  <a:cubicBezTo>
                    <a:pt x="58" y="2"/>
                    <a:pt x="48" y="0"/>
                    <a:pt x="38" y="0"/>
                  </a:cubicBezTo>
                  <a:cubicBezTo>
                    <a:pt x="28" y="0"/>
                    <a:pt x="19" y="2"/>
                    <a:pt x="12" y="6"/>
                  </a:cubicBezTo>
                  <a:cubicBezTo>
                    <a:pt x="5" y="10"/>
                    <a:pt x="1" y="16"/>
                    <a:pt x="0" y="21"/>
                  </a:cubicBezTo>
                  <a:cubicBezTo>
                    <a:pt x="0" y="27"/>
                    <a:pt x="4" y="33"/>
                    <a:pt x="11" y="37"/>
                  </a:cubicBezTo>
                  <a:cubicBezTo>
                    <a:pt x="18" y="41"/>
                    <a:pt x="28" y="44"/>
                    <a:pt x="38" y="44"/>
                  </a:cubicBezTo>
                  <a:cubicBezTo>
                    <a:pt x="48" y="44"/>
                    <a:pt x="58" y="41"/>
                    <a:pt x="65" y="37"/>
                  </a:cubicBezTo>
                  <a:cubicBezTo>
                    <a:pt x="72" y="33"/>
                    <a:pt x="76" y="28"/>
                    <a:pt x="76" y="22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7" name="ïs1îḋé">
              <a:extLst>
                <a:ext uri="{FF2B5EF4-FFF2-40B4-BE49-F238E27FC236}">
                  <a16:creationId xmlns:a16="http://schemas.microsoft.com/office/drawing/2014/main" xmlns="" id="{FCC23407-1ED4-4625-8E76-B3F834FEC9C9}"/>
                </a:ext>
              </a:extLst>
            </p:cNvPr>
            <p:cNvSpPr/>
            <p:nvPr userDrawn="1"/>
          </p:nvSpPr>
          <p:spPr bwMode="auto">
            <a:xfrm>
              <a:off x="3463926" y="4178301"/>
              <a:ext cx="785813" cy="452438"/>
            </a:xfrm>
            <a:custGeom>
              <a:avLst/>
              <a:gdLst>
                <a:gd name="T0" fmla="*/ 0 w 495"/>
                <a:gd name="T1" fmla="*/ 277 h 285"/>
                <a:gd name="T2" fmla="*/ 17 w 495"/>
                <a:gd name="T3" fmla="*/ 285 h 285"/>
                <a:gd name="T4" fmla="*/ 495 w 495"/>
                <a:gd name="T5" fmla="*/ 9 h 285"/>
                <a:gd name="T6" fmla="*/ 478 w 495"/>
                <a:gd name="T7" fmla="*/ 0 h 285"/>
                <a:gd name="T8" fmla="*/ 0 w 495"/>
                <a:gd name="T9" fmla="*/ 277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5">
                  <a:moveTo>
                    <a:pt x="0" y="277"/>
                  </a:moveTo>
                  <a:lnTo>
                    <a:pt x="17" y="285"/>
                  </a:lnTo>
                  <a:lnTo>
                    <a:pt x="495" y="9"/>
                  </a:lnTo>
                  <a:lnTo>
                    <a:pt x="478" y="0"/>
                  </a:lnTo>
                  <a:lnTo>
                    <a:pt x="0" y="27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8" name="íṣľídè">
              <a:extLst>
                <a:ext uri="{FF2B5EF4-FFF2-40B4-BE49-F238E27FC236}">
                  <a16:creationId xmlns:a16="http://schemas.microsoft.com/office/drawing/2014/main" xmlns="" id="{63A32006-0D08-44E3-8FD4-CDDC6905F07C}"/>
                </a:ext>
              </a:extLst>
            </p:cNvPr>
            <p:cNvSpPr/>
            <p:nvPr userDrawn="1"/>
          </p:nvSpPr>
          <p:spPr bwMode="auto">
            <a:xfrm>
              <a:off x="3794126" y="4689476"/>
              <a:ext cx="311150" cy="155575"/>
            </a:xfrm>
            <a:custGeom>
              <a:avLst/>
              <a:gdLst>
                <a:gd name="T0" fmla="*/ 14 w 94"/>
                <a:gd name="T1" fmla="*/ 0 h 47"/>
                <a:gd name="T2" fmla="*/ 0 w 94"/>
                <a:gd name="T3" fmla="*/ 19 h 47"/>
                <a:gd name="T4" fmla="*/ 14 w 94"/>
                <a:gd name="T5" fmla="*/ 39 h 47"/>
                <a:gd name="T6" fmla="*/ 47 w 94"/>
                <a:gd name="T7" fmla="*/ 47 h 47"/>
                <a:gd name="T8" fmla="*/ 80 w 94"/>
                <a:gd name="T9" fmla="*/ 39 h 47"/>
                <a:gd name="T10" fmla="*/ 93 w 94"/>
                <a:gd name="T11" fmla="*/ 20 h 47"/>
                <a:gd name="T12" fmla="*/ 80 w 94"/>
                <a:gd name="T13" fmla="*/ 0 h 47"/>
                <a:gd name="T14" fmla="*/ 74 w 94"/>
                <a:gd name="T15" fmla="*/ 4 h 47"/>
                <a:gd name="T16" fmla="*/ 85 w 94"/>
                <a:gd name="T17" fmla="*/ 20 h 47"/>
                <a:gd name="T18" fmla="*/ 73 w 94"/>
                <a:gd name="T19" fmla="*/ 35 h 47"/>
                <a:gd name="T20" fmla="*/ 47 w 94"/>
                <a:gd name="T21" fmla="*/ 41 h 47"/>
                <a:gd name="T22" fmla="*/ 20 w 94"/>
                <a:gd name="T23" fmla="*/ 35 h 47"/>
                <a:gd name="T24" fmla="*/ 9 w 94"/>
                <a:gd name="T25" fmla="*/ 19 h 47"/>
                <a:gd name="T26" fmla="*/ 20 w 94"/>
                <a:gd name="T27" fmla="*/ 4 h 47"/>
                <a:gd name="T28" fmla="*/ 14 w 94"/>
                <a:gd name="T2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47">
                  <a:moveTo>
                    <a:pt x="14" y="0"/>
                  </a:moveTo>
                  <a:cubicBezTo>
                    <a:pt x="5" y="5"/>
                    <a:pt x="1" y="12"/>
                    <a:pt x="0" y="19"/>
                  </a:cubicBezTo>
                  <a:cubicBezTo>
                    <a:pt x="0" y="26"/>
                    <a:pt x="5" y="33"/>
                    <a:pt x="14" y="39"/>
                  </a:cubicBezTo>
                  <a:cubicBezTo>
                    <a:pt x="22" y="44"/>
                    <a:pt x="34" y="47"/>
                    <a:pt x="47" y="47"/>
                  </a:cubicBezTo>
                  <a:cubicBezTo>
                    <a:pt x="59" y="47"/>
                    <a:pt x="71" y="44"/>
                    <a:pt x="80" y="39"/>
                  </a:cubicBezTo>
                  <a:cubicBezTo>
                    <a:pt x="89" y="34"/>
                    <a:pt x="93" y="27"/>
                    <a:pt x="93" y="20"/>
                  </a:cubicBezTo>
                  <a:cubicBezTo>
                    <a:pt x="94" y="12"/>
                    <a:pt x="89" y="6"/>
                    <a:pt x="80" y="0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81" y="8"/>
                    <a:pt x="85" y="14"/>
                    <a:pt x="85" y="20"/>
                  </a:cubicBezTo>
                  <a:cubicBezTo>
                    <a:pt x="85" y="25"/>
                    <a:pt x="81" y="31"/>
                    <a:pt x="73" y="35"/>
                  </a:cubicBezTo>
                  <a:cubicBezTo>
                    <a:pt x="66" y="39"/>
                    <a:pt x="57" y="41"/>
                    <a:pt x="47" y="41"/>
                  </a:cubicBezTo>
                  <a:cubicBezTo>
                    <a:pt x="37" y="41"/>
                    <a:pt x="27" y="39"/>
                    <a:pt x="20" y="35"/>
                  </a:cubicBezTo>
                  <a:cubicBezTo>
                    <a:pt x="13" y="31"/>
                    <a:pt x="9" y="25"/>
                    <a:pt x="9" y="19"/>
                  </a:cubicBezTo>
                  <a:cubicBezTo>
                    <a:pt x="9" y="13"/>
                    <a:pt x="13" y="8"/>
                    <a:pt x="20" y="4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99" name="iṥļïḑé">
              <a:extLst>
                <a:ext uri="{FF2B5EF4-FFF2-40B4-BE49-F238E27FC236}">
                  <a16:creationId xmlns:a16="http://schemas.microsoft.com/office/drawing/2014/main" xmlns="" id="{7F73889B-AA51-481B-9E5D-C9D4711D69E8}"/>
                </a:ext>
              </a:extLst>
            </p:cNvPr>
            <p:cNvSpPr/>
            <p:nvPr userDrawn="1"/>
          </p:nvSpPr>
          <p:spPr bwMode="auto">
            <a:xfrm>
              <a:off x="4797426" y="4735513"/>
              <a:ext cx="260350" cy="149225"/>
            </a:xfrm>
            <a:custGeom>
              <a:avLst/>
              <a:gdLst>
                <a:gd name="T0" fmla="*/ 0 w 164"/>
                <a:gd name="T1" fmla="*/ 25 h 94"/>
                <a:gd name="T2" fmla="*/ 119 w 164"/>
                <a:gd name="T3" fmla="*/ 94 h 94"/>
                <a:gd name="T4" fmla="*/ 164 w 164"/>
                <a:gd name="T5" fmla="*/ 69 h 94"/>
                <a:gd name="T6" fmla="*/ 46 w 164"/>
                <a:gd name="T7" fmla="*/ 0 h 94"/>
                <a:gd name="T8" fmla="*/ 0 w 164"/>
                <a:gd name="T9" fmla="*/ 2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94">
                  <a:moveTo>
                    <a:pt x="0" y="25"/>
                  </a:moveTo>
                  <a:lnTo>
                    <a:pt x="119" y="94"/>
                  </a:lnTo>
                  <a:lnTo>
                    <a:pt x="164" y="69"/>
                  </a:lnTo>
                  <a:lnTo>
                    <a:pt x="46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0" name="işḷîḓê">
              <a:extLst>
                <a:ext uri="{FF2B5EF4-FFF2-40B4-BE49-F238E27FC236}">
                  <a16:creationId xmlns:a16="http://schemas.microsoft.com/office/drawing/2014/main" xmlns="" id="{5F3BC170-5A72-429C-B806-25DABDE06CC3}"/>
                </a:ext>
              </a:extLst>
            </p:cNvPr>
            <p:cNvSpPr/>
            <p:nvPr userDrawn="1"/>
          </p:nvSpPr>
          <p:spPr bwMode="auto">
            <a:xfrm>
              <a:off x="4005263" y="4492626"/>
              <a:ext cx="785813" cy="450850"/>
            </a:xfrm>
            <a:custGeom>
              <a:avLst/>
              <a:gdLst>
                <a:gd name="T0" fmla="*/ 0 w 495"/>
                <a:gd name="T1" fmla="*/ 276 h 284"/>
                <a:gd name="T2" fmla="*/ 17 w 495"/>
                <a:gd name="T3" fmla="*/ 284 h 284"/>
                <a:gd name="T4" fmla="*/ 495 w 495"/>
                <a:gd name="T5" fmla="*/ 10 h 284"/>
                <a:gd name="T6" fmla="*/ 478 w 495"/>
                <a:gd name="T7" fmla="*/ 0 h 284"/>
                <a:gd name="T8" fmla="*/ 0 w 495"/>
                <a:gd name="T9" fmla="*/ 27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84">
                  <a:moveTo>
                    <a:pt x="0" y="276"/>
                  </a:moveTo>
                  <a:lnTo>
                    <a:pt x="17" y="284"/>
                  </a:lnTo>
                  <a:lnTo>
                    <a:pt x="495" y="10"/>
                  </a:lnTo>
                  <a:lnTo>
                    <a:pt x="478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1" name="íṣ1íḓe">
              <a:extLst>
                <a:ext uri="{FF2B5EF4-FFF2-40B4-BE49-F238E27FC236}">
                  <a16:creationId xmlns:a16="http://schemas.microsoft.com/office/drawing/2014/main" xmlns="" id="{3D8AFF30-E7EC-482D-8697-D629F18C7671}"/>
                </a:ext>
              </a:extLst>
            </p:cNvPr>
            <p:cNvSpPr/>
            <p:nvPr userDrawn="1"/>
          </p:nvSpPr>
          <p:spPr bwMode="auto">
            <a:xfrm>
              <a:off x="4203701" y="3414713"/>
              <a:ext cx="1122363" cy="800100"/>
            </a:xfrm>
            <a:custGeom>
              <a:avLst/>
              <a:gdLst>
                <a:gd name="T0" fmla="*/ 82 w 340"/>
                <a:gd name="T1" fmla="*/ 0 h 243"/>
                <a:gd name="T2" fmla="*/ 0 w 340"/>
                <a:gd name="T3" fmla="*/ 45 h 243"/>
                <a:gd name="T4" fmla="*/ 32 w 340"/>
                <a:gd name="T5" fmla="*/ 79 h 243"/>
                <a:gd name="T6" fmla="*/ 18 w 340"/>
                <a:gd name="T7" fmla="*/ 102 h 243"/>
                <a:gd name="T8" fmla="*/ 340 w 340"/>
                <a:gd name="T9" fmla="*/ 243 h 243"/>
                <a:gd name="T10" fmla="*/ 89 w 340"/>
                <a:gd name="T11" fmla="*/ 98 h 243"/>
                <a:gd name="T12" fmla="*/ 83 w 340"/>
                <a:gd name="T13" fmla="*/ 87 h 243"/>
                <a:gd name="T14" fmla="*/ 82 w 340"/>
                <a:gd name="T1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0" h="243">
                  <a:moveTo>
                    <a:pt x="82" y="0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20" y="54"/>
                    <a:pt x="32" y="66"/>
                    <a:pt x="32" y="79"/>
                  </a:cubicBezTo>
                  <a:cubicBezTo>
                    <a:pt x="32" y="87"/>
                    <a:pt x="27" y="95"/>
                    <a:pt x="18" y="102"/>
                  </a:cubicBezTo>
                  <a:cubicBezTo>
                    <a:pt x="340" y="243"/>
                    <a:pt x="340" y="243"/>
                    <a:pt x="340" y="243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5" y="95"/>
                    <a:pt x="83" y="91"/>
                    <a:pt x="83" y="87"/>
                  </a:cubicBezTo>
                  <a:cubicBezTo>
                    <a:pt x="82" y="0"/>
                    <a:pt x="82" y="0"/>
                    <a:pt x="82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2" name="îṡľíḑè">
              <a:extLst>
                <a:ext uri="{FF2B5EF4-FFF2-40B4-BE49-F238E27FC236}">
                  <a16:creationId xmlns:a16="http://schemas.microsoft.com/office/drawing/2014/main" xmlns="" id="{7D2493B6-DBC9-47DF-9408-36FDA9D8138D}"/>
                </a:ext>
              </a:extLst>
            </p:cNvPr>
            <p:cNvSpPr/>
            <p:nvPr userDrawn="1"/>
          </p:nvSpPr>
          <p:spPr bwMode="auto">
            <a:xfrm>
              <a:off x="6292851" y="2686051"/>
              <a:ext cx="709613" cy="288925"/>
            </a:xfrm>
            <a:custGeom>
              <a:avLst/>
              <a:gdLst>
                <a:gd name="T0" fmla="*/ 107 w 215"/>
                <a:gd name="T1" fmla="*/ 0 h 88"/>
                <a:gd name="T2" fmla="*/ 0 w 215"/>
                <a:gd name="T3" fmla="*/ 44 h 88"/>
                <a:gd name="T4" fmla="*/ 0 w 215"/>
                <a:gd name="T5" fmla="*/ 49 h 88"/>
                <a:gd name="T6" fmla="*/ 60 w 215"/>
                <a:gd name="T7" fmla="*/ 83 h 88"/>
                <a:gd name="T8" fmla="*/ 107 w 215"/>
                <a:gd name="T9" fmla="*/ 88 h 88"/>
                <a:gd name="T10" fmla="*/ 215 w 215"/>
                <a:gd name="T11" fmla="*/ 44 h 88"/>
                <a:gd name="T12" fmla="*/ 107 w 215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88">
                  <a:moveTo>
                    <a:pt x="107" y="0"/>
                  </a:moveTo>
                  <a:cubicBezTo>
                    <a:pt x="48" y="0"/>
                    <a:pt x="0" y="19"/>
                    <a:pt x="0" y="44"/>
                  </a:cubicBezTo>
                  <a:cubicBezTo>
                    <a:pt x="0" y="45"/>
                    <a:pt x="0" y="47"/>
                    <a:pt x="0" y="49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74" y="86"/>
                    <a:pt x="90" y="88"/>
                    <a:pt x="107" y="88"/>
                  </a:cubicBezTo>
                  <a:cubicBezTo>
                    <a:pt x="166" y="88"/>
                    <a:pt x="215" y="68"/>
                    <a:pt x="215" y="44"/>
                  </a:cubicBezTo>
                  <a:cubicBezTo>
                    <a:pt x="215" y="19"/>
                    <a:pt x="166" y="0"/>
                    <a:pt x="107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3" name="íŝľiḓê">
              <a:extLst>
                <a:ext uri="{FF2B5EF4-FFF2-40B4-BE49-F238E27FC236}">
                  <a16:creationId xmlns:a16="http://schemas.microsoft.com/office/drawing/2014/main" xmlns="" id="{9623F3ED-1D46-4921-A021-3DD967C1D827}"/>
                </a:ext>
              </a:extLst>
            </p:cNvPr>
            <p:cNvSpPr/>
            <p:nvPr userDrawn="1"/>
          </p:nvSpPr>
          <p:spPr bwMode="auto">
            <a:xfrm>
              <a:off x="3506788" y="3509963"/>
              <a:ext cx="755650" cy="328613"/>
            </a:xfrm>
            <a:custGeom>
              <a:avLst/>
              <a:gdLst>
                <a:gd name="T0" fmla="*/ 122 w 229"/>
                <a:gd name="T1" fmla="*/ 0 h 100"/>
                <a:gd name="T2" fmla="*/ 0 w 229"/>
                <a:gd name="T3" fmla="*/ 50 h 100"/>
                <a:gd name="T4" fmla="*/ 122 w 229"/>
                <a:gd name="T5" fmla="*/ 100 h 100"/>
                <a:gd name="T6" fmla="*/ 229 w 229"/>
                <a:gd name="T7" fmla="*/ 73 h 100"/>
                <a:gd name="T8" fmla="*/ 161 w 229"/>
                <a:gd name="T9" fmla="*/ 44 h 100"/>
                <a:gd name="T10" fmla="*/ 211 w 229"/>
                <a:gd name="T11" fmla="*/ 16 h 100"/>
                <a:gd name="T12" fmla="*/ 122 w 229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00">
                  <a:moveTo>
                    <a:pt x="122" y="0"/>
                  </a:moveTo>
                  <a:cubicBezTo>
                    <a:pt x="54" y="0"/>
                    <a:pt x="0" y="22"/>
                    <a:pt x="0" y="50"/>
                  </a:cubicBezTo>
                  <a:cubicBezTo>
                    <a:pt x="0" y="77"/>
                    <a:pt x="54" y="100"/>
                    <a:pt x="122" y="100"/>
                  </a:cubicBezTo>
                  <a:cubicBezTo>
                    <a:pt x="168" y="100"/>
                    <a:pt x="208" y="89"/>
                    <a:pt x="229" y="73"/>
                  </a:cubicBezTo>
                  <a:cubicBezTo>
                    <a:pt x="161" y="44"/>
                    <a:pt x="161" y="44"/>
                    <a:pt x="161" y="44"/>
                  </a:cubicBezTo>
                  <a:cubicBezTo>
                    <a:pt x="211" y="16"/>
                    <a:pt x="211" y="16"/>
                    <a:pt x="211" y="16"/>
                  </a:cubicBezTo>
                  <a:cubicBezTo>
                    <a:pt x="189" y="6"/>
                    <a:pt x="157" y="0"/>
                    <a:pt x="122" y="0"/>
                  </a:cubicBezTo>
                </a:path>
              </a:pathLst>
            </a:custGeom>
            <a:solidFill>
              <a:srgbClr val="B1B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4" name="íṧlíḋé">
              <a:extLst>
                <a:ext uri="{FF2B5EF4-FFF2-40B4-BE49-F238E27FC236}">
                  <a16:creationId xmlns:a16="http://schemas.microsoft.com/office/drawing/2014/main" xmlns="" id="{BB60FC64-3DFF-4280-8F77-D43BCBB7D392}"/>
                </a:ext>
              </a:extLst>
            </p:cNvPr>
            <p:cNvSpPr/>
            <p:nvPr userDrawn="1"/>
          </p:nvSpPr>
          <p:spPr bwMode="auto">
            <a:xfrm>
              <a:off x="4038601" y="3562351"/>
              <a:ext cx="269875" cy="187325"/>
            </a:xfrm>
            <a:custGeom>
              <a:avLst/>
              <a:gdLst>
                <a:gd name="T0" fmla="*/ 50 w 82"/>
                <a:gd name="T1" fmla="*/ 0 h 57"/>
                <a:gd name="T2" fmla="*/ 0 w 82"/>
                <a:gd name="T3" fmla="*/ 28 h 57"/>
                <a:gd name="T4" fmla="*/ 68 w 82"/>
                <a:gd name="T5" fmla="*/ 57 h 57"/>
                <a:gd name="T6" fmla="*/ 82 w 82"/>
                <a:gd name="T7" fmla="*/ 34 h 57"/>
                <a:gd name="T8" fmla="*/ 50 w 82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7">
                  <a:moveTo>
                    <a:pt x="5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77" y="50"/>
                    <a:pt x="82" y="42"/>
                    <a:pt x="82" y="34"/>
                  </a:cubicBezTo>
                  <a:cubicBezTo>
                    <a:pt x="82" y="21"/>
                    <a:pt x="70" y="9"/>
                    <a:pt x="50" y="0"/>
                  </a:cubicBezTo>
                </a:path>
              </a:pathLst>
            </a:custGeom>
            <a:solidFill>
              <a:srgbClr val="8A9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5" name="íš1iḍè">
              <a:extLst>
                <a:ext uri="{FF2B5EF4-FFF2-40B4-BE49-F238E27FC236}">
                  <a16:creationId xmlns:a16="http://schemas.microsoft.com/office/drawing/2014/main" xmlns="" id="{1B4491D7-3B90-48BB-9431-BBFD0356A655}"/>
                </a:ext>
              </a:extLst>
            </p:cNvPr>
            <p:cNvSpPr/>
            <p:nvPr userDrawn="1"/>
          </p:nvSpPr>
          <p:spPr bwMode="auto">
            <a:xfrm>
              <a:off x="3797301" y="3136901"/>
              <a:ext cx="495300" cy="673100"/>
            </a:xfrm>
            <a:custGeom>
              <a:avLst/>
              <a:gdLst>
                <a:gd name="T0" fmla="*/ 99 w 150"/>
                <a:gd name="T1" fmla="*/ 0 h 204"/>
                <a:gd name="T2" fmla="*/ 0 w 150"/>
                <a:gd name="T3" fmla="*/ 33 h 204"/>
                <a:gd name="T4" fmla="*/ 0 w 150"/>
                <a:gd name="T5" fmla="*/ 158 h 204"/>
                <a:gd name="T6" fmla="*/ 75 w 150"/>
                <a:gd name="T7" fmla="*/ 204 h 204"/>
                <a:gd name="T8" fmla="*/ 150 w 150"/>
                <a:gd name="T9" fmla="*/ 158 h 204"/>
                <a:gd name="T10" fmla="*/ 150 w 150"/>
                <a:gd name="T11" fmla="*/ 33 h 204"/>
                <a:gd name="T12" fmla="*/ 99 w 150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4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3" y="204"/>
                    <a:pt x="75" y="204"/>
                  </a:cubicBezTo>
                  <a:cubicBezTo>
                    <a:pt x="116" y="204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6" name="i$lídé">
              <a:extLst>
                <a:ext uri="{FF2B5EF4-FFF2-40B4-BE49-F238E27FC236}">
                  <a16:creationId xmlns:a16="http://schemas.microsoft.com/office/drawing/2014/main" xmlns="" id="{A9B392BA-2528-4BCC-AC66-43D4FD2D4AB6}"/>
                </a:ext>
              </a:extLst>
            </p:cNvPr>
            <p:cNvSpPr/>
            <p:nvPr userDrawn="1"/>
          </p:nvSpPr>
          <p:spPr bwMode="auto">
            <a:xfrm>
              <a:off x="3797301" y="3097213"/>
              <a:ext cx="495300" cy="300038"/>
            </a:xfrm>
            <a:prstGeom prst="ellipse">
              <a:avLst/>
            </a:prstGeom>
            <a:solidFill>
              <a:srgbClr val="D3B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7" name="îsḻíḓé">
              <a:extLst>
                <a:ext uri="{FF2B5EF4-FFF2-40B4-BE49-F238E27FC236}">
                  <a16:creationId xmlns:a16="http://schemas.microsoft.com/office/drawing/2014/main" xmlns="" id="{811018FC-5E39-4724-9606-BB45B26430E5}"/>
                </a:ext>
              </a:extLst>
            </p:cNvPr>
            <p:cNvSpPr/>
            <p:nvPr userDrawn="1"/>
          </p:nvSpPr>
          <p:spPr bwMode="auto">
            <a:xfrm>
              <a:off x="3827463" y="3167063"/>
              <a:ext cx="431800" cy="230188"/>
            </a:xfrm>
            <a:custGeom>
              <a:avLst/>
              <a:gdLst>
                <a:gd name="T0" fmla="*/ 2 w 131"/>
                <a:gd name="T1" fmla="*/ 48 h 70"/>
                <a:gd name="T2" fmla="*/ 66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6 w 131"/>
                <a:gd name="T9" fmla="*/ 0 h 70"/>
                <a:gd name="T10" fmla="*/ 0 w 131"/>
                <a:gd name="T11" fmla="*/ 40 h 70"/>
                <a:gd name="T12" fmla="*/ 2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2" y="48"/>
                  </a:moveTo>
                  <a:cubicBezTo>
                    <a:pt x="15" y="61"/>
                    <a:pt x="39" y="70"/>
                    <a:pt x="66" y="70"/>
                  </a:cubicBezTo>
                  <a:cubicBezTo>
                    <a:pt x="93" y="70"/>
                    <a:pt x="116" y="61"/>
                    <a:pt x="129" y="48"/>
                  </a:cubicBezTo>
                  <a:cubicBezTo>
                    <a:pt x="130" y="46"/>
                    <a:pt x="131" y="43"/>
                    <a:pt x="131" y="40"/>
                  </a:cubicBezTo>
                  <a:cubicBezTo>
                    <a:pt x="131" y="18"/>
                    <a:pt x="102" y="0"/>
                    <a:pt x="66" y="0"/>
                  </a:cubicBezTo>
                  <a:cubicBezTo>
                    <a:pt x="30" y="0"/>
                    <a:pt x="0" y="18"/>
                    <a:pt x="0" y="40"/>
                  </a:cubicBezTo>
                  <a:cubicBezTo>
                    <a:pt x="0" y="43"/>
                    <a:pt x="1" y="46"/>
                    <a:pt x="2" y="48"/>
                  </a:cubicBezTo>
                  <a:close/>
                </a:path>
              </a:pathLst>
            </a:custGeom>
            <a:solidFill>
              <a:srgbClr val="752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8" name="ïŝḻiḍê">
              <a:extLst>
                <a:ext uri="{FF2B5EF4-FFF2-40B4-BE49-F238E27FC236}">
                  <a16:creationId xmlns:a16="http://schemas.microsoft.com/office/drawing/2014/main" xmlns="" id="{CA2CAE5C-C931-4F31-95B1-71FA370965C9}"/>
                </a:ext>
              </a:extLst>
            </p:cNvPr>
            <p:cNvSpPr/>
            <p:nvPr userDrawn="1"/>
          </p:nvSpPr>
          <p:spPr bwMode="auto">
            <a:xfrm>
              <a:off x="3797301" y="3097213"/>
              <a:ext cx="495300" cy="300038"/>
            </a:xfrm>
            <a:custGeom>
              <a:avLst/>
              <a:gdLst>
                <a:gd name="T0" fmla="*/ 75 w 150"/>
                <a:gd name="T1" fmla="*/ 5 h 91"/>
                <a:gd name="T2" fmla="*/ 144 w 150"/>
                <a:gd name="T3" fmla="*/ 45 h 91"/>
                <a:gd name="T4" fmla="*/ 75 w 150"/>
                <a:gd name="T5" fmla="*/ 86 h 91"/>
                <a:gd name="T6" fmla="*/ 5 w 150"/>
                <a:gd name="T7" fmla="*/ 45 h 91"/>
                <a:gd name="T8" fmla="*/ 75 w 150"/>
                <a:gd name="T9" fmla="*/ 5 h 91"/>
                <a:gd name="T10" fmla="*/ 75 w 150"/>
                <a:gd name="T11" fmla="*/ 0 h 91"/>
                <a:gd name="T12" fmla="*/ 0 w 150"/>
                <a:gd name="T13" fmla="*/ 45 h 91"/>
                <a:gd name="T14" fmla="*/ 75 w 150"/>
                <a:gd name="T15" fmla="*/ 91 h 91"/>
                <a:gd name="T16" fmla="*/ 150 w 150"/>
                <a:gd name="T17" fmla="*/ 45 h 91"/>
                <a:gd name="T18" fmla="*/ 75 w 15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1">
                  <a:moveTo>
                    <a:pt x="75" y="5"/>
                  </a:moveTo>
                  <a:cubicBezTo>
                    <a:pt x="112" y="5"/>
                    <a:pt x="144" y="23"/>
                    <a:pt x="144" y="45"/>
                  </a:cubicBezTo>
                  <a:cubicBezTo>
                    <a:pt x="144" y="67"/>
                    <a:pt x="112" y="86"/>
                    <a:pt x="75" y="86"/>
                  </a:cubicBezTo>
                  <a:cubicBezTo>
                    <a:pt x="37" y="86"/>
                    <a:pt x="5" y="67"/>
                    <a:pt x="5" y="45"/>
                  </a:cubicBezTo>
                  <a:cubicBezTo>
                    <a:pt x="5" y="23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3" y="0"/>
                    <a:pt x="0" y="20"/>
                    <a:pt x="0" y="45"/>
                  </a:cubicBezTo>
                  <a:cubicBezTo>
                    <a:pt x="0" y="71"/>
                    <a:pt x="33" y="91"/>
                    <a:pt x="75" y="91"/>
                  </a:cubicBezTo>
                  <a:cubicBezTo>
                    <a:pt x="116" y="91"/>
                    <a:pt x="150" y="71"/>
                    <a:pt x="150" y="45"/>
                  </a:cubicBezTo>
                  <a:cubicBezTo>
                    <a:pt x="150" y="20"/>
                    <a:pt x="116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09" name="išlïde">
              <a:extLst>
                <a:ext uri="{FF2B5EF4-FFF2-40B4-BE49-F238E27FC236}">
                  <a16:creationId xmlns:a16="http://schemas.microsoft.com/office/drawing/2014/main" xmlns="" id="{465FA3CF-C40B-4F99-BD24-3E92A029220D}"/>
                </a:ext>
              </a:extLst>
            </p:cNvPr>
            <p:cNvSpPr/>
            <p:nvPr userDrawn="1"/>
          </p:nvSpPr>
          <p:spPr bwMode="auto">
            <a:xfrm>
              <a:off x="3929063" y="2552701"/>
              <a:ext cx="323850" cy="657225"/>
            </a:xfrm>
            <a:custGeom>
              <a:avLst/>
              <a:gdLst>
                <a:gd name="T0" fmla="*/ 98 w 98"/>
                <a:gd name="T1" fmla="*/ 0 h 199"/>
                <a:gd name="T2" fmla="*/ 92 w 98"/>
                <a:gd name="T3" fmla="*/ 43 h 199"/>
                <a:gd name="T4" fmla="*/ 92 w 98"/>
                <a:gd name="T5" fmla="*/ 93 h 199"/>
                <a:gd name="T6" fmla="*/ 87 w 98"/>
                <a:gd name="T7" fmla="*/ 149 h 199"/>
                <a:gd name="T8" fmla="*/ 54 w 98"/>
                <a:gd name="T9" fmla="*/ 193 h 199"/>
                <a:gd name="T10" fmla="*/ 27 w 98"/>
                <a:gd name="T11" fmla="*/ 194 h 199"/>
                <a:gd name="T12" fmla="*/ 19 w 98"/>
                <a:gd name="T13" fmla="*/ 185 h 199"/>
                <a:gd name="T14" fmla="*/ 31 w 98"/>
                <a:gd name="T15" fmla="*/ 86 h 199"/>
                <a:gd name="T16" fmla="*/ 98 w 98"/>
                <a:gd name="T17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199">
                  <a:moveTo>
                    <a:pt x="98" y="0"/>
                  </a:moveTo>
                  <a:cubicBezTo>
                    <a:pt x="92" y="13"/>
                    <a:pt x="92" y="29"/>
                    <a:pt x="92" y="43"/>
                  </a:cubicBezTo>
                  <a:cubicBezTo>
                    <a:pt x="92" y="60"/>
                    <a:pt x="92" y="76"/>
                    <a:pt x="92" y="93"/>
                  </a:cubicBezTo>
                  <a:cubicBezTo>
                    <a:pt x="92" y="112"/>
                    <a:pt x="92" y="131"/>
                    <a:pt x="87" y="149"/>
                  </a:cubicBezTo>
                  <a:cubicBezTo>
                    <a:pt x="82" y="167"/>
                    <a:pt x="71" y="185"/>
                    <a:pt x="54" y="193"/>
                  </a:cubicBezTo>
                  <a:cubicBezTo>
                    <a:pt x="46" y="197"/>
                    <a:pt x="35" y="199"/>
                    <a:pt x="27" y="194"/>
                  </a:cubicBezTo>
                  <a:cubicBezTo>
                    <a:pt x="24" y="192"/>
                    <a:pt x="21" y="188"/>
                    <a:pt x="19" y="185"/>
                  </a:cubicBezTo>
                  <a:cubicBezTo>
                    <a:pt x="0" y="155"/>
                    <a:pt x="17" y="115"/>
                    <a:pt x="31" y="86"/>
                  </a:cubicBezTo>
                  <a:cubicBezTo>
                    <a:pt x="47" y="53"/>
                    <a:pt x="70" y="23"/>
                    <a:pt x="98" y="0"/>
                  </a:cubicBezTo>
                  <a:close/>
                </a:path>
              </a:pathLst>
            </a:custGeom>
            <a:solidFill>
              <a:srgbClr val="1A68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0" name="îşlíďê">
              <a:extLst>
                <a:ext uri="{FF2B5EF4-FFF2-40B4-BE49-F238E27FC236}">
                  <a16:creationId xmlns:a16="http://schemas.microsoft.com/office/drawing/2014/main" xmlns="" id="{4D057915-B6B5-4AD7-B809-5C810F9CD216}"/>
                </a:ext>
              </a:extLst>
            </p:cNvPr>
            <p:cNvSpPr/>
            <p:nvPr userDrawn="1"/>
          </p:nvSpPr>
          <p:spPr bwMode="auto">
            <a:xfrm>
              <a:off x="3729038" y="2322513"/>
              <a:ext cx="646113" cy="1049338"/>
            </a:xfrm>
            <a:custGeom>
              <a:avLst/>
              <a:gdLst>
                <a:gd name="T0" fmla="*/ 17 w 196"/>
                <a:gd name="T1" fmla="*/ 206 h 318"/>
                <a:gd name="T2" fmla="*/ 0 w 196"/>
                <a:gd name="T3" fmla="*/ 21 h 318"/>
                <a:gd name="T4" fmla="*/ 55 w 196"/>
                <a:gd name="T5" fmla="*/ 203 h 318"/>
                <a:gd name="T6" fmla="*/ 82 w 196"/>
                <a:gd name="T7" fmla="*/ 72 h 318"/>
                <a:gd name="T8" fmla="*/ 95 w 196"/>
                <a:gd name="T9" fmla="*/ 0 h 318"/>
                <a:gd name="T10" fmla="*/ 110 w 196"/>
                <a:gd name="T11" fmla="*/ 72 h 318"/>
                <a:gd name="T12" fmla="*/ 117 w 196"/>
                <a:gd name="T13" fmla="*/ 122 h 318"/>
                <a:gd name="T14" fmla="*/ 121 w 196"/>
                <a:gd name="T15" fmla="*/ 195 h 318"/>
                <a:gd name="T16" fmla="*/ 196 w 196"/>
                <a:gd name="T17" fmla="*/ 49 h 318"/>
                <a:gd name="T18" fmla="*/ 165 w 196"/>
                <a:gd name="T19" fmla="*/ 247 h 318"/>
                <a:gd name="T20" fmla="*/ 69 w 196"/>
                <a:gd name="T21" fmla="*/ 308 h 318"/>
                <a:gd name="T22" fmla="*/ 17 w 196"/>
                <a:gd name="T23" fmla="*/ 206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318">
                  <a:moveTo>
                    <a:pt x="17" y="206"/>
                  </a:moveTo>
                  <a:cubicBezTo>
                    <a:pt x="12" y="144"/>
                    <a:pt x="15" y="81"/>
                    <a:pt x="0" y="21"/>
                  </a:cubicBezTo>
                  <a:cubicBezTo>
                    <a:pt x="42" y="71"/>
                    <a:pt x="62" y="139"/>
                    <a:pt x="55" y="203"/>
                  </a:cubicBezTo>
                  <a:cubicBezTo>
                    <a:pt x="69" y="161"/>
                    <a:pt x="82" y="117"/>
                    <a:pt x="82" y="72"/>
                  </a:cubicBezTo>
                  <a:cubicBezTo>
                    <a:pt x="82" y="51"/>
                    <a:pt x="95" y="0"/>
                    <a:pt x="95" y="0"/>
                  </a:cubicBezTo>
                  <a:cubicBezTo>
                    <a:pt x="95" y="0"/>
                    <a:pt x="103" y="48"/>
                    <a:pt x="110" y="72"/>
                  </a:cubicBezTo>
                  <a:cubicBezTo>
                    <a:pt x="115" y="88"/>
                    <a:pt x="116" y="105"/>
                    <a:pt x="117" y="122"/>
                  </a:cubicBezTo>
                  <a:cubicBezTo>
                    <a:pt x="118" y="146"/>
                    <a:pt x="120" y="171"/>
                    <a:pt x="121" y="195"/>
                  </a:cubicBezTo>
                  <a:cubicBezTo>
                    <a:pt x="142" y="134"/>
                    <a:pt x="196" y="49"/>
                    <a:pt x="196" y="49"/>
                  </a:cubicBezTo>
                  <a:cubicBezTo>
                    <a:pt x="196" y="49"/>
                    <a:pt x="176" y="210"/>
                    <a:pt x="165" y="247"/>
                  </a:cubicBezTo>
                  <a:cubicBezTo>
                    <a:pt x="153" y="289"/>
                    <a:pt x="114" y="318"/>
                    <a:pt x="69" y="308"/>
                  </a:cubicBezTo>
                  <a:cubicBezTo>
                    <a:pt x="28" y="299"/>
                    <a:pt x="20" y="240"/>
                    <a:pt x="17" y="206"/>
                  </a:cubicBezTo>
                  <a:close/>
                </a:path>
              </a:pathLst>
            </a:custGeom>
            <a:solidFill>
              <a:srgbClr val="409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1" name="ïṣḻiḋè">
              <a:extLst>
                <a:ext uri="{FF2B5EF4-FFF2-40B4-BE49-F238E27FC236}">
                  <a16:creationId xmlns:a16="http://schemas.microsoft.com/office/drawing/2014/main" xmlns="" id="{05CE4722-457D-4F18-840C-9B759B73429B}"/>
                </a:ext>
              </a:extLst>
            </p:cNvPr>
            <p:cNvSpPr/>
            <p:nvPr userDrawn="1"/>
          </p:nvSpPr>
          <p:spPr bwMode="auto">
            <a:xfrm>
              <a:off x="3860801" y="2668588"/>
              <a:ext cx="266700" cy="692150"/>
            </a:xfrm>
            <a:custGeom>
              <a:avLst/>
              <a:gdLst>
                <a:gd name="T0" fmla="*/ 9 w 81"/>
                <a:gd name="T1" fmla="*/ 162 h 210"/>
                <a:gd name="T2" fmla="*/ 14 w 81"/>
                <a:gd name="T3" fmla="*/ 88 h 210"/>
                <a:gd name="T4" fmla="*/ 16 w 81"/>
                <a:gd name="T5" fmla="*/ 0 h 210"/>
                <a:gd name="T6" fmla="*/ 73 w 81"/>
                <a:gd name="T7" fmla="*/ 139 h 210"/>
                <a:gd name="T8" fmla="*/ 77 w 81"/>
                <a:gd name="T9" fmla="*/ 177 h 210"/>
                <a:gd name="T10" fmla="*/ 38 w 81"/>
                <a:gd name="T11" fmla="*/ 206 h 210"/>
                <a:gd name="T12" fmla="*/ 9 w 81"/>
                <a:gd name="T13" fmla="*/ 1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210">
                  <a:moveTo>
                    <a:pt x="9" y="162"/>
                  </a:moveTo>
                  <a:cubicBezTo>
                    <a:pt x="0" y="139"/>
                    <a:pt x="8" y="113"/>
                    <a:pt x="14" y="88"/>
                  </a:cubicBezTo>
                  <a:cubicBezTo>
                    <a:pt x="20" y="59"/>
                    <a:pt x="22" y="29"/>
                    <a:pt x="16" y="0"/>
                  </a:cubicBezTo>
                  <a:cubicBezTo>
                    <a:pt x="38" y="45"/>
                    <a:pt x="56" y="92"/>
                    <a:pt x="73" y="139"/>
                  </a:cubicBezTo>
                  <a:cubicBezTo>
                    <a:pt x="77" y="152"/>
                    <a:pt x="81" y="165"/>
                    <a:pt x="77" y="177"/>
                  </a:cubicBezTo>
                  <a:cubicBezTo>
                    <a:pt x="73" y="189"/>
                    <a:pt x="52" y="210"/>
                    <a:pt x="38" y="206"/>
                  </a:cubicBezTo>
                  <a:cubicBezTo>
                    <a:pt x="27" y="203"/>
                    <a:pt x="13" y="172"/>
                    <a:pt x="9" y="162"/>
                  </a:cubicBezTo>
                  <a:close/>
                </a:path>
              </a:pathLst>
            </a:custGeom>
            <a:solidFill>
              <a:srgbClr val="4EAF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2" name="iSļïḍé">
              <a:extLst>
                <a:ext uri="{FF2B5EF4-FFF2-40B4-BE49-F238E27FC236}">
                  <a16:creationId xmlns:a16="http://schemas.microsoft.com/office/drawing/2014/main" xmlns="" id="{88A53772-2CCB-4690-B001-5777E7F60AC5}"/>
                </a:ext>
              </a:extLst>
            </p:cNvPr>
            <p:cNvSpPr/>
            <p:nvPr userDrawn="1"/>
          </p:nvSpPr>
          <p:spPr bwMode="auto">
            <a:xfrm>
              <a:off x="6510338" y="2257426"/>
              <a:ext cx="495300" cy="668338"/>
            </a:xfrm>
            <a:custGeom>
              <a:avLst/>
              <a:gdLst>
                <a:gd name="T0" fmla="*/ 99 w 150"/>
                <a:gd name="T1" fmla="*/ 0 h 203"/>
                <a:gd name="T2" fmla="*/ 0 w 150"/>
                <a:gd name="T3" fmla="*/ 33 h 203"/>
                <a:gd name="T4" fmla="*/ 0 w 150"/>
                <a:gd name="T5" fmla="*/ 158 h 203"/>
                <a:gd name="T6" fmla="*/ 75 w 150"/>
                <a:gd name="T7" fmla="*/ 203 h 203"/>
                <a:gd name="T8" fmla="*/ 150 w 150"/>
                <a:gd name="T9" fmla="*/ 158 h 203"/>
                <a:gd name="T10" fmla="*/ 150 w 150"/>
                <a:gd name="T11" fmla="*/ 33 h 203"/>
                <a:gd name="T12" fmla="*/ 99 w 150"/>
                <a:gd name="T13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3">
                  <a:moveTo>
                    <a:pt x="99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83"/>
                    <a:pt x="34" y="203"/>
                    <a:pt x="75" y="203"/>
                  </a:cubicBezTo>
                  <a:cubicBezTo>
                    <a:pt x="117" y="203"/>
                    <a:pt x="150" y="183"/>
                    <a:pt x="150" y="158"/>
                  </a:cubicBezTo>
                  <a:cubicBezTo>
                    <a:pt x="150" y="33"/>
                    <a:pt x="150" y="33"/>
                    <a:pt x="150" y="33"/>
                  </a:cubicBezTo>
                  <a:lnTo>
                    <a:pt x="99" y="0"/>
                  </a:ln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3" name="ïS1îḑé">
              <a:extLst>
                <a:ext uri="{FF2B5EF4-FFF2-40B4-BE49-F238E27FC236}">
                  <a16:creationId xmlns:a16="http://schemas.microsoft.com/office/drawing/2014/main" xmlns="" id="{69E1CDA3-7F90-47DA-A5AC-52F5C6DFB393}"/>
                </a:ext>
              </a:extLst>
            </p:cNvPr>
            <p:cNvSpPr/>
            <p:nvPr userDrawn="1"/>
          </p:nvSpPr>
          <p:spPr bwMode="auto">
            <a:xfrm>
              <a:off x="6510338" y="2214563"/>
              <a:ext cx="495300" cy="303213"/>
            </a:xfrm>
            <a:prstGeom prst="ellipse">
              <a:avLst/>
            </a:pr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4" name="ï$ľíďé">
              <a:extLst>
                <a:ext uri="{FF2B5EF4-FFF2-40B4-BE49-F238E27FC236}">
                  <a16:creationId xmlns:a16="http://schemas.microsoft.com/office/drawing/2014/main" xmlns="" id="{99F3CA07-0DF0-4A2F-87B0-4DB65D33483D}"/>
                </a:ext>
              </a:extLst>
            </p:cNvPr>
            <p:cNvSpPr/>
            <p:nvPr userDrawn="1"/>
          </p:nvSpPr>
          <p:spPr bwMode="auto">
            <a:xfrm>
              <a:off x="6543676" y="2286001"/>
              <a:ext cx="431800" cy="231775"/>
            </a:xfrm>
            <a:custGeom>
              <a:avLst/>
              <a:gdLst>
                <a:gd name="T0" fmla="*/ 1 w 131"/>
                <a:gd name="T1" fmla="*/ 48 h 70"/>
                <a:gd name="T2" fmla="*/ 65 w 131"/>
                <a:gd name="T3" fmla="*/ 70 h 70"/>
                <a:gd name="T4" fmla="*/ 129 w 131"/>
                <a:gd name="T5" fmla="*/ 48 h 70"/>
                <a:gd name="T6" fmla="*/ 131 w 131"/>
                <a:gd name="T7" fmla="*/ 40 h 70"/>
                <a:gd name="T8" fmla="*/ 65 w 131"/>
                <a:gd name="T9" fmla="*/ 0 h 70"/>
                <a:gd name="T10" fmla="*/ 0 w 131"/>
                <a:gd name="T11" fmla="*/ 40 h 70"/>
                <a:gd name="T12" fmla="*/ 1 w 131"/>
                <a:gd name="T13" fmla="*/ 4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1" y="48"/>
                  </a:moveTo>
                  <a:cubicBezTo>
                    <a:pt x="15" y="61"/>
                    <a:pt x="38" y="70"/>
                    <a:pt x="65" y="70"/>
                  </a:cubicBezTo>
                  <a:cubicBezTo>
                    <a:pt x="92" y="70"/>
                    <a:pt x="116" y="61"/>
                    <a:pt x="129" y="48"/>
                  </a:cubicBezTo>
                  <a:cubicBezTo>
                    <a:pt x="130" y="45"/>
                    <a:pt x="131" y="42"/>
                    <a:pt x="131" y="40"/>
                  </a:cubicBezTo>
                  <a:cubicBezTo>
                    <a:pt x="131" y="18"/>
                    <a:pt x="101" y="0"/>
                    <a:pt x="65" y="0"/>
                  </a:cubicBezTo>
                  <a:cubicBezTo>
                    <a:pt x="29" y="0"/>
                    <a:pt x="0" y="18"/>
                    <a:pt x="0" y="40"/>
                  </a:cubicBezTo>
                  <a:cubicBezTo>
                    <a:pt x="0" y="42"/>
                    <a:pt x="0" y="45"/>
                    <a:pt x="1" y="48"/>
                  </a:cubicBezTo>
                  <a:close/>
                </a:path>
              </a:pathLst>
            </a:custGeom>
            <a:solidFill>
              <a:srgbClr val="A04A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5" name="i$1íḓe">
              <a:extLst>
                <a:ext uri="{FF2B5EF4-FFF2-40B4-BE49-F238E27FC236}">
                  <a16:creationId xmlns:a16="http://schemas.microsoft.com/office/drawing/2014/main" xmlns="" id="{107782C0-7809-4D66-A104-935DF071D63D}"/>
                </a:ext>
              </a:extLst>
            </p:cNvPr>
            <p:cNvSpPr/>
            <p:nvPr userDrawn="1"/>
          </p:nvSpPr>
          <p:spPr bwMode="auto">
            <a:xfrm>
              <a:off x="6510338" y="2214563"/>
              <a:ext cx="495300" cy="303213"/>
            </a:xfrm>
            <a:custGeom>
              <a:avLst/>
              <a:gdLst>
                <a:gd name="T0" fmla="*/ 75 w 150"/>
                <a:gd name="T1" fmla="*/ 5 h 92"/>
                <a:gd name="T2" fmla="*/ 145 w 150"/>
                <a:gd name="T3" fmla="*/ 46 h 92"/>
                <a:gd name="T4" fmla="*/ 75 w 150"/>
                <a:gd name="T5" fmla="*/ 86 h 92"/>
                <a:gd name="T6" fmla="*/ 5 w 150"/>
                <a:gd name="T7" fmla="*/ 46 h 92"/>
                <a:gd name="T8" fmla="*/ 75 w 150"/>
                <a:gd name="T9" fmla="*/ 5 h 92"/>
                <a:gd name="T10" fmla="*/ 75 w 150"/>
                <a:gd name="T11" fmla="*/ 0 h 92"/>
                <a:gd name="T12" fmla="*/ 0 w 150"/>
                <a:gd name="T13" fmla="*/ 46 h 92"/>
                <a:gd name="T14" fmla="*/ 75 w 150"/>
                <a:gd name="T15" fmla="*/ 92 h 92"/>
                <a:gd name="T16" fmla="*/ 150 w 150"/>
                <a:gd name="T17" fmla="*/ 46 h 92"/>
                <a:gd name="T18" fmla="*/ 75 w 150"/>
                <a:gd name="T1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92">
                  <a:moveTo>
                    <a:pt x="75" y="5"/>
                  </a:moveTo>
                  <a:cubicBezTo>
                    <a:pt x="113" y="5"/>
                    <a:pt x="145" y="24"/>
                    <a:pt x="145" y="46"/>
                  </a:cubicBezTo>
                  <a:cubicBezTo>
                    <a:pt x="145" y="68"/>
                    <a:pt x="113" y="86"/>
                    <a:pt x="75" y="86"/>
                  </a:cubicBezTo>
                  <a:cubicBezTo>
                    <a:pt x="37" y="86"/>
                    <a:pt x="5" y="68"/>
                    <a:pt x="5" y="46"/>
                  </a:cubicBezTo>
                  <a:cubicBezTo>
                    <a:pt x="5" y="24"/>
                    <a:pt x="37" y="5"/>
                    <a:pt x="75" y="5"/>
                  </a:cubicBezTo>
                  <a:moveTo>
                    <a:pt x="75" y="0"/>
                  </a:moveTo>
                  <a:cubicBezTo>
                    <a:pt x="34" y="0"/>
                    <a:pt x="0" y="21"/>
                    <a:pt x="0" y="46"/>
                  </a:cubicBezTo>
                  <a:cubicBezTo>
                    <a:pt x="0" y="71"/>
                    <a:pt x="34" y="92"/>
                    <a:pt x="75" y="92"/>
                  </a:cubicBezTo>
                  <a:cubicBezTo>
                    <a:pt x="117" y="92"/>
                    <a:pt x="150" y="71"/>
                    <a:pt x="150" y="46"/>
                  </a:cubicBezTo>
                  <a:cubicBezTo>
                    <a:pt x="150" y="21"/>
                    <a:pt x="117" y="0"/>
                    <a:pt x="75" y="0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6" name="íśliḑe">
              <a:extLst>
                <a:ext uri="{FF2B5EF4-FFF2-40B4-BE49-F238E27FC236}">
                  <a16:creationId xmlns:a16="http://schemas.microsoft.com/office/drawing/2014/main" xmlns="" id="{45197CA9-EEB1-4076-A3F4-54E07CBB00D0}"/>
                </a:ext>
              </a:extLst>
            </p:cNvPr>
            <p:cNvSpPr/>
            <p:nvPr userDrawn="1"/>
          </p:nvSpPr>
          <p:spPr bwMode="auto">
            <a:xfrm>
              <a:off x="6919913" y="2527301"/>
              <a:ext cx="144463" cy="296863"/>
            </a:xfrm>
            <a:custGeom>
              <a:avLst/>
              <a:gdLst>
                <a:gd name="T0" fmla="*/ 12 w 44"/>
                <a:gd name="T1" fmla="*/ 0 h 90"/>
                <a:gd name="T2" fmla="*/ 11 w 44"/>
                <a:gd name="T3" fmla="*/ 0 h 90"/>
                <a:gd name="T4" fmla="*/ 11 w 44"/>
                <a:gd name="T5" fmla="*/ 1 h 90"/>
                <a:gd name="T6" fmla="*/ 10 w 44"/>
                <a:gd name="T7" fmla="*/ 1 h 90"/>
                <a:gd name="T8" fmla="*/ 10 w 44"/>
                <a:gd name="T9" fmla="*/ 1 h 90"/>
                <a:gd name="T10" fmla="*/ 9 w 44"/>
                <a:gd name="T11" fmla="*/ 2 h 90"/>
                <a:gd name="T12" fmla="*/ 8 w 44"/>
                <a:gd name="T13" fmla="*/ 2 h 90"/>
                <a:gd name="T14" fmla="*/ 8 w 44"/>
                <a:gd name="T15" fmla="*/ 3 h 90"/>
                <a:gd name="T16" fmla="*/ 7 w 44"/>
                <a:gd name="T17" fmla="*/ 3 h 90"/>
                <a:gd name="T18" fmla="*/ 6 w 44"/>
                <a:gd name="T19" fmla="*/ 3 h 90"/>
                <a:gd name="T20" fmla="*/ 6 w 44"/>
                <a:gd name="T21" fmla="*/ 4 h 90"/>
                <a:gd name="T22" fmla="*/ 5 w 44"/>
                <a:gd name="T23" fmla="*/ 4 h 90"/>
                <a:gd name="T24" fmla="*/ 5 w 44"/>
                <a:gd name="T25" fmla="*/ 4 h 90"/>
                <a:gd name="T26" fmla="*/ 4 w 44"/>
                <a:gd name="T27" fmla="*/ 5 h 90"/>
                <a:gd name="T28" fmla="*/ 3 w 44"/>
                <a:gd name="T29" fmla="*/ 5 h 90"/>
                <a:gd name="T30" fmla="*/ 3 w 44"/>
                <a:gd name="T31" fmla="*/ 5 h 90"/>
                <a:gd name="T32" fmla="*/ 2 w 44"/>
                <a:gd name="T33" fmla="*/ 6 h 90"/>
                <a:gd name="T34" fmla="*/ 1 w 44"/>
                <a:gd name="T35" fmla="*/ 6 h 90"/>
                <a:gd name="T36" fmla="*/ 1 w 44"/>
                <a:gd name="T37" fmla="*/ 6 h 90"/>
                <a:gd name="T38" fmla="*/ 0 w 44"/>
                <a:gd name="T39" fmla="*/ 7 h 90"/>
                <a:gd name="T40" fmla="*/ 13 w 44"/>
                <a:gd name="T41" fmla="*/ 72 h 90"/>
                <a:gd name="T42" fmla="*/ 12 w 44"/>
                <a:gd name="T43" fmla="*/ 72 h 90"/>
                <a:gd name="T44" fmla="*/ 11 w 44"/>
                <a:gd name="T45" fmla="*/ 72 h 90"/>
                <a:gd name="T46" fmla="*/ 11 w 44"/>
                <a:gd name="T47" fmla="*/ 73 h 90"/>
                <a:gd name="T48" fmla="*/ 10 w 44"/>
                <a:gd name="T49" fmla="*/ 73 h 90"/>
                <a:gd name="T50" fmla="*/ 9 w 44"/>
                <a:gd name="T51" fmla="*/ 73 h 90"/>
                <a:gd name="T52" fmla="*/ 9 w 44"/>
                <a:gd name="T53" fmla="*/ 74 h 90"/>
                <a:gd name="T54" fmla="*/ 8 w 44"/>
                <a:gd name="T55" fmla="*/ 74 h 90"/>
                <a:gd name="T56" fmla="*/ 8 w 44"/>
                <a:gd name="T57" fmla="*/ 74 h 90"/>
                <a:gd name="T58" fmla="*/ 7 w 44"/>
                <a:gd name="T59" fmla="*/ 75 h 90"/>
                <a:gd name="T60" fmla="*/ 6 w 44"/>
                <a:gd name="T61" fmla="*/ 75 h 90"/>
                <a:gd name="T62" fmla="*/ 6 w 44"/>
                <a:gd name="T63" fmla="*/ 75 h 90"/>
                <a:gd name="T64" fmla="*/ 5 w 44"/>
                <a:gd name="T65" fmla="*/ 76 h 90"/>
                <a:gd name="T66" fmla="*/ 4 w 44"/>
                <a:gd name="T67" fmla="*/ 76 h 90"/>
                <a:gd name="T68" fmla="*/ 4 w 44"/>
                <a:gd name="T69" fmla="*/ 76 h 90"/>
                <a:gd name="T70" fmla="*/ 3 w 44"/>
                <a:gd name="T71" fmla="*/ 77 h 90"/>
                <a:gd name="T72" fmla="*/ 3 w 44"/>
                <a:gd name="T73" fmla="*/ 77 h 90"/>
                <a:gd name="T74" fmla="*/ 2 w 44"/>
                <a:gd name="T75" fmla="*/ 77 h 90"/>
                <a:gd name="T76" fmla="*/ 1 w 44"/>
                <a:gd name="T77" fmla="*/ 78 h 90"/>
                <a:gd name="T78" fmla="*/ 1 w 44"/>
                <a:gd name="T79" fmla="*/ 78 h 90"/>
                <a:gd name="T80" fmla="*/ 0 w 44"/>
                <a:gd name="T81" fmla="*/ 79 h 90"/>
                <a:gd name="T82" fmla="*/ 15 w 44"/>
                <a:gd name="T83" fmla="*/ 85 h 90"/>
                <a:gd name="T84" fmla="*/ 16 w 44"/>
                <a:gd name="T85" fmla="*/ 85 h 90"/>
                <a:gd name="T86" fmla="*/ 17 w 44"/>
                <a:gd name="T87" fmla="*/ 85 h 90"/>
                <a:gd name="T88" fmla="*/ 17 w 44"/>
                <a:gd name="T89" fmla="*/ 84 h 90"/>
                <a:gd name="T90" fmla="*/ 18 w 44"/>
                <a:gd name="T91" fmla="*/ 84 h 90"/>
                <a:gd name="T92" fmla="*/ 19 w 44"/>
                <a:gd name="T93" fmla="*/ 84 h 90"/>
                <a:gd name="T94" fmla="*/ 19 w 44"/>
                <a:gd name="T95" fmla="*/ 83 h 90"/>
                <a:gd name="T96" fmla="*/ 20 w 44"/>
                <a:gd name="T97" fmla="*/ 83 h 90"/>
                <a:gd name="T98" fmla="*/ 20 w 44"/>
                <a:gd name="T99" fmla="*/ 83 h 90"/>
                <a:gd name="T100" fmla="*/ 21 w 44"/>
                <a:gd name="T101" fmla="*/ 82 h 90"/>
                <a:gd name="T102" fmla="*/ 22 w 44"/>
                <a:gd name="T103" fmla="*/ 82 h 90"/>
                <a:gd name="T104" fmla="*/ 22 w 44"/>
                <a:gd name="T105" fmla="*/ 81 h 90"/>
                <a:gd name="T106" fmla="*/ 23 w 44"/>
                <a:gd name="T107" fmla="*/ 81 h 90"/>
                <a:gd name="T108" fmla="*/ 24 w 44"/>
                <a:gd name="T109" fmla="*/ 81 h 90"/>
                <a:gd name="T110" fmla="*/ 24 w 44"/>
                <a:gd name="T111" fmla="*/ 80 h 90"/>
                <a:gd name="T112" fmla="*/ 25 w 44"/>
                <a:gd name="T113" fmla="*/ 80 h 90"/>
                <a:gd name="T114" fmla="*/ 25 w 44"/>
                <a:gd name="T115" fmla="*/ 80 h 90"/>
                <a:gd name="T116" fmla="*/ 26 w 44"/>
                <a:gd name="T117" fmla="*/ 79 h 90"/>
                <a:gd name="T118" fmla="*/ 27 w 44"/>
                <a:gd name="T119" fmla="*/ 79 h 90"/>
                <a:gd name="T120" fmla="*/ 27 w 44"/>
                <a:gd name="T121" fmla="*/ 79 h 90"/>
                <a:gd name="T122" fmla="*/ 28 w 44"/>
                <a:gd name="T123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" h="90">
                  <a:moveTo>
                    <a:pt x="15" y="1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2" y="28"/>
                    <a:pt x="20" y="43"/>
                    <a:pt x="20" y="58"/>
                  </a:cubicBezTo>
                  <a:cubicBezTo>
                    <a:pt x="20" y="63"/>
                    <a:pt x="18" y="68"/>
                    <a:pt x="15" y="71"/>
                  </a:cubicBezTo>
                  <a:cubicBezTo>
                    <a:pt x="14" y="71"/>
                    <a:pt x="14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5" y="90"/>
                    <a:pt x="10" y="88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8" y="72"/>
                    <a:pt x="44" y="62"/>
                    <a:pt x="44" y="51"/>
                  </a:cubicBezTo>
                  <a:cubicBezTo>
                    <a:pt x="44" y="31"/>
                    <a:pt x="33" y="12"/>
                    <a:pt x="15" y="1"/>
                  </a:cubicBezTo>
                  <a:close/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7" name="ïšļîdè">
              <a:extLst>
                <a:ext uri="{FF2B5EF4-FFF2-40B4-BE49-F238E27FC236}">
                  <a16:creationId xmlns:a16="http://schemas.microsoft.com/office/drawing/2014/main" xmlns="" id="{EACB9890-CE4E-4E17-8FE1-4548518AB77A}"/>
                </a:ext>
              </a:extLst>
            </p:cNvPr>
            <p:cNvSpPr/>
            <p:nvPr userDrawn="1"/>
          </p:nvSpPr>
          <p:spPr bwMode="auto">
            <a:xfrm>
              <a:off x="6919913" y="2549526"/>
              <a:ext cx="101600" cy="274638"/>
            </a:xfrm>
            <a:custGeom>
              <a:avLst/>
              <a:gdLst>
                <a:gd name="T0" fmla="*/ 2 w 31"/>
                <a:gd name="T1" fmla="*/ 2 h 83"/>
                <a:gd name="T2" fmla="*/ 0 w 31"/>
                <a:gd name="T3" fmla="*/ 0 h 83"/>
                <a:gd name="T4" fmla="*/ 0 w 31"/>
                <a:gd name="T5" fmla="*/ 13 h 83"/>
                <a:gd name="T6" fmla="*/ 20 w 31"/>
                <a:gd name="T7" fmla="*/ 51 h 83"/>
                <a:gd name="T8" fmla="*/ 10 w 31"/>
                <a:gd name="T9" fmla="*/ 69 h 83"/>
                <a:gd name="T10" fmla="*/ 0 w 31"/>
                <a:gd name="T11" fmla="*/ 72 h 83"/>
                <a:gd name="T12" fmla="*/ 0 w 31"/>
                <a:gd name="T13" fmla="*/ 83 h 83"/>
                <a:gd name="T14" fmla="*/ 15 w 31"/>
                <a:gd name="T15" fmla="*/ 78 h 83"/>
                <a:gd name="T16" fmla="*/ 31 w 31"/>
                <a:gd name="T17" fmla="*/ 51 h 83"/>
                <a:gd name="T18" fmla="*/ 2 w 31"/>
                <a:gd name="T19" fmla="*/ 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83">
                  <a:moveTo>
                    <a:pt x="2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2" y="21"/>
                    <a:pt x="20" y="36"/>
                    <a:pt x="20" y="51"/>
                  </a:cubicBezTo>
                  <a:cubicBezTo>
                    <a:pt x="20" y="59"/>
                    <a:pt x="16" y="65"/>
                    <a:pt x="10" y="69"/>
                  </a:cubicBezTo>
                  <a:cubicBezTo>
                    <a:pt x="7" y="71"/>
                    <a:pt x="3" y="72"/>
                    <a:pt x="0" y="7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5" y="83"/>
                    <a:pt x="10" y="81"/>
                    <a:pt x="15" y="78"/>
                  </a:cubicBezTo>
                  <a:cubicBezTo>
                    <a:pt x="25" y="73"/>
                    <a:pt x="31" y="63"/>
                    <a:pt x="31" y="51"/>
                  </a:cubicBezTo>
                  <a:cubicBezTo>
                    <a:pt x="31" y="31"/>
                    <a:pt x="20" y="12"/>
                    <a:pt x="2" y="2"/>
                  </a:cubicBez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8" name="iṡľîdê">
              <a:extLst>
                <a:ext uri="{FF2B5EF4-FFF2-40B4-BE49-F238E27FC236}">
                  <a16:creationId xmlns:a16="http://schemas.microsoft.com/office/drawing/2014/main" xmlns="" id="{5FDF3D74-18F8-4F03-8FE8-5C06EAE76376}"/>
                </a:ext>
              </a:extLst>
            </p:cNvPr>
            <p:cNvSpPr/>
            <p:nvPr userDrawn="1"/>
          </p:nvSpPr>
          <p:spPr bwMode="auto">
            <a:xfrm>
              <a:off x="4473576" y="1370013"/>
              <a:ext cx="2847975" cy="3079750"/>
            </a:xfrm>
            <a:custGeom>
              <a:avLst/>
              <a:gdLst>
                <a:gd name="T0" fmla="*/ 20 w 863"/>
                <a:gd name="T1" fmla="*/ 255 h 934"/>
                <a:gd name="T2" fmla="*/ 454 w 863"/>
                <a:gd name="T3" fmla="*/ 6 h 934"/>
                <a:gd name="T4" fmla="*/ 481 w 863"/>
                <a:gd name="T5" fmla="*/ 2 h 934"/>
                <a:gd name="T6" fmla="*/ 505 w 863"/>
                <a:gd name="T7" fmla="*/ 19 h 934"/>
                <a:gd name="T8" fmla="*/ 506 w 863"/>
                <a:gd name="T9" fmla="*/ 423 h 934"/>
                <a:gd name="T10" fmla="*/ 467 w 863"/>
                <a:gd name="T11" fmla="*/ 445 h 934"/>
                <a:gd name="T12" fmla="*/ 862 w 863"/>
                <a:gd name="T13" fmla="*/ 637 h 934"/>
                <a:gd name="T14" fmla="*/ 863 w 863"/>
                <a:gd name="T15" fmla="*/ 653 h 934"/>
                <a:gd name="T16" fmla="*/ 853 w 863"/>
                <a:gd name="T17" fmla="*/ 669 h 934"/>
                <a:gd name="T18" fmla="*/ 408 w 863"/>
                <a:gd name="T19" fmla="*/ 926 h 934"/>
                <a:gd name="T20" fmla="*/ 368 w 863"/>
                <a:gd name="T21" fmla="*/ 926 h 934"/>
                <a:gd name="T22" fmla="*/ 7 w 863"/>
                <a:gd name="T23" fmla="*/ 718 h 934"/>
                <a:gd name="T24" fmla="*/ 1 w 863"/>
                <a:gd name="T25" fmla="*/ 707 h 934"/>
                <a:gd name="T26" fmla="*/ 0 w 863"/>
                <a:gd name="T27" fmla="*/ 290 h 934"/>
                <a:gd name="T28" fmla="*/ 20 w 863"/>
                <a:gd name="T29" fmla="*/ 255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3" h="934">
                  <a:moveTo>
                    <a:pt x="20" y="255"/>
                  </a:moveTo>
                  <a:cubicBezTo>
                    <a:pt x="454" y="6"/>
                    <a:pt x="454" y="6"/>
                    <a:pt x="454" y="6"/>
                  </a:cubicBezTo>
                  <a:cubicBezTo>
                    <a:pt x="462" y="2"/>
                    <a:pt x="472" y="0"/>
                    <a:pt x="481" y="2"/>
                  </a:cubicBezTo>
                  <a:cubicBezTo>
                    <a:pt x="493" y="5"/>
                    <a:pt x="505" y="8"/>
                    <a:pt x="505" y="19"/>
                  </a:cubicBezTo>
                  <a:cubicBezTo>
                    <a:pt x="506" y="423"/>
                    <a:pt x="506" y="423"/>
                    <a:pt x="506" y="423"/>
                  </a:cubicBezTo>
                  <a:cubicBezTo>
                    <a:pt x="467" y="445"/>
                    <a:pt x="467" y="445"/>
                    <a:pt x="467" y="445"/>
                  </a:cubicBezTo>
                  <a:cubicBezTo>
                    <a:pt x="480" y="451"/>
                    <a:pt x="861" y="637"/>
                    <a:pt x="862" y="637"/>
                  </a:cubicBezTo>
                  <a:cubicBezTo>
                    <a:pt x="863" y="653"/>
                    <a:pt x="863" y="653"/>
                    <a:pt x="863" y="653"/>
                  </a:cubicBezTo>
                  <a:cubicBezTo>
                    <a:pt x="863" y="660"/>
                    <a:pt x="859" y="666"/>
                    <a:pt x="853" y="669"/>
                  </a:cubicBezTo>
                  <a:cubicBezTo>
                    <a:pt x="788" y="707"/>
                    <a:pt x="408" y="926"/>
                    <a:pt x="408" y="926"/>
                  </a:cubicBezTo>
                  <a:cubicBezTo>
                    <a:pt x="396" y="934"/>
                    <a:pt x="380" y="934"/>
                    <a:pt x="368" y="926"/>
                  </a:cubicBezTo>
                  <a:cubicBezTo>
                    <a:pt x="7" y="718"/>
                    <a:pt x="7" y="718"/>
                    <a:pt x="7" y="718"/>
                  </a:cubicBezTo>
                  <a:cubicBezTo>
                    <a:pt x="3" y="715"/>
                    <a:pt x="1" y="711"/>
                    <a:pt x="1" y="707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0" y="276"/>
                    <a:pt x="8" y="262"/>
                    <a:pt x="20" y="255"/>
                  </a:cubicBezTo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19" name="ïSľîḑé">
              <a:extLst>
                <a:ext uri="{FF2B5EF4-FFF2-40B4-BE49-F238E27FC236}">
                  <a16:creationId xmlns:a16="http://schemas.microsoft.com/office/drawing/2014/main" xmlns="" id="{70869B57-4804-48C6-8308-462F999455E3}"/>
                </a:ext>
              </a:extLst>
            </p:cNvPr>
            <p:cNvSpPr/>
            <p:nvPr userDrawn="1"/>
          </p:nvSpPr>
          <p:spPr bwMode="auto">
            <a:xfrm>
              <a:off x="4516438" y="1379538"/>
              <a:ext cx="1630363" cy="2317750"/>
            </a:xfrm>
            <a:custGeom>
              <a:avLst/>
              <a:gdLst>
                <a:gd name="T0" fmla="*/ 0 w 494"/>
                <a:gd name="T1" fmla="*/ 703 h 703"/>
                <a:gd name="T2" fmla="*/ 493 w 494"/>
                <a:gd name="T3" fmla="*/ 421 h 703"/>
                <a:gd name="T4" fmla="*/ 494 w 494"/>
                <a:gd name="T5" fmla="*/ 19 h 703"/>
                <a:gd name="T6" fmla="*/ 471 w 494"/>
                <a:gd name="T7" fmla="*/ 6 h 703"/>
                <a:gd name="T8" fmla="*/ 17 w 494"/>
                <a:gd name="T9" fmla="*/ 266 h 703"/>
                <a:gd name="T10" fmla="*/ 1 w 494"/>
                <a:gd name="T11" fmla="*/ 294 h 703"/>
                <a:gd name="T12" fmla="*/ 0 w 494"/>
                <a:gd name="T13" fmla="*/ 703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4" h="703">
                  <a:moveTo>
                    <a:pt x="0" y="703"/>
                  </a:moveTo>
                  <a:cubicBezTo>
                    <a:pt x="493" y="421"/>
                    <a:pt x="493" y="421"/>
                    <a:pt x="493" y="421"/>
                  </a:cubicBezTo>
                  <a:cubicBezTo>
                    <a:pt x="494" y="19"/>
                    <a:pt x="494" y="19"/>
                    <a:pt x="494" y="19"/>
                  </a:cubicBezTo>
                  <a:cubicBezTo>
                    <a:pt x="494" y="7"/>
                    <a:pt x="481" y="0"/>
                    <a:pt x="471" y="6"/>
                  </a:cubicBezTo>
                  <a:cubicBezTo>
                    <a:pt x="17" y="266"/>
                    <a:pt x="17" y="266"/>
                    <a:pt x="17" y="266"/>
                  </a:cubicBezTo>
                  <a:cubicBezTo>
                    <a:pt x="7" y="272"/>
                    <a:pt x="1" y="282"/>
                    <a:pt x="1" y="294"/>
                  </a:cubicBezTo>
                  <a:cubicBezTo>
                    <a:pt x="0" y="703"/>
                    <a:pt x="0" y="703"/>
                    <a:pt x="0" y="703"/>
                  </a:cubicBezTo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0" name="íṣļíďê">
              <a:extLst>
                <a:ext uri="{FF2B5EF4-FFF2-40B4-BE49-F238E27FC236}">
                  <a16:creationId xmlns:a16="http://schemas.microsoft.com/office/drawing/2014/main" xmlns="" id="{5255C35F-5E16-47DC-A032-6AEF7E9AE357}"/>
                </a:ext>
              </a:extLst>
            </p:cNvPr>
            <p:cNvSpPr/>
            <p:nvPr userDrawn="1"/>
          </p:nvSpPr>
          <p:spPr bwMode="auto">
            <a:xfrm>
              <a:off x="4586288" y="1474788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  <a:close/>
                </a:path>
              </a:pathLst>
            </a:custGeom>
            <a:solidFill>
              <a:srgbClr val="381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1" name="išľíḍe">
              <a:extLst>
                <a:ext uri="{FF2B5EF4-FFF2-40B4-BE49-F238E27FC236}">
                  <a16:creationId xmlns:a16="http://schemas.microsoft.com/office/drawing/2014/main" xmlns="" id="{B91D4EDB-E070-4FC9-AABB-EAABC7C41718}"/>
                </a:ext>
              </a:extLst>
            </p:cNvPr>
            <p:cNvSpPr/>
            <p:nvPr userDrawn="1"/>
          </p:nvSpPr>
          <p:spPr bwMode="auto">
            <a:xfrm>
              <a:off x="4586288" y="1474788"/>
              <a:ext cx="1495425" cy="2103438"/>
            </a:xfrm>
            <a:custGeom>
              <a:avLst/>
              <a:gdLst>
                <a:gd name="T0" fmla="*/ 942 w 942"/>
                <a:gd name="T1" fmla="*/ 0 h 1325"/>
                <a:gd name="T2" fmla="*/ 2 w 942"/>
                <a:gd name="T3" fmla="*/ 538 h 1325"/>
                <a:gd name="T4" fmla="*/ 0 w 942"/>
                <a:gd name="T5" fmla="*/ 1325 h 1325"/>
                <a:gd name="T6" fmla="*/ 942 w 942"/>
                <a:gd name="T7" fmla="*/ 785 h 1325"/>
                <a:gd name="T8" fmla="*/ 942 w 942"/>
                <a:gd name="T9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2" h="1325">
                  <a:moveTo>
                    <a:pt x="942" y="0"/>
                  </a:moveTo>
                  <a:lnTo>
                    <a:pt x="2" y="538"/>
                  </a:lnTo>
                  <a:lnTo>
                    <a:pt x="0" y="1325"/>
                  </a:lnTo>
                  <a:lnTo>
                    <a:pt x="942" y="785"/>
                  </a:lnTo>
                  <a:lnTo>
                    <a:pt x="9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2" name="íšļïḓé">
              <a:extLst>
                <a:ext uri="{FF2B5EF4-FFF2-40B4-BE49-F238E27FC236}">
                  <a16:creationId xmlns:a16="http://schemas.microsoft.com/office/drawing/2014/main" xmlns="" id="{B25568E2-E030-444C-BD82-5816B07F01A3}"/>
                </a:ext>
              </a:extLst>
            </p:cNvPr>
            <p:cNvSpPr/>
            <p:nvPr userDrawn="1"/>
          </p:nvSpPr>
          <p:spPr bwMode="auto">
            <a:xfrm>
              <a:off x="4516438" y="2757488"/>
              <a:ext cx="2811463" cy="1635125"/>
            </a:xfrm>
            <a:custGeom>
              <a:avLst/>
              <a:gdLst>
                <a:gd name="T0" fmla="*/ 0 w 852"/>
                <a:gd name="T1" fmla="*/ 285 h 496"/>
                <a:gd name="T2" fmla="*/ 493 w 852"/>
                <a:gd name="T3" fmla="*/ 0 h 496"/>
                <a:gd name="T4" fmla="*/ 842 w 852"/>
                <a:gd name="T5" fmla="*/ 202 h 496"/>
                <a:gd name="T6" fmla="*/ 842 w 852"/>
                <a:gd name="T7" fmla="*/ 228 h 496"/>
                <a:gd name="T8" fmla="*/ 388 w 852"/>
                <a:gd name="T9" fmla="*/ 490 h 496"/>
                <a:gd name="T10" fmla="*/ 356 w 852"/>
                <a:gd name="T11" fmla="*/ 490 h 496"/>
                <a:gd name="T12" fmla="*/ 0 w 852"/>
                <a:gd name="T13" fmla="*/ 28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2" h="496">
                  <a:moveTo>
                    <a:pt x="0" y="285"/>
                  </a:moveTo>
                  <a:cubicBezTo>
                    <a:pt x="493" y="0"/>
                    <a:pt x="493" y="0"/>
                    <a:pt x="493" y="0"/>
                  </a:cubicBezTo>
                  <a:cubicBezTo>
                    <a:pt x="842" y="202"/>
                    <a:pt x="842" y="202"/>
                    <a:pt x="842" y="202"/>
                  </a:cubicBezTo>
                  <a:cubicBezTo>
                    <a:pt x="852" y="208"/>
                    <a:pt x="852" y="222"/>
                    <a:pt x="842" y="228"/>
                  </a:cubicBezTo>
                  <a:cubicBezTo>
                    <a:pt x="388" y="490"/>
                    <a:pt x="388" y="490"/>
                    <a:pt x="388" y="490"/>
                  </a:cubicBezTo>
                  <a:cubicBezTo>
                    <a:pt x="378" y="496"/>
                    <a:pt x="366" y="496"/>
                    <a:pt x="356" y="490"/>
                  </a:cubicBezTo>
                  <a:cubicBezTo>
                    <a:pt x="0" y="285"/>
                    <a:pt x="0" y="285"/>
                    <a:pt x="0" y="285"/>
                  </a:cubicBezTo>
                </a:path>
              </a:pathLst>
            </a:custGeom>
            <a:solidFill>
              <a:srgbClr val="FF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3" name="islidé">
              <a:extLst>
                <a:ext uri="{FF2B5EF4-FFF2-40B4-BE49-F238E27FC236}">
                  <a16:creationId xmlns:a16="http://schemas.microsoft.com/office/drawing/2014/main" xmlns="" id="{466E7B9C-9E3A-4C63-A06C-0C0DEA46E801}"/>
                </a:ext>
              </a:extLst>
            </p:cNvPr>
            <p:cNvSpPr/>
            <p:nvPr userDrawn="1"/>
          </p:nvSpPr>
          <p:spPr bwMode="auto">
            <a:xfrm>
              <a:off x="4803776" y="3678238"/>
              <a:ext cx="161925" cy="95250"/>
            </a:xfrm>
            <a:custGeom>
              <a:avLst/>
              <a:gdLst>
                <a:gd name="T0" fmla="*/ 49 w 49"/>
                <a:gd name="T1" fmla="*/ 14 h 29"/>
                <a:gd name="T2" fmla="*/ 25 w 49"/>
                <a:gd name="T3" fmla="*/ 29 h 29"/>
                <a:gd name="T4" fmla="*/ 0 w 49"/>
                <a:gd name="T5" fmla="*/ 15 h 29"/>
                <a:gd name="T6" fmla="*/ 25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4" name="iṩliḋé">
              <a:extLst>
                <a:ext uri="{FF2B5EF4-FFF2-40B4-BE49-F238E27FC236}">
                  <a16:creationId xmlns:a16="http://schemas.microsoft.com/office/drawing/2014/main" xmlns="" id="{40047DDB-F951-4FCB-B5EC-5BC6F2E9BB1E}"/>
                </a:ext>
              </a:extLst>
            </p:cNvPr>
            <p:cNvSpPr/>
            <p:nvPr userDrawn="1"/>
          </p:nvSpPr>
          <p:spPr bwMode="auto">
            <a:xfrm>
              <a:off x="4922838" y="36115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5" name="îṣḷîḓê">
              <a:extLst>
                <a:ext uri="{FF2B5EF4-FFF2-40B4-BE49-F238E27FC236}">
                  <a16:creationId xmlns:a16="http://schemas.microsoft.com/office/drawing/2014/main" xmlns="" id="{7EF57C38-A565-4090-B87F-58427BBB4C43}"/>
                </a:ext>
              </a:extLst>
            </p:cNvPr>
            <p:cNvSpPr/>
            <p:nvPr userDrawn="1"/>
          </p:nvSpPr>
          <p:spPr bwMode="auto">
            <a:xfrm>
              <a:off x="5045076" y="35433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10" y="20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6" name="íṩ1îḍe">
              <a:extLst>
                <a:ext uri="{FF2B5EF4-FFF2-40B4-BE49-F238E27FC236}">
                  <a16:creationId xmlns:a16="http://schemas.microsoft.com/office/drawing/2014/main" xmlns="" id="{7918139F-D21F-4C1D-B285-25E5EEDD2D81}"/>
                </a:ext>
              </a:extLst>
            </p:cNvPr>
            <p:cNvSpPr/>
            <p:nvPr userDrawn="1"/>
          </p:nvSpPr>
          <p:spPr bwMode="auto">
            <a:xfrm>
              <a:off x="5164138" y="347345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7" name="ïṧḻiḍe">
              <a:extLst>
                <a:ext uri="{FF2B5EF4-FFF2-40B4-BE49-F238E27FC236}">
                  <a16:creationId xmlns:a16="http://schemas.microsoft.com/office/drawing/2014/main" xmlns="" id="{DF0279A2-EA0F-48F0-BF24-C5B11513CAFE}"/>
                </a:ext>
              </a:extLst>
            </p:cNvPr>
            <p:cNvSpPr/>
            <p:nvPr userDrawn="1"/>
          </p:nvSpPr>
          <p:spPr bwMode="auto">
            <a:xfrm>
              <a:off x="5283201" y="3403601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8" name="íşlïḑè">
              <a:extLst>
                <a:ext uri="{FF2B5EF4-FFF2-40B4-BE49-F238E27FC236}">
                  <a16:creationId xmlns:a16="http://schemas.microsoft.com/office/drawing/2014/main" xmlns="" id="{750210F3-A01A-43FB-82C4-5F227CFCC2FF}"/>
                </a:ext>
              </a:extLst>
            </p:cNvPr>
            <p:cNvSpPr/>
            <p:nvPr userDrawn="1"/>
          </p:nvSpPr>
          <p:spPr bwMode="auto">
            <a:xfrm>
              <a:off x="5400676" y="33353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29" name="íśļiḋè">
              <a:extLst>
                <a:ext uri="{FF2B5EF4-FFF2-40B4-BE49-F238E27FC236}">
                  <a16:creationId xmlns:a16="http://schemas.microsoft.com/office/drawing/2014/main" xmlns="" id="{9AB9F574-F230-4933-B0D3-9356C24029CB}"/>
                </a:ext>
              </a:extLst>
            </p:cNvPr>
            <p:cNvSpPr/>
            <p:nvPr userDrawn="1"/>
          </p:nvSpPr>
          <p:spPr bwMode="auto">
            <a:xfrm>
              <a:off x="5519738" y="32686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0" name="îSļîḓê">
              <a:extLst>
                <a:ext uri="{FF2B5EF4-FFF2-40B4-BE49-F238E27FC236}">
                  <a16:creationId xmlns:a16="http://schemas.microsoft.com/office/drawing/2014/main" xmlns="" id="{8DC44DB1-A134-4C46-9907-5BFA6497C437}"/>
                </a:ext>
              </a:extLst>
            </p:cNvPr>
            <p:cNvSpPr/>
            <p:nvPr userDrawn="1"/>
          </p:nvSpPr>
          <p:spPr bwMode="auto">
            <a:xfrm>
              <a:off x="5641976" y="32004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1" name="íṧ1îḑè">
              <a:extLst>
                <a:ext uri="{FF2B5EF4-FFF2-40B4-BE49-F238E27FC236}">
                  <a16:creationId xmlns:a16="http://schemas.microsoft.com/office/drawing/2014/main" xmlns="" id="{D913291D-C576-48CB-8D84-A101B735897F}"/>
                </a:ext>
              </a:extLst>
            </p:cNvPr>
            <p:cNvSpPr/>
            <p:nvPr userDrawn="1"/>
          </p:nvSpPr>
          <p:spPr bwMode="auto">
            <a:xfrm>
              <a:off x="5761038" y="313055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2" name="îṥḷide">
              <a:extLst>
                <a:ext uri="{FF2B5EF4-FFF2-40B4-BE49-F238E27FC236}">
                  <a16:creationId xmlns:a16="http://schemas.microsoft.com/office/drawing/2014/main" xmlns="" id="{253F3F1E-7C5A-4040-843A-2DB968797756}"/>
                </a:ext>
              </a:extLst>
            </p:cNvPr>
            <p:cNvSpPr/>
            <p:nvPr userDrawn="1"/>
          </p:nvSpPr>
          <p:spPr bwMode="auto">
            <a:xfrm>
              <a:off x="5880101" y="306070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3" name="îş1iḓè">
              <a:extLst>
                <a:ext uri="{FF2B5EF4-FFF2-40B4-BE49-F238E27FC236}">
                  <a16:creationId xmlns:a16="http://schemas.microsoft.com/office/drawing/2014/main" xmlns="" id="{06F852F4-9CF4-4F03-A61E-795E9746BC23}"/>
                </a:ext>
              </a:extLst>
            </p:cNvPr>
            <p:cNvSpPr/>
            <p:nvPr userDrawn="1"/>
          </p:nvSpPr>
          <p:spPr bwMode="auto">
            <a:xfrm>
              <a:off x="5999163" y="29924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4" name="íšḻidè">
              <a:extLst>
                <a:ext uri="{FF2B5EF4-FFF2-40B4-BE49-F238E27FC236}">
                  <a16:creationId xmlns:a16="http://schemas.microsoft.com/office/drawing/2014/main" xmlns="" id="{B5A71415-8E80-4D20-9CA9-2F1941DA1159}"/>
                </a:ext>
              </a:extLst>
            </p:cNvPr>
            <p:cNvSpPr/>
            <p:nvPr userDrawn="1"/>
          </p:nvSpPr>
          <p:spPr bwMode="auto">
            <a:xfrm>
              <a:off x="6121401" y="2925763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5" name="íślîḓè">
              <a:extLst>
                <a:ext uri="{FF2B5EF4-FFF2-40B4-BE49-F238E27FC236}">
                  <a16:creationId xmlns:a16="http://schemas.microsoft.com/office/drawing/2014/main" xmlns="" id="{9126E6C0-6DE4-4E8D-9A3E-0C8E80978892}"/>
                </a:ext>
              </a:extLst>
            </p:cNvPr>
            <p:cNvSpPr/>
            <p:nvPr userDrawn="1"/>
          </p:nvSpPr>
          <p:spPr bwMode="auto">
            <a:xfrm>
              <a:off x="4919663" y="37433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6" name="î$1iḓé">
              <a:extLst>
                <a:ext uri="{FF2B5EF4-FFF2-40B4-BE49-F238E27FC236}">
                  <a16:creationId xmlns:a16="http://schemas.microsoft.com/office/drawing/2014/main" xmlns="" id="{BFE68672-34FD-4979-A0E4-41A82F6DDEEE}"/>
                </a:ext>
              </a:extLst>
            </p:cNvPr>
            <p:cNvSpPr/>
            <p:nvPr userDrawn="1"/>
          </p:nvSpPr>
          <p:spPr bwMode="auto">
            <a:xfrm>
              <a:off x="5038726" y="36750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7" name="išľïḋe">
              <a:extLst>
                <a:ext uri="{FF2B5EF4-FFF2-40B4-BE49-F238E27FC236}">
                  <a16:creationId xmlns:a16="http://schemas.microsoft.com/office/drawing/2014/main" xmlns="" id="{AB858F4E-A41E-4918-9E78-D226C1517F03}"/>
                </a:ext>
              </a:extLst>
            </p:cNvPr>
            <p:cNvSpPr/>
            <p:nvPr userDrawn="1"/>
          </p:nvSpPr>
          <p:spPr bwMode="auto">
            <a:xfrm>
              <a:off x="5157788" y="36083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8" name="îṡlíḍè">
              <a:extLst>
                <a:ext uri="{FF2B5EF4-FFF2-40B4-BE49-F238E27FC236}">
                  <a16:creationId xmlns:a16="http://schemas.microsoft.com/office/drawing/2014/main" xmlns="" id="{77DED95C-CF43-4E16-B443-6BF1BC3809B8}"/>
                </a:ext>
              </a:extLst>
            </p:cNvPr>
            <p:cNvSpPr/>
            <p:nvPr userDrawn="1"/>
          </p:nvSpPr>
          <p:spPr bwMode="auto">
            <a:xfrm>
              <a:off x="5280026" y="3538538"/>
              <a:ext cx="160338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39" name="íŝľíḋê">
              <a:extLst>
                <a:ext uri="{FF2B5EF4-FFF2-40B4-BE49-F238E27FC236}">
                  <a16:creationId xmlns:a16="http://schemas.microsoft.com/office/drawing/2014/main" xmlns="" id="{2CFB5932-F026-4E9C-8E58-38F67AEFBFAA}"/>
                </a:ext>
              </a:extLst>
            </p:cNvPr>
            <p:cNvSpPr/>
            <p:nvPr userDrawn="1"/>
          </p:nvSpPr>
          <p:spPr bwMode="auto">
            <a:xfrm>
              <a:off x="5397501" y="347027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0" name="ïśḷîḋè">
              <a:extLst>
                <a:ext uri="{FF2B5EF4-FFF2-40B4-BE49-F238E27FC236}">
                  <a16:creationId xmlns:a16="http://schemas.microsoft.com/office/drawing/2014/main" xmlns="" id="{2849020C-65EF-40EE-B01E-A324E8C0393B}"/>
                </a:ext>
              </a:extLst>
            </p:cNvPr>
            <p:cNvSpPr/>
            <p:nvPr userDrawn="1"/>
          </p:nvSpPr>
          <p:spPr bwMode="auto">
            <a:xfrm>
              <a:off x="5516563" y="34004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1" name="iSḷíḍê">
              <a:extLst>
                <a:ext uri="{FF2B5EF4-FFF2-40B4-BE49-F238E27FC236}">
                  <a16:creationId xmlns:a16="http://schemas.microsoft.com/office/drawing/2014/main" xmlns="" id="{052D2746-C34D-46B4-959C-5957345B5138}"/>
                </a:ext>
              </a:extLst>
            </p:cNvPr>
            <p:cNvSpPr/>
            <p:nvPr userDrawn="1"/>
          </p:nvSpPr>
          <p:spPr bwMode="auto">
            <a:xfrm>
              <a:off x="5635626" y="33321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2" name="iŝlîďê">
              <a:extLst>
                <a:ext uri="{FF2B5EF4-FFF2-40B4-BE49-F238E27FC236}">
                  <a16:creationId xmlns:a16="http://schemas.microsoft.com/office/drawing/2014/main" xmlns="" id="{87C788F5-FBF3-4651-B39F-2C4F3654B9C3}"/>
                </a:ext>
              </a:extLst>
            </p:cNvPr>
            <p:cNvSpPr/>
            <p:nvPr userDrawn="1"/>
          </p:nvSpPr>
          <p:spPr bwMode="auto">
            <a:xfrm>
              <a:off x="5757863" y="3265488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4" y="22"/>
                    <a:pt x="9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3" name="ïṥḷïḑé">
              <a:extLst>
                <a:ext uri="{FF2B5EF4-FFF2-40B4-BE49-F238E27FC236}">
                  <a16:creationId xmlns:a16="http://schemas.microsoft.com/office/drawing/2014/main" xmlns="" id="{F8E0A08D-9D0C-4AC9-8936-DE60BD85E712}"/>
                </a:ext>
              </a:extLst>
            </p:cNvPr>
            <p:cNvSpPr/>
            <p:nvPr userDrawn="1"/>
          </p:nvSpPr>
          <p:spPr bwMode="auto">
            <a:xfrm>
              <a:off x="5876926" y="3195638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4" name="íSḻïḋe">
              <a:extLst>
                <a:ext uri="{FF2B5EF4-FFF2-40B4-BE49-F238E27FC236}">
                  <a16:creationId xmlns:a16="http://schemas.microsoft.com/office/drawing/2014/main" xmlns="" id="{77DBBF90-D120-4EEC-AEA9-EADD4B2A9595}"/>
                </a:ext>
              </a:extLst>
            </p:cNvPr>
            <p:cNvSpPr/>
            <p:nvPr userDrawn="1"/>
          </p:nvSpPr>
          <p:spPr bwMode="auto">
            <a:xfrm>
              <a:off x="5995988" y="3127376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5" name="iśḻídè">
              <a:extLst>
                <a:ext uri="{FF2B5EF4-FFF2-40B4-BE49-F238E27FC236}">
                  <a16:creationId xmlns:a16="http://schemas.microsoft.com/office/drawing/2014/main" xmlns="" id="{2EFBC022-C54C-4A34-9586-DC16C4740EB6}"/>
                </a:ext>
              </a:extLst>
            </p:cNvPr>
            <p:cNvSpPr/>
            <p:nvPr userDrawn="1"/>
          </p:nvSpPr>
          <p:spPr bwMode="auto">
            <a:xfrm>
              <a:off x="6113463" y="3057526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6" name="ïṥḷiḓe">
              <a:extLst>
                <a:ext uri="{FF2B5EF4-FFF2-40B4-BE49-F238E27FC236}">
                  <a16:creationId xmlns:a16="http://schemas.microsoft.com/office/drawing/2014/main" xmlns="" id="{C737FC90-9505-4F09-8445-00A1AB303405}"/>
                </a:ext>
              </a:extLst>
            </p:cNvPr>
            <p:cNvSpPr/>
            <p:nvPr userDrawn="1"/>
          </p:nvSpPr>
          <p:spPr bwMode="auto">
            <a:xfrm>
              <a:off x="6180138" y="2989263"/>
              <a:ext cx="217488" cy="125413"/>
            </a:xfrm>
            <a:custGeom>
              <a:avLst/>
              <a:gdLst>
                <a:gd name="T0" fmla="*/ 66 w 66"/>
                <a:gd name="T1" fmla="*/ 14 h 38"/>
                <a:gd name="T2" fmla="*/ 25 w 66"/>
                <a:gd name="T3" fmla="*/ 38 h 38"/>
                <a:gd name="T4" fmla="*/ 0 w 66"/>
                <a:gd name="T5" fmla="*/ 24 h 38"/>
                <a:gd name="T6" fmla="*/ 41 w 66"/>
                <a:gd name="T7" fmla="*/ 0 h 38"/>
                <a:gd name="T8" fmla="*/ 66 w 66"/>
                <a:gd name="T9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8">
                  <a:moveTo>
                    <a:pt x="66" y="14"/>
                  </a:moveTo>
                  <a:cubicBezTo>
                    <a:pt x="49" y="24"/>
                    <a:pt x="41" y="29"/>
                    <a:pt x="25" y="38"/>
                  </a:cubicBezTo>
                  <a:cubicBezTo>
                    <a:pt x="15" y="32"/>
                    <a:pt x="10" y="30"/>
                    <a:pt x="0" y="24"/>
                  </a:cubicBezTo>
                  <a:cubicBezTo>
                    <a:pt x="16" y="14"/>
                    <a:pt x="25" y="10"/>
                    <a:pt x="41" y="0"/>
                  </a:cubicBezTo>
                  <a:cubicBezTo>
                    <a:pt x="51" y="6"/>
                    <a:pt x="56" y="9"/>
                    <a:pt x="66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7" name="íśḻíḋé">
              <a:extLst>
                <a:ext uri="{FF2B5EF4-FFF2-40B4-BE49-F238E27FC236}">
                  <a16:creationId xmlns:a16="http://schemas.microsoft.com/office/drawing/2014/main" xmlns="" id="{63645399-9020-4997-BD69-DECA4C517BF3}"/>
                </a:ext>
              </a:extLst>
            </p:cNvPr>
            <p:cNvSpPr/>
            <p:nvPr userDrawn="1"/>
          </p:nvSpPr>
          <p:spPr bwMode="auto">
            <a:xfrm>
              <a:off x="5035551" y="3779838"/>
              <a:ext cx="214313" cy="122238"/>
            </a:xfrm>
            <a:custGeom>
              <a:avLst/>
              <a:gdLst>
                <a:gd name="T0" fmla="*/ 65 w 65"/>
                <a:gd name="T1" fmla="*/ 14 h 37"/>
                <a:gd name="T2" fmla="*/ 25 w 65"/>
                <a:gd name="T3" fmla="*/ 37 h 37"/>
                <a:gd name="T4" fmla="*/ 0 w 65"/>
                <a:gd name="T5" fmla="*/ 23 h 37"/>
                <a:gd name="T6" fmla="*/ 41 w 65"/>
                <a:gd name="T7" fmla="*/ 0 h 37"/>
                <a:gd name="T8" fmla="*/ 65 w 65"/>
                <a:gd name="T9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7">
                  <a:moveTo>
                    <a:pt x="65" y="14"/>
                  </a:moveTo>
                  <a:cubicBezTo>
                    <a:pt x="49" y="23"/>
                    <a:pt x="41" y="28"/>
                    <a:pt x="25" y="37"/>
                  </a:cubicBezTo>
                  <a:cubicBezTo>
                    <a:pt x="15" y="31"/>
                    <a:pt x="10" y="29"/>
                    <a:pt x="0" y="23"/>
                  </a:cubicBezTo>
                  <a:cubicBezTo>
                    <a:pt x="16" y="14"/>
                    <a:pt x="24" y="9"/>
                    <a:pt x="41" y="0"/>
                  </a:cubicBezTo>
                  <a:cubicBezTo>
                    <a:pt x="50" y="5"/>
                    <a:pt x="55" y="8"/>
                    <a:pt x="65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8" name="iṧḷîḍê">
              <a:extLst>
                <a:ext uri="{FF2B5EF4-FFF2-40B4-BE49-F238E27FC236}">
                  <a16:creationId xmlns:a16="http://schemas.microsoft.com/office/drawing/2014/main" xmlns="" id="{0504AEA2-1EED-44F4-892F-FE0714068430}"/>
                </a:ext>
              </a:extLst>
            </p:cNvPr>
            <p:cNvSpPr/>
            <p:nvPr userDrawn="1"/>
          </p:nvSpPr>
          <p:spPr bwMode="auto">
            <a:xfrm>
              <a:off x="5154613" y="3740151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49" name="iSḷiḋe">
              <a:extLst>
                <a:ext uri="{FF2B5EF4-FFF2-40B4-BE49-F238E27FC236}">
                  <a16:creationId xmlns:a16="http://schemas.microsoft.com/office/drawing/2014/main" xmlns="" id="{0759C63C-75AE-46C9-9559-00C8F6A0667B}"/>
                </a:ext>
              </a:extLst>
            </p:cNvPr>
            <p:cNvSpPr/>
            <p:nvPr userDrawn="1"/>
          </p:nvSpPr>
          <p:spPr bwMode="auto">
            <a:xfrm>
              <a:off x="5272088" y="36718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0" name="í$ḷîḍe">
              <a:extLst>
                <a:ext uri="{FF2B5EF4-FFF2-40B4-BE49-F238E27FC236}">
                  <a16:creationId xmlns:a16="http://schemas.microsoft.com/office/drawing/2014/main" xmlns="" id="{E76C9A2E-4F3B-441D-B2E5-7DB330F98532}"/>
                </a:ext>
              </a:extLst>
            </p:cNvPr>
            <p:cNvSpPr/>
            <p:nvPr userDrawn="1"/>
          </p:nvSpPr>
          <p:spPr bwMode="auto">
            <a:xfrm>
              <a:off x="5391151" y="3602038"/>
              <a:ext cx="165100" cy="95250"/>
            </a:xfrm>
            <a:custGeom>
              <a:avLst/>
              <a:gdLst>
                <a:gd name="T0" fmla="*/ 50 w 50"/>
                <a:gd name="T1" fmla="*/ 14 h 29"/>
                <a:gd name="T2" fmla="*/ 25 w 50"/>
                <a:gd name="T3" fmla="*/ 29 h 29"/>
                <a:gd name="T4" fmla="*/ 0 w 50"/>
                <a:gd name="T5" fmla="*/ 15 h 29"/>
                <a:gd name="T6" fmla="*/ 25 w 50"/>
                <a:gd name="T7" fmla="*/ 0 h 29"/>
                <a:gd name="T8" fmla="*/ 50 w 50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50" y="14"/>
                  </a:moveTo>
                  <a:cubicBezTo>
                    <a:pt x="40" y="20"/>
                    <a:pt x="35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1" name="ïṧļîḑè">
              <a:extLst>
                <a:ext uri="{FF2B5EF4-FFF2-40B4-BE49-F238E27FC236}">
                  <a16:creationId xmlns:a16="http://schemas.microsoft.com/office/drawing/2014/main" xmlns="" id="{BD4FB953-25CB-44C1-A46C-67F098E34045}"/>
                </a:ext>
              </a:extLst>
            </p:cNvPr>
            <p:cNvSpPr/>
            <p:nvPr userDrawn="1"/>
          </p:nvSpPr>
          <p:spPr bwMode="auto">
            <a:xfrm>
              <a:off x="5513388" y="35353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2" name="iṧḷîḑè">
              <a:extLst>
                <a:ext uri="{FF2B5EF4-FFF2-40B4-BE49-F238E27FC236}">
                  <a16:creationId xmlns:a16="http://schemas.microsoft.com/office/drawing/2014/main" xmlns="" id="{4854D00D-3AFD-41C2-8D62-B919A14A859A}"/>
                </a:ext>
              </a:extLst>
            </p:cNvPr>
            <p:cNvSpPr/>
            <p:nvPr userDrawn="1"/>
          </p:nvSpPr>
          <p:spPr bwMode="auto">
            <a:xfrm>
              <a:off x="5632451" y="34671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3" name="îSḷíďè">
              <a:extLst>
                <a:ext uri="{FF2B5EF4-FFF2-40B4-BE49-F238E27FC236}">
                  <a16:creationId xmlns:a16="http://schemas.microsoft.com/office/drawing/2014/main" xmlns="" id="{AF08EB56-BADC-462F-9CC0-CA0F4D9958A5}"/>
                </a:ext>
              </a:extLst>
            </p:cNvPr>
            <p:cNvSpPr/>
            <p:nvPr userDrawn="1"/>
          </p:nvSpPr>
          <p:spPr bwMode="auto">
            <a:xfrm>
              <a:off x="5751513" y="339725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4" name="íṩḻiḋe">
              <a:extLst>
                <a:ext uri="{FF2B5EF4-FFF2-40B4-BE49-F238E27FC236}">
                  <a16:creationId xmlns:a16="http://schemas.microsoft.com/office/drawing/2014/main" xmlns="" id="{70D8DBFF-330E-431C-9882-580151808774}"/>
                </a:ext>
              </a:extLst>
            </p:cNvPr>
            <p:cNvSpPr/>
            <p:nvPr userDrawn="1"/>
          </p:nvSpPr>
          <p:spPr bwMode="auto">
            <a:xfrm>
              <a:off x="5870576" y="3328988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5" name="ïšlîďé">
              <a:extLst>
                <a:ext uri="{FF2B5EF4-FFF2-40B4-BE49-F238E27FC236}">
                  <a16:creationId xmlns:a16="http://schemas.microsoft.com/office/drawing/2014/main" xmlns="" id="{F0B06081-1B14-41F3-8267-14EE83569D29}"/>
                </a:ext>
              </a:extLst>
            </p:cNvPr>
            <p:cNvSpPr/>
            <p:nvPr userDrawn="1"/>
          </p:nvSpPr>
          <p:spPr bwMode="auto">
            <a:xfrm>
              <a:off x="5992813" y="3259138"/>
              <a:ext cx="160338" cy="95250"/>
            </a:xfrm>
            <a:custGeom>
              <a:avLst/>
              <a:gdLst>
                <a:gd name="T0" fmla="*/ 49 w 49"/>
                <a:gd name="T1" fmla="*/ 14 h 29"/>
                <a:gd name="T2" fmla="*/ 24 w 49"/>
                <a:gd name="T3" fmla="*/ 29 h 29"/>
                <a:gd name="T4" fmla="*/ 0 w 49"/>
                <a:gd name="T5" fmla="*/ 14 h 29"/>
                <a:gd name="T6" fmla="*/ 24 w 49"/>
                <a:gd name="T7" fmla="*/ 0 h 29"/>
                <a:gd name="T8" fmla="*/ 49 w 4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4"/>
                  </a:moveTo>
                  <a:cubicBezTo>
                    <a:pt x="39" y="20"/>
                    <a:pt x="34" y="23"/>
                    <a:pt x="24" y="29"/>
                  </a:cubicBezTo>
                  <a:cubicBezTo>
                    <a:pt x="14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6" name="íŝḻïḍè">
              <a:extLst>
                <a:ext uri="{FF2B5EF4-FFF2-40B4-BE49-F238E27FC236}">
                  <a16:creationId xmlns:a16="http://schemas.microsoft.com/office/drawing/2014/main" xmlns="" id="{6768B963-8ED7-4AF5-A32D-A6F7201EAE69}"/>
                </a:ext>
              </a:extLst>
            </p:cNvPr>
            <p:cNvSpPr/>
            <p:nvPr userDrawn="1"/>
          </p:nvSpPr>
          <p:spPr bwMode="auto">
            <a:xfrm>
              <a:off x="6110288" y="31924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7" name="iṡlíḍé">
              <a:extLst>
                <a:ext uri="{FF2B5EF4-FFF2-40B4-BE49-F238E27FC236}">
                  <a16:creationId xmlns:a16="http://schemas.microsoft.com/office/drawing/2014/main" xmlns="" id="{07449BEF-3525-4184-B14D-2B68C413A5E5}"/>
                </a:ext>
              </a:extLst>
            </p:cNvPr>
            <p:cNvSpPr/>
            <p:nvPr userDrawn="1"/>
          </p:nvSpPr>
          <p:spPr bwMode="auto">
            <a:xfrm>
              <a:off x="6229351" y="31242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8" name="ïṥļíḋe">
              <a:extLst>
                <a:ext uri="{FF2B5EF4-FFF2-40B4-BE49-F238E27FC236}">
                  <a16:creationId xmlns:a16="http://schemas.microsoft.com/office/drawing/2014/main" xmlns="" id="{B7F97C25-0CAA-4C74-8290-7E64B52F3A4D}"/>
                </a:ext>
              </a:extLst>
            </p:cNvPr>
            <p:cNvSpPr/>
            <p:nvPr userDrawn="1"/>
          </p:nvSpPr>
          <p:spPr bwMode="auto">
            <a:xfrm>
              <a:off x="6348413" y="3054351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59" name="íşlíḋê">
              <a:extLst>
                <a:ext uri="{FF2B5EF4-FFF2-40B4-BE49-F238E27FC236}">
                  <a16:creationId xmlns:a16="http://schemas.microsoft.com/office/drawing/2014/main" xmlns="" id="{59AF981D-BB7D-47E4-AE8A-EDA3F4B3F229}"/>
                </a:ext>
              </a:extLst>
            </p:cNvPr>
            <p:cNvSpPr/>
            <p:nvPr userDrawn="1"/>
          </p:nvSpPr>
          <p:spPr bwMode="auto">
            <a:xfrm>
              <a:off x="5149851" y="3875088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4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9" y="8"/>
                    <a:pt x="14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0" name="iṧļíďê">
              <a:extLst>
                <a:ext uri="{FF2B5EF4-FFF2-40B4-BE49-F238E27FC236}">
                  <a16:creationId xmlns:a16="http://schemas.microsoft.com/office/drawing/2014/main" xmlns="" id="{3701D0D6-69F1-481C-9CAF-50D6DFA8111C}"/>
                </a:ext>
              </a:extLst>
            </p:cNvPr>
            <p:cNvSpPr/>
            <p:nvPr userDrawn="1"/>
          </p:nvSpPr>
          <p:spPr bwMode="auto">
            <a:xfrm>
              <a:off x="5268913" y="38068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19"/>
                    <a:pt x="34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1" name="iṩḻídê">
              <a:extLst>
                <a:ext uri="{FF2B5EF4-FFF2-40B4-BE49-F238E27FC236}">
                  <a16:creationId xmlns:a16="http://schemas.microsoft.com/office/drawing/2014/main" xmlns="" id="{EC5A4682-6643-4315-827C-2667C52385DD}"/>
                </a:ext>
              </a:extLst>
            </p:cNvPr>
            <p:cNvSpPr/>
            <p:nvPr userDrawn="1"/>
          </p:nvSpPr>
          <p:spPr bwMode="auto">
            <a:xfrm>
              <a:off x="5387976" y="373697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2" name="íşḷíḋé">
              <a:extLst>
                <a:ext uri="{FF2B5EF4-FFF2-40B4-BE49-F238E27FC236}">
                  <a16:creationId xmlns:a16="http://schemas.microsoft.com/office/drawing/2014/main" xmlns="" id="{B4AE5AC7-8205-4BD0-8DF5-7673426AD618}"/>
                </a:ext>
              </a:extLst>
            </p:cNvPr>
            <p:cNvSpPr/>
            <p:nvPr userDrawn="1"/>
          </p:nvSpPr>
          <p:spPr bwMode="auto">
            <a:xfrm>
              <a:off x="5507038" y="3667126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3" name="íşḻíḋé">
              <a:extLst>
                <a:ext uri="{FF2B5EF4-FFF2-40B4-BE49-F238E27FC236}">
                  <a16:creationId xmlns:a16="http://schemas.microsoft.com/office/drawing/2014/main" xmlns="" id="{A6F33C3F-FEE7-4816-90B3-CD1058C4361C}"/>
                </a:ext>
              </a:extLst>
            </p:cNvPr>
            <p:cNvSpPr/>
            <p:nvPr userDrawn="1"/>
          </p:nvSpPr>
          <p:spPr bwMode="auto">
            <a:xfrm>
              <a:off x="5629276" y="35988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4" y="23"/>
                    <a:pt x="9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4" name="îśļiḋê">
              <a:extLst>
                <a:ext uri="{FF2B5EF4-FFF2-40B4-BE49-F238E27FC236}">
                  <a16:creationId xmlns:a16="http://schemas.microsoft.com/office/drawing/2014/main" xmlns="" id="{E17B8C68-C7E3-4894-AFD7-EC46F86F6830}"/>
                </a:ext>
              </a:extLst>
            </p:cNvPr>
            <p:cNvSpPr/>
            <p:nvPr userDrawn="1"/>
          </p:nvSpPr>
          <p:spPr bwMode="auto">
            <a:xfrm>
              <a:off x="5748338" y="3529013"/>
              <a:ext cx="161925" cy="95250"/>
            </a:xfrm>
            <a:custGeom>
              <a:avLst/>
              <a:gdLst>
                <a:gd name="T0" fmla="*/ 49 w 49"/>
                <a:gd name="T1" fmla="*/ 15 h 29"/>
                <a:gd name="T2" fmla="*/ 25 w 49"/>
                <a:gd name="T3" fmla="*/ 29 h 29"/>
                <a:gd name="T4" fmla="*/ 0 w 49"/>
                <a:gd name="T5" fmla="*/ 15 h 29"/>
                <a:gd name="T6" fmla="*/ 24 w 49"/>
                <a:gd name="T7" fmla="*/ 0 h 29"/>
                <a:gd name="T8" fmla="*/ 49 w 49"/>
                <a:gd name="T9" fmla="*/ 1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9" y="15"/>
                  </a:moveTo>
                  <a:cubicBezTo>
                    <a:pt x="39" y="20"/>
                    <a:pt x="34" y="23"/>
                    <a:pt x="25" y="29"/>
                  </a:cubicBezTo>
                  <a:cubicBezTo>
                    <a:pt x="15" y="23"/>
                    <a:pt x="10" y="20"/>
                    <a:pt x="0" y="15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5" name="ísľïḑé">
              <a:extLst>
                <a:ext uri="{FF2B5EF4-FFF2-40B4-BE49-F238E27FC236}">
                  <a16:creationId xmlns:a16="http://schemas.microsoft.com/office/drawing/2014/main" xmlns="" id="{C29F56FB-6FD4-4508-AE02-C88D72570290}"/>
                </a:ext>
              </a:extLst>
            </p:cNvPr>
            <p:cNvSpPr/>
            <p:nvPr userDrawn="1"/>
          </p:nvSpPr>
          <p:spPr bwMode="auto">
            <a:xfrm>
              <a:off x="5867401" y="3463926"/>
              <a:ext cx="160338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6" name="ïṣľíḋe">
              <a:extLst>
                <a:ext uri="{FF2B5EF4-FFF2-40B4-BE49-F238E27FC236}">
                  <a16:creationId xmlns:a16="http://schemas.microsoft.com/office/drawing/2014/main" xmlns="" id="{FCD58FA2-DA65-4756-986A-D901A7638C45}"/>
                </a:ext>
              </a:extLst>
            </p:cNvPr>
            <p:cNvSpPr/>
            <p:nvPr userDrawn="1"/>
          </p:nvSpPr>
          <p:spPr bwMode="auto">
            <a:xfrm>
              <a:off x="5984876" y="3394076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7" name="îṣľîdè">
              <a:extLst>
                <a:ext uri="{FF2B5EF4-FFF2-40B4-BE49-F238E27FC236}">
                  <a16:creationId xmlns:a16="http://schemas.microsoft.com/office/drawing/2014/main" xmlns="" id="{29E2467B-EB4F-4EAF-A3B0-1EC27BE2030A}"/>
                </a:ext>
              </a:extLst>
            </p:cNvPr>
            <p:cNvSpPr/>
            <p:nvPr userDrawn="1"/>
          </p:nvSpPr>
          <p:spPr bwMode="auto">
            <a:xfrm>
              <a:off x="6103938" y="3324226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8" name="îşḷîdè">
              <a:extLst>
                <a:ext uri="{FF2B5EF4-FFF2-40B4-BE49-F238E27FC236}">
                  <a16:creationId xmlns:a16="http://schemas.microsoft.com/office/drawing/2014/main" xmlns="" id="{4D8CB289-5010-4364-86DA-6AC5A05223B6}"/>
                </a:ext>
              </a:extLst>
            </p:cNvPr>
            <p:cNvSpPr/>
            <p:nvPr userDrawn="1"/>
          </p:nvSpPr>
          <p:spPr bwMode="auto">
            <a:xfrm>
              <a:off x="6226176" y="325596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4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9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69" name="iŝļïďé">
              <a:extLst>
                <a:ext uri="{FF2B5EF4-FFF2-40B4-BE49-F238E27FC236}">
                  <a16:creationId xmlns:a16="http://schemas.microsoft.com/office/drawing/2014/main" xmlns="" id="{CC61DE50-5B19-4815-B1E8-ADBD405FD1BF}"/>
                </a:ext>
              </a:extLst>
            </p:cNvPr>
            <p:cNvSpPr/>
            <p:nvPr userDrawn="1"/>
          </p:nvSpPr>
          <p:spPr bwMode="auto">
            <a:xfrm>
              <a:off x="6345238" y="3157538"/>
              <a:ext cx="214313" cy="123825"/>
            </a:xfrm>
            <a:custGeom>
              <a:avLst/>
              <a:gdLst>
                <a:gd name="T0" fmla="*/ 65 w 65"/>
                <a:gd name="T1" fmla="*/ 15 h 38"/>
                <a:gd name="T2" fmla="*/ 25 w 65"/>
                <a:gd name="T3" fmla="*/ 38 h 38"/>
                <a:gd name="T4" fmla="*/ 0 w 65"/>
                <a:gd name="T5" fmla="*/ 24 h 38"/>
                <a:gd name="T6" fmla="*/ 40 w 65"/>
                <a:gd name="T7" fmla="*/ 0 h 38"/>
                <a:gd name="T8" fmla="*/ 65 w 65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8">
                  <a:moveTo>
                    <a:pt x="65" y="15"/>
                  </a:moveTo>
                  <a:cubicBezTo>
                    <a:pt x="49" y="24"/>
                    <a:pt x="41" y="28"/>
                    <a:pt x="25" y="38"/>
                  </a:cubicBezTo>
                  <a:cubicBezTo>
                    <a:pt x="15" y="32"/>
                    <a:pt x="10" y="29"/>
                    <a:pt x="0" y="24"/>
                  </a:cubicBezTo>
                  <a:cubicBezTo>
                    <a:pt x="16" y="14"/>
                    <a:pt x="24" y="10"/>
                    <a:pt x="40" y="0"/>
                  </a:cubicBezTo>
                  <a:cubicBezTo>
                    <a:pt x="50" y="6"/>
                    <a:pt x="55" y="9"/>
                    <a:pt x="65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0" name="isliďê">
              <a:extLst>
                <a:ext uri="{FF2B5EF4-FFF2-40B4-BE49-F238E27FC236}">
                  <a16:creationId xmlns:a16="http://schemas.microsoft.com/office/drawing/2014/main" xmlns="" id="{66CD73FC-6680-4667-8838-A37B23C24114}"/>
                </a:ext>
              </a:extLst>
            </p:cNvPr>
            <p:cNvSpPr/>
            <p:nvPr userDrawn="1"/>
          </p:nvSpPr>
          <p:spPr bwMode="auto">
            <a:xfrm>
              <a:off x="6464301" y="3121026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5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1" name="íṩliḍé">
              <a:extLst>
                <a:ext uri="{FF2B5EF4-FFF2-40B4-BE49-F238E27FC236}">
                  <a16:creationId xmlns:a16="http://schemas.microsoft.com/office/drawing/2014/main" xmlns="" id="{891BBBF5-14B6-408B-8A85-C353FD3FD4D3}"/>
                </a:ext>
              </a:extLst>
            </p:cNvPr>
            <p:cNvSpPr/>
            <p:nvPr userDrawn="1"/>
          </p:nvSpPr>
          <p:spPr bwMode="auto">
            <a:xfrm>
              <a:off x="5280026" y="3948113"/>
              <a:ext cx="163513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2"/>
                    <a:pt x="25" y="28"/>
                  </a:cubicBezTo>
                  <a:cubicBezTo>
                    <a:pt x="15" y="22"/>
                    <a:pt x="10" y="20"/>
                    <a:pt x="0" y="14"/>
                  </a:cubicBezTo>
                  <a:cubicBezTo>
                    <a:pt x="10" y="8"/>
                    <a:pt x="15" y="6"/>
                    <a:pt x="25" y="0"/>
                  </a:cubicBezTo>
                  <a:cubicBezTo>
                    <a:pt x="35" y="6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2" name="išḷïḓé">
              <a:extLst>
                <a:ext uri="{FF2B5EF4-FFF2-40B4-BE49-F238E27FC236}">
                  <a16:creationId xmlns:a16="http://schemas.microsoft.com/office/drawing/2014/main" xmlns="" id="{4EEDCCC2-FFA2-4A82-8BB7-8F4D97D60BC8}"/>
                </a:ext>
              </a:extLst>
            </p:cNvPr>
            <p:cNvSpPr/>
            <p:nvPr userDrawn="1"/>
          </p:nvSpPr>
          <p:spPr bwMode="auto">
            <a:xfrm>
              <a:off x="5397501" y="3878263"/>
              <a:ext cx="165100" cy="93663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20"/>
                    <a:pt x="35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5" y="6"/>
                    <a:pt x="25" y="0"/>
                  </a:cubicBezTo>
                  <a:cubicBezTo>
                    <a:pt x="35" y="6"/>
                    <a:pt x="40" y="9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3" name="íšliḍè">
              <a:extLst>
                <a:ext uri="{FF2B5EF4-FFF2-40B4-BE49-F238E27FC236}">
                  <a16:creationId xmlns:a16="http://schemas.microsoft.com/office/drawing/2014/main" xmlns="" id="{69169249-3AAD-4713-B38C-86B4E68B9E35}"/>
                </a:ext>
              </a:extLst>
            </p:cNvPr>
            <p:cNvSpPr/>
            <p:nvPr userDrawn="1"/>
          </p:nvSpPr>
          <p:spPr bwMode="auto">
            <a:xfrm>
              <a:off x="5519738" y="3810001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9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4" name="iṥ1iďê">
              <a:extLst>
                <a:ext uri="{FF2B5EF4-FFF2-40B4-BE49-F238E27FC236}">
                  <a16:creationId xmlns:a16="http://schemas.microsoft.com/office/drawing/2014/main" xmlns="" id="{F6C5F925-F1FC-4446-BAF5-AF3E36DB6C37}"/>
                </a:ext>
              </a:extLst>
            </p:cNvPr>
            <p:cNvSpPr/>
            <p:nvPr userDrawn="1"/>
          </p:nvSpPr>
          <p:spPr bwMode="auto">
            <a:xfrm>
              <a:off x="5638801" y="3397251"/>
              <a:ext cx="758825" cy="438150"/>
            </a:xfrm>
            <a:custGeom>
              <a:avLst/>
              <a:gdLst>
                <a:gd name="T0" fmla="*/ 230 w 230"/>
                <a:gd name="T1" fmla="*/ 15 h 133"/>
                <a:gd name="T2" fmla="*/ 25 w 230"/>
                <a:gd name="T3" fmla="*/ 133 h 133"/>
                <a:gd name="T4" fmla="*/ 0 w 230"/>
                <a:gd name="T5" fmla="*/ 119 h 133"/>
                <a:gd name="T6" fmla="*/ 206 w 230"/>
                <a:gd name="T7" fmla="*/ 0 h 133"/>
                <a:gd name="T8" fmla="*/ 230 w 230"/>
                <a:gd name="T9" fmla="*/ 1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133">
                  <a:moveTo>
                    <a:pt x="230" y="15"/>
                  </a:moveTo>
                  <a:cubicBezTo>
                    <a:pt x="162" y="54"/>
                    <a:pt x="93" y="93"/>
                    <a:pt x="25" y="133"/>
                  </a:cubicBezTo>
                  <a:cubicBezTo>
                    <a:pt x="15" y="127"/>
                    <a:pt x="10" y="124"/>
                    <a:pt x="0" y="119"/>
                  </a:cubicBezTo>
                  <a:cubicBezTo>
                    <a:pt x="68" y="79"/>
                    <a:pt x="137" y="40"/>
                    <a:pt x="206" y="0"/>
                  </a:cubicBezTo>
                  <a:cubicBezTo>
                    <a:pt x="216" y="6"/>
                    <a:pt x="221" y="9"/>
                    <a:pt x="230" y="15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5" name="iSḷîḋe">
              <a:extLst>
                <a:ext uri="{FF2B5EF4-FFF2-40B4-BE49-F238E27FC236}">
                  <a16:creationId xmlns:a16="http://schemas.microsoft.com/office/drawing/2014/main" xmlns="" id="{7D4E4A3A-5DC8-48D7-8400-D730F397CDA4}"/>
                </a:ext>
              </a:extLst>
            </p:cNvPr>
            <p:cNvSpPr/>
            <p:nvPr userDrawn="1"/>
          </p:nvSpPr>
          <p:spPr bwMode="auto">
            <a:xfrm>
              <a:off x="6354763" y="3332163"/>
              <a:ext cx="165100" cy="92075"/>
            </a:xfrm>
            <a:custGeom>
              <a:avLst/>
              <a:gdLst>
                <a:gd name="T0" fmla="*/ 50 w 50"/>
                <a:gd name="T1" fmla="*/ 14 h 28"/>
                <a:gd name="T2" fmla="*/ 25 w 50"/>
                <a:gd name="T3" fmla="*/ 28 h 28"/>
                <a:gd name="T4" fmla="*/ 0 w 50"/>
                <a:gd name="T5" fmla="*/ 14 h 28"/>
                <a:gd name="T6" fmla="*/ 25 w 50"/>
                <a:gd name="T7" fmla="*/ 0 h 28"/>
                <a:gd name="T8" fmla="*/ 50 w 5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8">
                  <a:moveTo>
                    <a:pt x="50" y="14"/>
                  </a:moveTo>
                  <a:cubicBezTo>
                    <a:pt x="40" y="19"/>
                    <a:pt x="35" y="22"/>
                    <a:pt x="25" y="28"/>
                  </a:cubicBezTo>
                  <a:cubicBezTo>
                    <a:pt x="15" y="22"/>
                    <a:pt x="10" y="19"/>
                    <a:pt x="0" y="14"/>
                  </a:cubicBezTo>
                  <a:cubicBezTo>
                    <a:pt x="10" y="8"/>
                    <a:pt x="15" y="5"/>
                    <a:pt x="25" y="0"/>
                  </a:cubicBezTo>
                  <a:cubicBezTo>
                    <a:pt x="35" y="5"/>
                    <a:pt x="40" y="8"/>
                    <a:pt x="50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6" name="ïṥḷíḍé">
              <a:extLst>
                <a:ext uri="{FF2B5EF4-FFF2-40B4-BE49-F238E27FC236}">
                  <a16:creationId xmlns:a16="http://schemas.microsoft.com/office/drawing/2014/main" xmlns="" id="{F037EA49-B366-4DF4-84CF-13FB1D6856A4}"/>
                </a:ext>
              </a:extLst>
            </p:cNvPr>
            <p:cNvSpPr/>
            <p:nvPr userDrawn="1"/>
          </p:nvSpPr>
          <p:spPr bwMode="auto">
            <a:xfrm>
              <a:off x="6477001" y="3262313"/>
              <a:ext cx="161925" cy="92075"/>
            </a:xfrm>
            <a:custGeom>
              <a:avLst/>
              <a:gdLst>
                <a:gd name="T0" fmla="*/ 49 w 49"/>
                <a:gd name="T1" fmla="*/ 14 h 28"/>
                <a:gd name="T2" fmla="*/ 24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2"/>
                    <a:pt x="24" y="28"/>
                  </a:cubicBezTo>
                  <a:cubicBezTo>
                    <a:pt x="14" y="22"/>
                    <a:pt x="9" y="20"/>
                    <a:pt x="0" y="14"/>
                  </a:cubicBezTo>
                  <a:cubicBezTo>
                    <a:pt x="9" y="8"/>
                    <a:pt x="14" y="6"/>
                    <a:pt x="24" y="0"/>
                  </a:cubicBezTo>
                  <a:cubicBezTo>
                    <a:pt x="34" y="5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7" name="iṩļiḑe">
              <a:extLst>
                <a:ext uri="{FF2B5EF4-FFF2-40B4-BE49-F238E27FC236}">
                  <a16:creationId xmlns:a16="http://schemas.microsoft.com/office/drawing/2014/main" xmlns="" id="{86128F69-38BD-46F7-81C5-E4D0DD565B24}"/>
                </a:ext>
              </a:extLst>
            </p:cNvPr>
            <p:cNvSpPr/>
            <p:nvPr userDrawn="1"/>
          </p:nvSpPr>
          <p:spPr bwMode="auto">
            <a:xfrm>
              <a:off x="6596063" y="3192463"/>
              <a:ext cx="161925" cy="93663"/>
            </a:xfrm>
            <a:custGeom>
              <a:avLst/>
              <a:gdLst>
                <a:gd name="T0" fmla="*/ 49 w 49"/>
                <a:gd name="T1" fmla="*/ 14 h 28"/>
                <a:gd name="T2" fmla="*/ 25 w 49"/>
                <a:gd name="T3" fmla="*/ 28 h 28"/>
                <a:gd name="T4" fmla="*/ 0 w 49"/>
                <a:gd name="T5" fmla="*/ 14 h 28"/>
                <a:gd name="T6" fmla="*/ 24 w 49"/>
                <a:gd name="T7" fmla="*/ 0 h 28"/>
                <a:gd name="T8" fmla="*/ 49 w 4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8">
                  <a:moveTo>
                    <a:pt x="49" y="14"/>
                  </a:moveTo>
                  <a:cubicBezTo>
                    <a:pt x="39" y="20"/>
                    <a:pt x="34" y="23"/>
                    <a:pt x="25" y="28"/>
                  </a:cubicBezTo>
                  <a:cubicBezTo>
                    <a:pt x="15" y="23"/>
                    <a:pt x="10" y="20"/>
                    <a:pt x="0" y="14"/>
                  </a:cubicBezTo>
                  <a:cubicBezTo>
                    <a:pt x="10" y="9"/>
                    <a:pt x="14" y="6"/>
                    <a:pt x="24" y="0"/>
                  </a:cubicBezTo>
                  <a:cubicBezTo>
                    <a:pt x="34" y="6"/>
                    <a:pt x="39" y="8"/>
                    <a:pt x="49" y="14"/>
                  </a:cubicBez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8" name="ísḻïḑe">
              <a:extLst>
                <a:ext uri="{FF2B5EF4-FFF2-40B4-BE49-F238E27FC236}">
                  <a16:creationId xmlns:a16="http://schemas.microsoft.com/office/drawing/2014/main" xmlns="" id="{FCFAD625-940A-4169-9608-A7D01B3A59F2}"/>
                </a:ext>
              </a:extLst>
            </p:cNvPr>
            <p:cNvSpPr/>
            <p:nvPr userDrawn="1"/>
          </p:nvSpPr>
          <p:spPr bwMode="auto">
            <a:xfrm>
              <a:off x="5843588" y="3546476"/>
              <a:ext cx="877888" cy="517525"/>
            </a:xfrm>
            <a:custGeom>
              <a:avLst/>
              <a:gdLst>
                <a:gd name="T0" fmla="*/ 0 w 553"/>
                <a:gd name="T1" fmla="*/ 203 h 326"/>
                <a:gd name="T2" fmla="*/ 353 w 553"/>
                <a:gd name="T3" fmla="*/ 0 h 326"/>
                <a:gd name="T4" fmla="*/ 553 w 553"/>
                <a:gd name="T5" fmla="*/ 124 h 326"/>
                <a:gd name="T6" fmla="*/ 202 w 553"/>
                <a:gd name="T7" fmla="*/ 326 h 326"/>
                <a:gd name="T8" fmla="*/ 0 w 553"/>
                <a:gd name="T9" fmla="*/ 20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3" h="326">
                  <a:moveTo>
                    <a:pt x="0" y="203"/>
                  </a:moveTo>
                  <a:lnTo>
                    <a:pt x="353" y="0"/>
                  </a:lnTo>
                  <a:lnTo>
                    <a:pt x="553" y="124"/>
                  </a:lnTo>
                  <a:lnTo>
                    <a:pt x="202" y="326"/>
                  </a:lnTo>
                  <a:lnTo>
                    <a:pt x="0" y="203"/>
                  </a:lnTo>
                  <a:close/>
                </a:path>
              </a:pathLst>
            </a:custGeom>
            <a:solidFill>
              <a:srgbClr val="5743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79" name="îşļïdè">
              <a:extLst>
                <a:ext uri="{FF2B5EF4-FFF2-40B4-BE49-F238E27FC236}">
                  <a16:creationId xmlns:a16="http://schemas.microsoft.com/office/drawing/2014/main" xmlns="" id="{DC9BF586-4EE4-4723-ACC0-C5D74B121963}"/>
                </a:ext>
              </a:extLst>
            </p:cNvPr>
            <p:cNvSpPr/>
            <p:nvPr userDrawn="1"/>
          </p:nvSpPr>
          <p:spPr bwMode="auto">
            <a:xfrm>
              <a:off x="5849938" y="2230438"/>
              <a:ext cx="95250" cy="58738"/>
            </a:xfrm>
            <a:custGeom>
              <a:avLst/>
              <a:gdLst>
                <a:gd name="T0" fmla="*/ 0 w 60"/>
                <a:gd name="T1" fmla="*/ 35 h 37"/>
                <a:gd name="T2" fmla="*/ 60 w 60"/>
                <a:gd name="T3" fmla="*/ 0 h 37"/>
                <a:gd name="T4" fmla="*/ 60 w 60"/>
                <a:gd name="T5" fmla="*/ 2 h 37"/>
                <a:gd name="T6" fmla="*/ 0 w 60"/>
                <a:gd name="T7" fmla="*/ 37 h 37"/>
                <a:gd name="T8" fmla="*/ 0 w 60"/>
                <a:gd name="T9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37">
                  <a:moveTo>
                    <a:pt x="0" y="35"/>
                  </a:moveTo>
                  <a:lnTo>
                    <a:pt x="60" y="0"/>
                  </a:lnTo>
                  <a:lnTo>
                    <a:pt x="60" y="2"/>
                  </a:lnTo>
                  <a:lnTo>
                    <a:pt x="0" y="37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0" name="ïsļídè">
              <a:extLst>
                <a:ext uri="{FF2B5EF4-FFF2-40B4-BE49-F238E27FC236}">
                  <a16:creationId xmlns:a16="http://schemas.microsoft.com/office/drawing/2014/main" xmlns="" id="{6DD62C18-9A84-4239-916C-9FF12FB15450}"/>
                </a:ext>
              </a:extLst>
            </p:cNvPr>
            <p:cNvSpPr/>
            <p:nvPr userDrawn="1"/>
          </p:nvSpPr>
          <p:spPr bwMode="auto">
            <a:xfrm>
              <a:off x="5773738" y="2306638"/>
              <a:ext cx="36513" cy="25400"/>
            </a:xfrm>
            <a:custGeom>
              <a:avLst/>
              <a:gdLst>
                <a:gd name="T0" fmla="*/ 0 w 23"/>
                <a:gd name="T1" fmla="*/ 16 h 16"/>
                <a:gd name="T2" fmla="*/ 0 w 23"/>
                <a:gd name="T3" fmla="*/ 14 h 16"/>
                <a:gd name="T4" fmla="*/ 23 w 23"/>
                <a:gd name="T5" fmla="*/ 0 h 16"/>
                <a:gd name="T6" fmla="*/ 21 w 23"/>
                <a:gd name="T7" fmla="*/ 4 h 16"/>
                <a:gd name="T8" fmla="*/ 0 w 2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6">
                  <a:moveTo>
                    <a:pt x="0" y="16"/>
                  </a:moveTo>
                  <a:lnTo>
                    <a:pt x="0" y="14"/>
                  </a:lnTo>
                  <a:lnTo>
                    <a:pt x="23" y="0"/>
                  </a:lnTo>
                  <a:lnTo>
                    <a:pt x="21" y="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1" name="ïṩļîdè">
              <a:extLst>
                <a:ext uri="{FF2B5EF4-FFF2-40B4-BE49-F238E27FC236}">
                  <a16:creationId xmlns:a16="http://schemas.microsoft.com/office/drawing/2014/main" xmlns="" id="{34456401-8251-4B72-9226-D754B4CEBF66}"/>
                </a:ext>
              </a:extLst>
            </p:cNvPr>
            <p:cNvSpPr/>
            <p:nvPr userDrawn="1"/>
          </p:nvSpPr>
          <p:spPr bwMode="auto">
            <a:xfrm>
              <a:off x="5892801" y="2335213"/>
              <a:ext cx="52388" cy="36513"/>
            </a:xfrm>
            <a:custGeom>
              <a:avLst/>
              <a:gdLst>
                <a:gd name="T0" fmla="*/ 0 w 33"/>
                <a:gd name="T1" fmla="*/ 21 h 23"/>
                <a:gd name="T2" fmla="*/ 33 w 33"/>
                <a:gd name="T3" fmla="*/ 0 h 23"/>
                <a:gd name="T4" fmla="*/ 33 w 33"/>
                <a:gd name="T5" fmla="*/ 5 h 23"/>
                <a:gd name="T6" fmla="*/ 2 w 33"/>
                <a:gd name="T7" fmla="*/ 23 h 23"/>
                <a:gd name="T8" fmla="*/ 0 w 33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0" y="21"/>
                  </a:moveTo>
                  <a:lnTo>
                    <a:pt x="33" y="0"/>
                  </a:lnTo>
                  <a:lnTo>
                    <a:pt x="33" y="5"/>
                  </a:lnTo>
                  <a:lnTo>
                    <a:pt x="2" y="23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2" name="ïṧľîḋe">
              <a:extLst>
                <a:ext uri="{FF2B5EF4-FFF2-40B4-BE49-F238E27FC236}">
                  <a16:creationId xmlns:a16="http://schemas.microsoft.com/office/drawing/2014/main" xmlns="" id="{5FC2F762-25D4-4D91-B455-FF6A127507BC}"/>
                </a:ext>
              </a:extLst>
            </p:cNvPr>
            <p:cNvSpPr/>
            <p:nvPr userDrawn="1"/>
          </p:nvSpPr>
          <p:spPr bwMode="auto">
            <a:xfrm>
              <a:off x="5705476" y="2249488"/>
              <a:ext cx="239713" cy="357188"/>
            </a:xfrm>
            <a:custGeom>
              <a:avLst/>
              <a:gdLst>
                <a:gd name="T0" fmla="*/ 120 w 151"/>
                <a:gd name="T1" fmla="*/ 77 h 225"/>
                <a:gd name="T2" fmla="*/ 151 w 151"/>
                <a:gd name="T3" fmla="*/ 137 h 225"/>
                <a:gd name="T4" fmla="*/ 112 w 151"/>
                <a:gd name="T5" fmla="*/ 160 h 225"/>
                <a:gd name="T6" fmla="*/ 0 w 151"/>
                <a:gd name="T7" fmla="*/ 225 h 225"/>
                <a:gd name="T8" fmla="*/ 54 w 151"/>
                <a:gd name="T9" fmla="*/ 69 h 225"/>
                <a:gd name="T10" fmla="*/ 64 w 151"/>
                <a:gd name="T11" fmla="*/ 40 h 225"/>
                <a:gd name="T12" fmla="*/ 66 w 151"/>
                <a:gd name="T13" fmla="*/ 36 h 225"/>
                <a:gd name="T14" fmla="*/ 79 w 151"/>
                <a:gd name="T15" fmla="*/ 0 h 225"/>
                <a:gd name="T16" fmla="*/ 91 w 151"/>
                <a:gd name="T17" fmla="*/ 23 h 225"/>
                <a:gd name="T18" fmla="*/ 91 w 151"/>
                <a:gd name="T19" fmla="*/ 25 h 225"/>
                <a:gd name="T20" fmla="*/ 118 w 151"/>
                <a:gd name="T21" fmla="*/ 75 h 225"/>
                <a:gd name="T22" fmla="*/ 120 w 151"/>
                <a:gd name="T23" fmla="*/ 7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1" h="225">
                  <a:moveTo>
                    <a:pt x="120" y="77"/>
                  </a:moveTo>
                  <a:lnTo>
                    <a:pt x="151" y="137"/>
                  </a:lnTo>
                  <a:lnTo>
                    <a:pt x="112" y="160"/>
                  </a:lnTo>
                  <a:lnTo>
                    <a:pt x="0" y="225"/>
                  </a:lnTo>
                  <a:lnTo>
                    <a:pt x="54" y="69"/>
                  </a:lnTo>
                  <a:lnTo>
                    <a:pt x="64" y="40"/>
                  </a:lnTo>
                  <a:lnTo>
                    <a:pt x="66" y="36"/>
                  </a:lnTo>
                  <a:lnTo>
                    <a:pt x="79" y="0"/>
                  </a:lnTo>
                  <a:lnTo>
                    <a:pt x="91" y="23"/>
                  </a:lnTo>
                  <a:lnTo>
                    <a:pt x="91" y="25"/>
                  </a:lnTo>
                  <a:lnTo>
                    <a:pt x="118" y="75"/>
                  </a:lnTo>
                  <a:lnTo>
                    <a:pt x="120" y="7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3" name="îş1iḓê">
              <a:extLst>
                <a:ext uri="{FF2B5EF4-FFF2-40B4-BE49-F238E27FC236}">
                  <a16:creationId xmlns:a16="http://schemas.microsoft.com/office/drawing/2014/main" xmlns="" id="{4EE7C0E0-46B6-4793-946C-FBD5744F3965}"/>
                </a:ext>
              </a:extLst>
            </p:cNvPr>
            <p:cNvSpPr/>
            <p:nvPr userDrawn="1"/>
          </p:nvSpPr>
          <p:spPr bwMode="auto">
            <a:xfrm>
              <a:off x="5638801" y="2292351"/>
              <a:ext cx="152400" cy="314325"/>
            </a:xfrm>
            <a:custGeom>
              <a:avLst/>
              <a:gdLst>
                <a:gd name="T0" fmla="*/ 85 w 96"/>
                <a:gd name="T1" fmla="*/ 25 h 198"/>
                <a:gd name="T2" fmla="*/ 96 w 96"/>
                <a:gd name="T3" fmla="*/ 42 h 198"/>
                <a:gd name="T4" fmla="*/ 42 w 96"/>
                <a:gd name="T5" fmla="*/ 198 h 198"/>
                <a:gd name="T6" fmla="*/ 0 w 96"/>
                <a:gd name="T7" fmla="*/ 181 h 198"/>
                <a:gd name="T8" fmla="*/ 21 w 96"/>
                <a:gd name="T9" fmla="*/ 131 h 198"/>
                <a:gd name="T10" fmla="*/ 21 w 96"/>
                <a:gd name="T11" fmla="*/ 127 h 198"/>
                <a:gd name="T12" fmla="*/ 54 w 96"/>
                <a:gd name="T13" fmla="*/ 44 h 198"/>
                <a:gd name="T14" fmla="*/ 54 w 96"/>
                <a:gd name="T15" fmla="*/ 40 h 198"/>
                <a:gd name="T16" fmla="*/ 71 w 96"/>
                <a:gd name="T17" fmla="*/ 0 h 198"/>
                <a:gd name="T18" fmla="*/ 85 w 96"/>
                <a:gd name="T19" fmla="*/ 23 h 198"/>
                <a:gd name="T20" fmla="*/ 85 w 96"/>
                <a:gd name="T21" fmla="*/ 25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198">
                  <a:moveTo>
                    <a:pt x="85" y="25"/>
                  </a:moveTo>
                  <a:lnTo>
                    <a:pt x="96" y="42"/>
                  </a:lnTo>
                  <a:lnTo>
                    <a:pt x="42" y="198"/>
                  </a:lnTo>
                  <a:lnTo>
                    <a:pt x="0" y="181"/>
                  </a:lnTo>
                  <a:lnTo>
                    <a:pt x="21" y="131"/>
                  </a:lnTo>
                  <a:lnTo>
                    <a:pt x="21" y="127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71" y="0"/>
                  </a:lnTo>
                  <a:lnTo>
                    <a:pt x="85" y="23"/>
                  </a:lnTo>
                  <a:lnTo>
                    <a:pt x="85" y="2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4" name="ïSľîḋe">
              <a:extLst>
                <a:ext uri="{FF2B5EF4-FFF2-40B4-BE49-F238E27FC236}">
                  <a16:creationId xmlns:a16="http://schemas.microsoft.com/office/drawing/2014/main" xmlns="" id="{E9A8FB5E-954E-40D5-9DD5-E755FA4E3019}"/>
                </a:ext>
              </a:extLst>
            </p:cNvPr>
            <p:cNvSpPr/>
            <p:nvPr userDrawn="1"/>
          </p:nvSpPr>
          <p:spPr bwMode="auto">
            <a:xfrm>
              <a:off x="5443538" y="2557463"/>
              <a:ext cx="261938" cy="200025"/>
            </a:xfrm>
            <a:custGeom>
              <a:avLst/>
              <a:gdLst>
                <a:gd name="T0" fmla="*/ 82 w 165"/>
                <a:gd name="T1" fmla="*/ 0 h 126"/>
                <a:gd name="T2" fmla="*/ 123 w 165"/>
                <a:gd name="T3" fmla="*/ 14 h 126"/>
                <a:gd name="T4" fmla="*/ 165 w 165"/>
                <a:gd name="T5" fmla="*/ 31 h 126"/>
                <a:gd name="T6" fmla="*/ 104 w 165"/>
                <a:gd name="T7" fmla="*/ 66 h 126"/>
                <a:gd name="T8" fmla="*/ 0 w 165"/>
                <a:gd name="T9" fmla="*/ 126 h 126"/>
                <a:gd name="T10" fmla="*/ 67 w 165"/>
                <a:gd name="T11" fmla="*/ 18 h 126"/>
                <a:gd name="T12" fmla="*/ 79 w 165"/>
                <a:gd name="T13" fmla="*/ 0 h 126"/>
                <a:gd name="T14" fmla="*/ 82 w 165"/>
                <a:gd name="T15" fmla="*/ 0 h 126"/>
                <a:gd name="T16" fmla="*/ 82 w 165"/>
                <a:gd name="T1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26">
                  <a:moveTo>
                    <a:pt x="82" y="0"/>
                  </a:moveTo>
                  <a:lnTo>
                    <a:pt x="123" y="14"/>
                  </a:lnTo>
                  <a:lnTo>
                    <a:pt x="165" y="31"/>
                  </a:lnTo>
                  <a:lnTo>
                    <a:pt x="104" y="66"/>
                  </a:lnTo>
                  <a:lnTo>
                    <a:pt x="0" y="126"/>
                  </a:lnTo>
                  <a:lnTo>
                    <a:pt x="67" y="18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5" name="íṧľiḓè">
              <a:extLst>
                <a:ext uri="{FF2B5EF4-FFF2-40B4-BE49-F238E27FC236}">
                  <a16:creationId xmlns:a16="http://schemas.microsoft.com/office/drawing/2014/main" xmlns="" id="{1D73FDA0-004E-4071-BA8E-F8B1CC4709EE}"/>
                </a:ext>
              </a:extLst>
            </p:cNvPr>
            <p:cNvSpPr/>
            <p:nvPr userDrawn="1"/>
          </p:nvSpPr>
          <p:spPr bwMode="auto">
            <a:xfrm>
              <a:off x="5540376" y="2493963"/>
              <a:ext cx="131763" cy="79375"/>
            </a:xfrm>
            <a:custGeom>
              <a:avLst/>
              <a:gdLst>
                <a:gd name="T0" fmla="*/ 0 w 83"/>
                <a:gd name="T1" fmla="*/ 50 h 50"/>
                <a:gd name="T2" fmla="*/ 0 w 83"/>
                <a:gd name="T3" fmla="*/ 50 h 50"/>
                <a:gd name="T4" fmla="*/ 83 w 83"/>
                <a:gd name="T5" fmla="*/ 0 h 50"/>
                <a:gd name="T6" fmla="*/ 83 w 83"/>
                <a:gd name="T7" fmla="*/ 4 h 50"/>
                <a:gd name="T8" fmla="*/ 21 w 83"/>
                <a:gd name="T9" fmla="*/ 40 h 50"/>
                <a:gd name="T10" fmla="*/ 21 w 83"/>
                <a:gd name="T11" fmla="*/ 40 h 50"/>
                <a:gd name="T12" fmla="*/ 18 w 83"/>
                <a:gd name="T13" fmla="*/ 40 h 50"/>
                <a:gd name="T14" fmla="*/ 0 w 83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50">
                  <a:moveTo>
                    <a:pt x="0" y="50"/>
                  </a:moveTo>
                  <a:lnTo>
                    <a:pt x="0" y="50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8" y="4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6" name="iṥľiḋe">
              <a:extLst>
                <a:ext uri="{FF2B5EF4-FFF2-40B4-BE49-F238E27FC236}">
                  <a16:creationId xmlns:a16="http://schemas.microsoft.com/office/drawing/2014/main" xmlns="" id="{5A3941C3-6E78-49FB-A78F-9B020C8B71D7}"/>
                </a:ext>
              </a:extLst>
            </p:cNvPr>
            <p:cNvSpPr/>
            <p:nvPr userDrawn="1"/>
          </p:nvSpPr>
          <p:spPr bwMode="auto">
            <a:xfrm>
              <a:off x="5418138" y="2517776"/>
              <a:ext cx="131763" cy="239713"/>
            </a:xfrm>
            <a:custGeom>
              <a:avLst/>
              <a:gdLst>
                <a:gd name="T0" fmla="*/ 77 w 83"/>
                <a:gd name="T1" fmla="*/ 35 h 151"/>
                <a:gd name="T2" fmla="*/ 83 w 83"/>
                <a:gd name="T3" fmla="*/ 43 h 151"/>
                <a:gd name="T4" fmla="*/ 16 w 83"/>
                <a:gd name="T5" fmla="*/ 151 h 151"/>
                <a:gd name="T6" fmla="*/ 0 w 83"/>
                <a:gd name="T7" fmla="*/ 120 h 151"/>
                <a:gd name="T8" fmla="*/ 21 w 83"/>
                <a:gd name="T9" fmla="*/ 68 h 151"/>
                <a:gd name="T10" fmla="*/ 23 w 83"/>
                <a:gd name="T11" fmla="*/ 66 h 151"/>
                <a:gd name="T12" fmla="*/ 50 w 83"/>
                <a:gd name="T13" fmla="*/ 0 h 151"/>
                <a:gd name="T14" fmla="*/ 77 w 83"/>
                <a:gd name="T15" fmla="*/ 35 h 151"/>
                <a:gd name="T16" fmla="*/ 77 w 83"/>
                <a:gd name="T17" fmla="*/ 3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51">
                  <a:moveTo>
                    <a:pt x="77" y="35"/>
                  </a:moveTo>
                  <a:lnTo>
                    <a:pt x="83" y="43"/>
                  </a:lnTo>
                  <a:lnTo>
                    <a:pt x="16" y="151"/>
                  </a:lnTo>
                  <a:lnTo>
                    <a:pt x="0" y="120"/>
                  </a:lnTo>
                  <a:lnTo>
                    <a:pt x="21" y="68"/>
                  </a:lnTo>
                  <a:lnTo>
                    <a:pt x="23" y="66"/>
                  </a:lnTo>
                  <a:lnTo>
                    <a:pt x="50" y="0"/>
                  </a:lnTo>
                  <a:lnTo>
                    <a:pt x="77" y="35"/>
                  </a:lnTo>
                  <a:lnTo>
                    <a:pt x="77" y="35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7" name="îṧḻîdê">
              <a:extLst>
                <a:ext uri="{FF2B5EF4-FFF2-40B4-BE49-F238E27FC236}">
                  <a16:creationId xmlns:a16="http://schemas.microsoft.com/office/drawing/2014/main" xmlns="" id="{CBFEAFE4-5DA9-4E1E-B450-01E16F62417F}"/>
                </a:ext>
              </a:extLst>
            </p:cNvPr>
            <p:cNvSpPr/>
            <p:nvPr userDrawn="1"/>
          </p:nvSpPr>
          <p:spPr bwMode="auto">
            <a:xfrm>
              <a:off x="5391151" y="2622551"/>
              <a:ext cx="63500" cy="36513"/>
            </a:xfrm>
            <a:custGeom>
              <a:avLst/>
              <a:gdLst>
                <a:gd name="T0" fmla="*/ 0 w 40"/>
                <a:gd name="T1" fmla="*/ 23 h 23"/>
                <a:gd name="T2" fmla="*/ 0 w 40"/>
                <a:gd name="T3" fmla="*/ 21 h 23"/>
                <a:gd name="T4" fmla="*/ 40 w 40"/>
                <a:gd name="T5" fmla="*/ 0 h 23"/>
                <a:gd name="T6" fmla="*/ 38 w 40"/>
                <a:gd name="T7" fmla="*/ 2 h 23"/>
                <a:gd name="T8" fmla="*/ 0 w 40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0" y="23"/>
                  </a:moveTo>
                  <a:lnTo>
                    <a:pt x="0" y="21"/>
                  </a:lnTo>
                  <a:lnTo>
                    <a:pt x="40" y="0"/>
                  </a:lnTo>
                  <a:lnTo>
                    <a:pt x="38" y="2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8" name="îşḷîḋe">
              <a:extLst>
                <a:ext uri="{FF2B5EF4-FFF2-40B4-BE49-F238E27FC236}">
                  <a16:creationId xmlns:a16="http://schemas.microsoft.com/office/drawing/2014/main" xmlns="" id="{4144528C-2570-4B2C-9600-4C8F1255B4AB}"/>
                </a:ext>
              </a:extLst>
            </p:cNvPr>
            <p:cNvSpPr/>
            <p:nvPr userDrawn="1"/>
          </p:nvSpPr>
          <p:spPr bwMode="auto">
            <a:xfrm>
              <a:off x="5348288" y="2355851"/>
              <a:ext cx="376238" cy="220663"/>
            </a:xfrm>
            <a:custGeom>
              <a:avLst/>
              <a:gdLst>
                <a:gd name="T0" fmla="*/ 2 w 237"/>
                <a:gd name="T1" fmla="*/ 139 h 139"/>
                <a:gd name="T2" fmla="*/ 0 w 237"/>
                <a:gd name="T3" fmla="*/ 137 h 139"/>
                <a:gd name="T4" fmla="*/ 237 w 237"/>
                <a:gd name="T5" fmla="*/ 0 h 139"/>
                <a:gd name="T6" fmla="*/ 237 w 237"/>
                <a:gd name="T7" fmla="*/ 4 h 139"/>
                <a:gd name="T8" fmla="*/ 2 w 237"/>
                <a:gd name="T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39">
                  <a:moveTo>
                    <a:pt x="2" y="139"/>
                  </a:moveTo>
                  <a:lnTo>
                    <a:pt x="0" y="137"/>
                  </a:lnTo>
                  <a:lnTo>
                    <a:pt x="237" y="0"/>
                  </a:lnTo>
                  <a:lnTo>
                    <a:pt x="237" y="4"/>
                  </a:lnTo>
                  <a:lnTo>
                    <a:pt x="2" y="13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89" name="íṧľïḍe">
              <a:extLst>
                <a:ext uri="{FF2B5EF4-FFF2-40B4-BE49-F238E27FC236}">
                  <a16:creationId xmlns:a16="http://schemas.microsoft.com/office/drawing/2014/main" xmlns="" id="{81293A50-F781-4868-AA7F-B952558AA7A6}"/>
                </a:ext>
              </a:extLst>
            </p:cNvPr>
            <p:cNvSpPr/>
            <p:nvPr userDrawn="1"/>
          </p:nvSpPr>
          <p:spPr bwMode="auto">
            <a:xfrm>
              <a:off x="5222876" y="2540001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0" name="ïślíḋè">
              <a:extLst>
                <a:ext uri="{FF2B5EF4-FFF2-40B4-BE49-F238E27FC236}">
                  <a16:creationId xmlns:a16="http://schemas.microsoft.com/office/drawing/2014/main" xmlns="" id="{54006F58-64AC-48CA-BC1E-53B4581EDA57}"/>
                </a:ext>
              </a:extLst>
            </p:cNvPr>
            <p:cNvSpPr/>
            <p:nvPr userDrawn="1"/>
          </p:nvSpPr>
          <p:spPr bwMode="auto">
            <a:xfrm>
              <a:off x="5222876" y="2540001"/>
              <a:ext cx="220663" cy="342900"/>
            </a:xfrm>
            <a:custGeom>
              <a:avLst/>
              <a:gdLst>
                <a:gd name="T0" fmla="*/ 106 w 139"/>
                <a:gd name="T1" fmla="*/ 75 h 216"/>
                <a:gd name="T2" fmla="*/ 123 w 139"/>
                <a:gd name="T3" fmla="*/ 106 h 216"/>
                <a:gd name="T4" fmla="*/ 139 w 139"/>
                <a:gd name="T5" fmla="*/ 137 h 216"/>
                <a:gd name="T6" fmla="*/ 100 w 139"/>
                <a:gd name="T7" fmla="*/ 158 h 216"/>
                <a:gd name="T8" fmla="*/ 0 w 139"/>
                <a:gd name="T9" fmla="*/ 216 h 216"/>
                <a:gd name="T10" fmla="*/ 46 w 139"/>
                <a:gd name="T11" fmla="*/ 69 h 216"/>
                <a:gd name="T12" fmla="*/ 56 w 139"/>
                <a:gd name="T13" fmla="*/ 38 h 216"/>
                <a:gd name="T14" fmla="*/ 58 w 139"/>
                <a:gd name="T15" fmla="*/ 33 h 216"/>
                <a:gd name="T16" fmla="*/ 69 w 139"/>
                <a:gd name="T17" fmla="*/ 0 h 216"/>
                <a:gd name="T18" fmla="*/ 79 w 139"/>
                <a:gd name="T19" fmla="*/ 21 h 216"/>
                <a:gd name="T20" fmla="*/ 81 w 139"/>
                <a:gd name="T21" fmla="*/ 23 h 216"/>
                <a:gd name="T22" fmla="*/ 106 w 139"/>
                <a:gd name="T23" fmla="*/ 73 h 216"/>
                <a:gd name="T24" fmla="*/ 106 w 139"/>
                <a:gd name="T25" fmla="*/ 7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6">
                  <a:moveTo>
                    <a:pt x="106" y="75"/>
                  </a:moveTo>
                  <a:lnTo>
                    <a:pt x="123" y="106"/>
                  </a:lnTo>
                  <a:lnTo>
                    <a:pt x="139" y="137"/>
                  </a:lnTo>
                  <a:lnTo>
                    <a:pt x="100" y="158"/>
                  </a:lnTo>
                  <a:lnTo>
                    <a:pt x="0" y="216"/>
                  </a:lnTo>
                  <a:lnTo>
                    <a:pt x="46" y="69"/>
                  </a:lnTo>
                  <a:lnTo>
                    <a:pt x="56" y="38"/>
                  </a:lnTo>
                  <a:lnTo>
                    <a:pt x="58" y="33"/>
                  </a:lnTo>
                  <a:lnTo>
                    <a:pt x="69" y="0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106" y="73"/>
                  </a:lnTo>
                  <a:lnTo>
                    <a:pt x="106" y="7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1" name="ïṣ1iḍé">
              <a:extLst>
                <a:ext uri="{FF2B5EF4-FFF2-40B4-BE49-F238E27FC236}">
                  <a16:creationId xmlns:a16="http://schemas.microsoft.com/office/drawing/2014/main" xmlns="" id="{1B9B4062-DDBD-4A03-B70D-8D52C39F53AF}"/>
                </a:ext>
              </a:extLst>
            </p:cNvPr>
            <p:cNvSpPr/>
            <p:nvPr userDrawn="1"/>
          </p:nvSpPr>
          <p:spPr bwMode="auto">
            <a:xfrm>
              <a:off x="5275263" y="2592388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2" name="îṩḷïḑê">
              <a:extLst>
                <a:ext uri="{FF2B5EF4-FFF2-40B4-BE49-F238E27FC236}">
                  <a16:creationId xmlns:a16="http://schemas.microsoft.com/office/drawing/2014/main" xmlns="" id="{C1ECE521-7856-45B0-A4E3-23A50DCF66D9}"/>
                </a:ext>
              </a:extLst>
            </p:cNvPr>
            <p:cNvSpPr/>
            <p:nvPr userDrawn="1"/>
          </p:nvSpPr>
          <p:spPr bwMode="auto">
            <a:xfrm>
              <a:off x="5275263" y="2592388"/>
              <a:ext cx="39688" cy="26988"/>
            </a:xfrm>
            <a:custGeom>
              <a:avLst/>
              <a:gdLst>
                <a:gd name="T0" fmla="*/ 3 w 25"/>
                <a:gd name="T1" fmla="*/ 17 h 17"/>
                <a:gd name="T2" fmla="*/ 0 w 25"/>
                <a:gd name="T3" fmla="*/ 15 h 17"/>
                <a:gd name="T4" fmla="*/ 25 w 25"/>
                <a:gd name="T5" fmla="*/ 0 h 17"/>
                <a:gd name="T6" fmla="*/ 23 w 25"/>
                <a:gd name="T7" fmla="*/ 5 h 17"/>
                <a:gd name="T8" fmla="*/ 3 w 2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3" y="17"/>
                  </a:moveTo>
                  <a:lnTo>
                    <a:pt x="0" y="15"/>
                  </a:lnTo>
                  <a:lnTo>
                    <a:pt x="25" y="0"/>
                  </a:lnTo>
                  <a:lnTo>
                    <a:pt x="23" y="5"/>
                  </a:lnTo>
                  <a:lnTo>
                    <a:pt x="3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3" name="ïṡ1îde">
              <a:extLst>
                <a:ext uri="{FF2B5EF4-FFF2-40B4-BE49-F238E27FC236}">
                  <a16:creationId xmlns:a16="http://schemas.microsoft.com/office/drawing/2014/main" xmlns="" id="{C7B81BAF-2583-4FD6-B716-AB34BA832910}"/>
                </a:ext>
              </a:extLst>
            </p:cNvPr>
            <p:cNvSpPr/>
            <p:nvPr userDrawn="1"/>
          </p:nvSpPr>
          <p:spPr bwMode="auto">
            <a:xfrm>
              <a:off x="5226051" y="2114551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4" name="íṧļíďê">
              <a:extLst>
                <a:ext uri="{FF2B5EF4-FFF2-40B4-BE49-F238E27FC236}">
                  <a16:creationId xmlns:a16="http://schemas.microsoft.com/office/drawing/2014/main" xmlns="" id="{CF2DAE5E-3EE5-49E7-B570-80922EA57AA2}"/>
                </a:ext>
              </a:extLst>
            </p:cNvPr>
            <p:cNvSpPr/>
            <p:nvPr userDrawn="1"/>
          </p:nvSpPr>
          <p:spPr bwMode="auto">
            <a:xfrm>
              <a:off x="5226051" y="2114551"/>
              <a:ext cx="719138" cy="419100"/>
            </a:xfrm>
            <a:custGeom>
              <a:avLst/>
              <a:gdLst>
                <a:gd name="T0" fmla="*/ 0 w 453"/>
                <a:gd name="T1" fmla="*/ 262 h 264"/>
                <a:gd name="T2" fmla="*/ 453 w 453"/>
                <a:gd name="T3" fmla="*/ 0 h 264"/>
                <a:gd name="T4" fmla="*/ 453 w 453"/>
                <a:gd name="T5" fmla="*/ 2 h 264"/>
                <a:gd name="T6" fmla="*/ 0 w 453"/>
                <a:gd name="T7" fmla="*/ 264 h 264"/>
                <a:gd name="T8" fmla="*/ 0 w 453"/>
                <a:gd name="T9" fmla="*/ 26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64">
                  <a:moveTo>
                    <a:pt x="0" y="262"/>
                  </a:moveTo>
                  <a:lnTo>
                    <a:pt x="453" y="0"/>
                  </a:lnTo>
                  <a:lnTo>
                    <a:pt x="453" y="2"/>
                  </a:lnTo>
                  <a:lnTo>
                    <a:pt x="0" y="264"/>
                  </a:lnTo>
                  <a:lnTo>
                    <a:pt x="0" y="2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5" name="iś1íḍê">
              <a:extLst>
                <a:ext uri="{FF2B5EF4-FFF2-40B4-BE49-F238E27FC236}">
                  <a16:creationId xmlns:a16="http://schemas.microsoft.com/office/drawing/2014/main" xmlns="" id="{7A491F55-328B-4A07-A8AA-D5AFA080346D}"/>
                </a:ext>
              </a:extLst>
            </p:cNvPr>
            <p:cNvSpPr/>
            <p:nvPr userDrawn="1"/>
          </p:nvSpPr>
          <p:spPr bwMode="auto">
            <a:xfrm>
              <a:off x="4732338" y="2009776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6" name="îSľîḓè">
              <a:extLst>
                <a:ext uri="{FF2B5EF4-FFF2-40B4-BE49-F238E27FC236}">
                  <a16:creationId xmlns:a16="http://schemas.microsoft.com/office/drawing/2014/main" xmlns="" id="{99BA6270-6DEB-4E46-B77A-5CB90E2FCA24}"/>
                </a:ext>
              </a:extLst>
            </p:cNvPr>
            <p:cNvSpPr/>
            <p:nvPr userDrawn="1"/>
          </p:nvSpPr>
          <p:spPr bwMode="auto">
            <a:xfrm>
              <a:off x="4732338" y="2009776"/>
              <a:ext cx="1212850" cy="701675"/>
            </a:xfrm>
            <a:custGeom>
              <a:avLst/>
              <a:gdLst>
                <a:gd name="T0" fmla="*/ 764 w 764"/>
                <a:gd name="T1" fmla="*/ 0 h 442"/>
                <a:gd name="T2" fmla="*/ 764 w 764"/>
                <a:gd name="T3" fmla="*/ 2 h 442"/>
                <a:gd name="T4" fmla="*/ 2 w 764"/>
                <a:gd name="T5" fmla="*/ 442 h 442"/>
                <a:gd name="T6" fmla="*/ 0 w 764"/>
                <a:gd name="T7" fmla="*/ 442 h 442"/>
                <a:gd name="T8" fmla="*/ 0 w 764"/>
                <a:gd name="T9" fmla="*/ 440 h 442"/>
                <a:gd name="T10" fmla="*/ 2 w 764"/>
                <a:gd name="T11" fmla="*/ 438 h 442"/>
                <a:gd name="T12" fmla="*/ 764 w 764"/>
                <a:gd name="T13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442">
                  <a:moveTo>
                    <a:pt x="764" y="0"/>
                  </a:moveTo>
                  <a:lnTo>
                    <a:pt x="764" y="2"/>
                  </a:lnTo>
                  <a:lnTo>
                    <a:pt x="2" y="442"/>
                  </a:lnTo>
                  <a:lnTo>
                    <a:pt x="0" y="442"/>
                  </a:lnTo>
                  <a:lnTo>
                    <a:pt x="0" y="440"/>
                  </a:lnTo>
                  <a:lnTo>
                    <a:pt x="2" y="438"/>
                  </a:lnTo>
                  <a:lnTo>
                    <a:pt x="76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7" name="ïṣľidé">
              <a:extLst>
                <a:ext uri="{FF2B5EF4-FFF2-40B4-BE49-F238E27FC236}">
                  <a16:creationId xmlns:a16="http://schemas.microsoft.com/office/drawing/2014/main" xmlns="" id="{FDC8207C-29B8-46A8-8776-35293A46F78A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8" name="íṩlíďe">
              <a:extLst>
                <a:ext uri="{FF2B5EF4-FFF2-40B4-BE49-F238E27FC236}">
                  <a16:creationId xmlns:a16="http://schemas.microsoft.com/office/drawing/2014/main" xmlns="" id="{98CE278E-AED4-4527-84A5-F28847A91F72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0 w 293"/>
                <a:gd name="T1" fmla="*/ 171 h 173"/>
                <a:gd name="T2" fmla="*/ 2 w 293"/>
                <a:gd name="T3" fmla="*/ 169 h 173"/>
                <a:gd name="T4" fmla="*/ 293 w 293"/>
                <a:gd name="T5" fmla="*/ 0 h 173"/>
                <a:gd name="T6" fmla="*/ 293 w 293"/>
                <a:gd name="T7" fmla="*/ 2 h 173"/>
                <a:gd name="T8" fmla="*/ 2 w 293"/>
                <a:gd name="T9" fmla="*/ 171 h 173"/>
                <a:gd name="T10" fmla="*/ 0 w 293"/>
                <a:gd name="T11" fmla="*/ 173 h 173"/>
                <a:gd name="T12" fmla="*/ 0 w 293"/>
                <a:gd name="T13" fmla="*/ 1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0" y="171"/>
                  </a:moveTo>
                  <a:lnTo>
                    <a:pt x="2" y="169"/>
                  </a:lnTo>
                  <a:lnTo>
                    <a:pt x="293" y="0"/>
                  </a:lnTo>
                  <a:lnTo>
                    <a:pt x="293" y="2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199" name="ï$lidè">
              <a:extLst>
                <a:ext uri="{FF2B5EF4-FFF2-40B4-BE49-F238E27FC236}">
                  <a16:creationId xmlns:a16="http://schemas.microsoft.com/office/drawing/2014/main" xmlns="" id="{3C25C3A6-B985-4FE4-83D1-C00B6333D00E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0" name="îṡḷide">
              <a:extLst>
                <a:ext uri="{FF2B5EF4-FFF2-40B4-BE49-F238E27FC236}">
                  <a16:creationId xmlns:a16="http://schemas.microsoft.com/office/drawing/2014/main" xmlns="" id="{A2BCDADF-A1DD-438D-B734-C9E600750161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0 w 27"/>
                <a:gd name="T1" fmla="*/ 16 h 16"/>
                <a:gd name="T2" fmla="*/ 0 w 27"/>
                <a:gd name="T3" fmla="*/ 14 h 16"/>
                <a:gd name="T4" fmla="*/ 27 w 27"/>
                <a:gd name="T5" fmla="*/ 0 h 16"/>
                <a:gd name="T6" fmla="*/ 25 w 27"/>
                <a:gd name="T7" fmla="*/ 2 h 16"/>
                <a:gd name="T8" fmla="*/ 0 w 2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6"/>
                  </a:moveTo>
                  <a:lnTo>
                    <a:pt x="0" y="14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0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1" name="î$1ïḋè">
              <a:extLst>
                <a:ext uri="{FF2B5EF4-FFF2-40B4-BE49-F238E27FC236}">
                  <a16:creationId xmlns:a16="http://schemas.microsoft.com/office/drawing/2014/main" xmlns="" id="{D08F1F7E-B0C9-49DF-8450-6DD9C8A8209E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2" name="íśļîďè">
              <a:extLst>
                <a:ext uri="{FF2B5EF4-FFF2-40B4-BE49-F238E27FC236}">
                  <a16:creationId xmlns:a16="http://schemas.microsoft.com/office/drawing/2014/main" xmlns="" id="{7D03E378-A4B3-46D2-A257-9BE108A760B9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0 w 58"/>
                <a:gd name="T1" fmla="*/ 33 h 35"/>
                <a:gd name="T2" fmla="*/ 2 w 58"/>
                <a:gd name="T3" fmla="*/ 31 h 35"/>
                <a:gd name="T4" fmla="*/ 58 w 58"/>
                <a:gd name="T5" fmla="*/ 0 h 35"/>
                <a:gd name="T6" fmla="*/ 56 w 58"/>
                <a:gd name="T7" fmla="*/ 4 h 35"/>
                <a:gd name="T8" fmla="*/ 2 w 58"/>
                <a:gd name="T9" fmla="*/ 33 h 35"/>
                <a:gd name="T10" fmla="*/ 0 w 58"/>
                <a:gd name="T11" fmla="*/ 35 h 35"/>
                <a:gd name="T12" fmla="*/ 0 w 58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5">
                  <a:moveTo>
                    <a:pt x="0" y="33"/>
                  </a:moveTo>
                  <a:lnTo>
                    <a:pt x="2" y="31"/>
                  </a:lnTo>
                  <a:lnTo>
                    <a:pt x="58" y="0"/>
                  </a:lnTo>
                  <a:lnTo>
                    <a:pt x="56" y="4"/>
                  </a:lnTo>
                  <a:lnTo>
                    <a:pt x="2" y="33"/>
                  </a:lnTo>
                  <a:lnTo>
                    <a:pt x="0" y="35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3" name="ïśḷïḋè">
              <a:extLst>
                <a:ext uri="{FF2B5EF4-FFF2-40B4-BE49-F238E27FC236}">
                  <a16:creationId xmlns:a16="http://schemas.microsoft.com/office/drawing/2014/main" xmlns="" id="{2F56DFDD-F485-45F8-BF07-A8970964B0F9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  <a:close/>
                </a:path>
              </a:pathLst>
            </a:custGeom>
            <a:solidFill>
              <a:srgbClr val="8E9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4" name="îṣľïḍe">
              <a:extLst>
                <a:ext uri="{FF2B5EF4-FFF2-40B4-BE49-F238E27FC236}">
                  <a16:creationId xmlns:a16="http://schemas.microsoft.com/office/drawing/2014/main" xmlns="" id="{42F227A5-713E-4CF7-9D65-59D4BFB3B368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69888" cy="450850"/>
            </a:xfrm>
            <a:custGeom>
              <a:avLst/>
              <a:gdLst>
                <a:gd name="T0" fmla="*/ 154 w 233"/>
                <a:gd name="T1" fmla="*/ 47 h 284"/>
                <a:gd name="T2" fmla="*/ 167 w 233"/>
                <a:gd name="T3" fmla="*/ 64 h 284"/>
                <a:gd name="T4" fmla="*/ 233 w 233"/>
                <a:gd name="T5" fmla="*/ 149 h 284"/>
                <a:gd name="T6" fmla="*/ 104 w 233"/>
                <a:gd name="T7" fmla="*/ 224 h 284"/>
                <a:gd name="T8" fmla="*/ 0 w 233"/>
                <a:gd name="T9" fmla="*/ 284 h 284"/>
                <a:gd name="T10" fmla="*/ 46 w 233"/>
                <a:gd name="T11" fmla="*/ 174 h 284"/>
                <a:gd name="T12" fmla="*/ 79 w 233"/>
                <a:gd name="T13" fmla="*/ 91 h 284"/>
                <a:gd name="T14" fmla="*/ 81 w 233"/>
                <a:gd name="T15" fmla="*/ 89 h 284"/>
                <a:gd name="T16" fmla="*/ 117 w 233"/>
                <a:gd name="T17" fmla="*/ 0 h 284"/>
                <a:gd name="T18" fmla="*/ 154 w 233"/>
                <a:gd name="T19" fmla="*/ 45 h 284"/>
                <a:gd name="T20" fmla="*/ 154 w 233"/>
                <a:gd name="T21" fmla="*/ 4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84">
                  <a:moveTo>
                    <a:pt x="154" y="47"/>
                  </a:moveTo>
                  <a:lnTo>
                    <a:pt x="167" y="64"/>
                  </a:lnTo>
                  <a:lnTo>
                    <a:pt x="233" y="149"/>
                  </a:lnTo>
                  <a:lnTo>
                    <a:pt x="104" y="224"/>
                  </a:lnTo>
                  <a:lnTo>
                    <a:pt x="0" y="284"/>
                  </a:lnTo>
                  <a:lnTo>
                    <a:pt x="46" y="174"/>
                  </a:lnTo>
                  <a:lnTo>
                    <a:pt x="79" y="91"/>
                  </a:lnTo>
                  <a:lnTo>
                    <a:pt x="81" y="89"/>
                  </a:lnTo>
                  <a:lnTo>
                    <a:pt x="117" y="0"/>
                  </a:lnTo>
                  <a:lnTo>
                    <a:pt x="154" y="45"/>
                  </a:lnTo>
                  <a:lnTo>
                    <a:pt x="154" y="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5" name="îṣ1iďè">
              <a:extLst>
                <a:ext uri="{FF2B5EF4-FFF2-40B4-BE49-F238E27FC236}">
                  <a16:creationId xmlns:a16="http://schemas.microsoft.com/office/drawing/2014/main" xmlns="" id="{91A7584A-5868-4AA2-8F51-B4A5D25E4FDB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6" name="îṣļíḑê">
              <a:extLst>
                <a:ext uri="{FF2B5EF4-FFF2-40B4-BE49-F238E27FC236}">
                  <a16:creationId xmlns:a16="http://schemas.microsoft.com/office/drawing/2014/main" xmlns="" id="{5D9D6CD8-A0EA-4742-A82A-28145EFC4F11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120 w 120"/>
                <a:gd name="T3" fmla="*/ 29 h 181"/>
                <a:gd name="T4" fmla="*/ 74 w 120"/>
                <a:gd name="T5" fmla="*/ 139 h 181"/>
                <a:gd name="T6" fmla="*/ 0 w 120"/>
                <a:gd name="T7" fmla="*/ 181 h 181"/>
                <a:gd name="T8" fmla="*/ 54 w 120"/>
                <a:gd name="T9" fmla="*/ 73 h 181"/>
                <a:gd name="T10" fmla="*/ 56 w 120"/>
                <a:gd name="T11" fmla="*/ 69 h 181"/>
                <a:gd name="T12" fmla="*/ 87 w 120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120" y="29"/>
                  </a:lnTo>
                  <a:lnTo>
                    <a:pt x="74" y="139"/>
                  </a:lnTo>
                  <a:lnTo>
                    <a:pt x="0" y="181"/>
                  </a:lnTo>
                  <a:lnTo>
                    <a:pt x="54" y="73"/>
                  </a:lnTo>
                  <a:lnTo>
                    <a:pt x="56" y="6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7" name="îṩlïďé">
              <a:extLst>
                <a:ext uri="{FF2B5EF4-FFF2-40B4-BE49-F238E27FC236}">
                  <a16:creationId xmlns:a16="http://schemas.microsoft.com/office/drawing/2014/main" xmlns="" id="{F9EEAB49-54B5-49E0-A9D4-CC1EA6A8CFD5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8" name="îṡlïḋê">
              <a:extLst>
                <a:ext uri="{FF2B5EF4-FFF2-40B4-BE49-F238E27FC236}">
                  <a16:creationId xmlns:a16="http://schemas.microsoft.com/office/drawing/2014/main" xmlns="" id="{3718D666-78B5-4844-ACE2-80BBF7D0C11F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0 w 157"/>
                <a:gd name="T1" fmla="*/ 89 h 93"/>
                <a:gd name="T2" fmla="*/ 2 w 157"/>
                <a:gd name="T3" fmla="*/ 89 h 93"/>
                <a:gd name="T4" fmla="*/ 157 w 157"/>
                <a:gd name="T5" fmla="*/ 0 h 93"/>
                <a:gd name="T6" fmla="*/ 155 w 157"/>
                <a:gd name="T7" fmla="*/ 2 h 93"/>
                <a:gd name="T8" fmla="*/ 2 w 157"/>
                <a:gd name="T9" fmla="*/ 91 h 93"/>
                <a:gd name="T10" fmla="*/ 0 w 157"/>
                <a:gd name="T11" fmla="*/ 93 h 93"/>
                <a:gd name="T12" fmla="*/ 0 w 157"/>
                <a:gd name="T13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0" y="89"/>
                  </a:moveTo>
                  <a:lnTo>
                    <a:pt x="2" y="89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2" y="91"/>
                  </a:lnTo>
                  <a:lnTo>
                    <a:pt x="0" y="93"/>
                  </a:lnTo>
                  <a:lnTo>
                    <a:pt x="0" y="8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09" name="îšlíḍè">
              <a:extLst>
                <a:ext uri="{FF2B5EF4-FFF2-40B4-BE49-F238E27FC236}">
                  <a16:creationId xmlns:a16="http://schemas.microsoft.com/office/drawing/2014/main" xmlns="" id="{3926F640-74B9-452A-B63E-F91D3557CBEE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  <a:close/>
                </a:path>
              </a:pathLst>
            </a:custGeom>
            <a:solidFill>
              <a:srgbClr val="87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0" name="ïṥḷïdé">
              <a:extLst>
                <a:ext uri="{FF2B5EF4-FFF2-40B4-BE49-F238E27FC236}">
                  <a16:creationId xmlns:a16="http://schemas.microsoft.com/office/drawing/2014/main" xmlns="" id="{40A6F77B-BE9B-4742-9E27-2996351E9817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77800" cy="376238"/>
            </a:xfrm>
            <a:custGeom>
              <a:avLst/>
              <a:gdLst>
                <a:gd name="T0" fmla="*/ 102 w 112"/>
                <a:gd name="T1" fmla="*/ 71 h 237"/>
                <a:gd name="T2" fmla="*/ 112 w 112"/>
                <a:gd name="T3" fmla="*/ 90 h 237"/>
                <a:gd name="T4" fmla="*/ 66 w 112"/>
                <a:gd name="T5" fmla="*/ 237 h 237"/>
                <a:gd name="T6" fmla="*/ 0 w 112"/>
                <a:gd name="T7" fmla="*/ 152 h 237"/>
                <a:gd name="T8" fmla="*/ 12 w 112"/>
                <a:gd name="T9" fmla="*/ 121 h 237"/>
                <a:gd name="T10" fmla="*/ 14 w 112"/>
                <a:gd name="T11" fmla="*/ 119 h 237"/>
                <a:gd name="T12" fmla="*/ 50 w 112"/>
                <a:gd name="T13" fmla="*/ 27 h 237"/>
                <a:gd name="T14" fmla="*/ 50 w 112"/>
                <a:gd name="T15" fmla="*/ 25 h 237"/>
                <a:gd name="T16" fmla="*/ 60 w 112"/>
                <a:gd name="T17" fmla="*/ 0 h 237"/>
                <a:gd name="T18" fmla="*/ 68 w 112"/>
                <a:gd name="T19" fmla="*/ 15 h 237"/>
                <a:gd name="T20" fmla="*/ 68 w 112"/>
                <a:gd name="T21" fmla="*/ 17 h 237"/>
                <a:gd name="T22" fmla="*/ 99 w 112"/>
                <a:gd name="T23" fmla="*/ 69 h 237"/>
                <a:gd name="T24" fmla="*/ 102 w 112"/>
                <a:gd name="T25" fmla="*/ 7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237">
                  <a:moveTo>
                    <a:pt x="102" y="71"/>
                  </a:moveTo>
                  <a:lnTo>
                    <a:pt x="112" y="90"/>
                  </a:lnTo>
                  <a:lnTo>
                    <a:pt x="66" y="237"/>
                  </a:lnTo>
                  <a:lnTo>
                    <a:pt x="0" y="152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60" y="0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99" y="69"/>
                  </a:lnTo>
                  <a:lnTo>
                    <a:pt x="102" y="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1" name="íṩľide">
              <a:extLst>
                <a:ext uri="{FF2B5EF4-FFF2-40B4-BE49-F238E27FC236}">
                  <a16:creationId xmlns:a16="http://schemas.microsoft.com/office/drawing/2014/main" xmlns="" id="{474ED1D9-90BB-40B3-8C7A-0368851A25A2}"/>
                </a:ext>
              </a:extLst>
            </p:cNvPr>
            <p:cNvSpPr/>
            <p:nvPr userDrawn="1"/>
          </p:nvSpPr>
          <p:spPr bwMode="auto">
            <a:xfrm>
              <a:off x="4727576" y="1887538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2" name="ïṩļïḋé">
              <a:extLst>
                <a:ext uri="{FF2B5EF4-FFF2-40B4-BE49-F238E27FC236}">
                  <a16:creationId xmlns:a16="http://schemas.microsoft.com/office/drawing/2014/main" xmlns="" id="{BF30099E-C245-4BC0-8FF3-2CDF2EFA13E2}"/>
                </a:ext>
              </a:extLst>
            </p:cNvPr>
            <p:cNvSpPr/>
            <p:nvPr userDrawn="1"/>
          </p:nvSpPr>
          <p:spPr bwMode="auto">
            <a:xfrm>
              <a:off x="4727576" y="1887538"/>
              <a:ext cx="1217613" cy="704850"/>
            </a:xfrm>
            <a:custGeom>
              <a:avLst/>
              <a:gdLst>
                <a:gd name="T0" fmla="*/ 767 w 767"/>
                <a:gd name="T1" fmla="*/ 0 h 444"/>
                <a:gd name="T2" fmla="*/ 767 w 767"/>
                <a:gd name="T3" fmla="*/ 2 h 444"/>
                <a:gd name="T4" fmla="*/ 0 w 767"/>
                <a:gd name="T5" fmla="*/ 444 h 444"/>
                <a:gd name="T6" fmla="*/ 0 w 767"/>
                <a:gd name="T7" fmla="*/ 440 h 444"/>
                <a:gd name="T8" fmla="*/ 767 w 767"/>
                <a:gd name="T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7" h="444">
                  <a:moveTo>
                    <a:pt x="767" y="0"/>
                  </a:moveTo>
                  <a:lnTo>
                    <a:pt x="767" y="2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7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3" name="iṧḷïḍe">
              <a:extLst>
                <a:ext uri="{FF2B5EF4-FFF2-40B4-BE49-F238E27FC236}">
                  <a16:creationId xmlns:a16="http://schemas.microsoft.com/office/drawing/2014/main" xmlns="" id="{6874B359-6336-48E6-AFE4-B288F5F86E16}"/>
                </a:ext>
              </a:extLst>
            </p:cNvPr>
            <p:cNvSpPr/>
            <p:nvPr userDrawn="1"/>
          </p:nvSpPr>
          <p:spPr bwMode="auto">
            <a:xfrm>
              <a:off x="4727576" y="2463801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  <a:close/>
                </a:path>
              </a:pathLst>
            </a:custGeom>
            <a:solidFill>
              <a:srgbClr val="806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4" name="ïšľíḍe">
              <a:extLst>
                <a:ext uri="{FF2B5EF4-FFF2-40B4-BE49-F238E27FC236}">
                  <a16:creationId xmlns:a16="http://schemas.microsoft.com/office/drawing/2014/main" xmlns="" id="{C961D62C-5C42-4522-A1F5-5CEB34A1F4BA}"/>
                </a:ext>
              </a:extLst>
            </p:cNvPr>
            <p:cNvSpPr/>
            <p:nvPr userDrawn="1"/>
          </p:nvSpPr>
          <p:spPr bwMode="auto">
            <a:xfrm>
              <a:off x="4727576" y="2463801"/>
              <a:ext cx="1225550" cy="709613"/>
            </a:xfrm>
            <a:custGeom>
              <a:avLst/>
              <a:gdLst>
                <a:gd name="T0" fmla="*/ 5 w 772"/>
                <a:gd name="T1" fmla="*/ 79 h 447"/>
                <a:gd name="T2" fmla="*/ 5 w 772"/>
                <a:gd name="T3" fmla="*/ 152 h 447"/>
                <a:gd name="T4" fmla="*/ 3 w 772"/>
                <a:gd name="T5" fmla="*/ 154 h 447"/>
                <a:gd name="T6" fmla="*/ 3 w 772"/>
                <a:gd name="T7" fmla="*/ 156 h 447"/>
                <a:gd name="T8" fmla="*/ 5 w 772"/>
                <a:gd name="T9" fmla="*/ 156 h 447"/>
                <a:gd name="T10" fmla="*/ 5 w 772"/>
                <a:gd name="T11" fmla="*/ 221 h 447"/>
                <a:gd name="T12" fmla="*/ 3 w 772"/>
                <a:gd name="T13" fmla="*/ 223 h 447"/>
                <a:gd name="T14" fmla="*/ 3 w 772"/>
                <a:gd name="T15" fmla="*/ 225 h 447"/>
                <a:gd name="T16" fmla="*/ 5 w 772"/>
                <a:gd name="T17" fmla="*/ 223 h 447"/>
                <a:gd name="T18" fmla="*/ 5 w 772"/>
                <a:gd name="T19" fmla="*/ 293 h 447"/>
                <a:gd name="T20" fmla="*/ 3 w 772"/>
                <a:gd name="T21" fmla="*/ 293 h 447"/>
                <a:gd name="T22" fmla="*/ 3 w 772"/>
                <a:gd name="T23" fmla="*/ 297 h 447"/>
                <a:gd name="T24" fmla="*/ 5 w 772"/>
                <a:gd name="T25" fmla="*/ 295 h 447"/>
                <a:gd name="T26" fmla="*/ 5 w 772"/>
                <a:gd name="T27" fmla="*/ 360 h 447"/>
                <a:gd name="T28" fmla="*/ 3 w 772"/>
                <a:gd name="T29" fmla="*/ 362 h 447"/>
                <a:gd name="T30" fmla="*/ 3 w 772"/>
                <a:gd name="T31" fmla="*/ 364 h 447"/>
                <a:gd name="T32" fmla="*/ 5 w 772"/>
                <a:gd name="T33" fmla="*/ 362 h 447"/>
                <a:gd name="T34" fmla="*/ 5 w 772"/>
                <a:gd name="T35" fmla="*/ 441 h 447"/>
                <a:gd name="T36" fmla="*/ 772 w 772"/>
                <a:gd name="T37" fmla="*/ 0 h 447"/>
                <a:gd name="T38" fmla="*/ 772 w 772"/>
                <a:gd name="T39" fmla="*/ 2 h 447"/>
                <a:gd name="T40" fmla="*/ 3 w 772"/>
                <a:gd name="T41" fmla="*/ 447 h 447"/>
                <a:gd name="T42" fmla="*/ 0 w 772"/>
                <a:gd name="T43" fmla="*/ 81 h 447"/>
                <a:gd name="T44" fmla="*/ 5 w 772"/>
                <a:gd name="T45" fmla="*/ 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72" h="447">
                  <a:moveTo>
                    <a:pt x="5" y="79"/>
                  </a:moveTo>
                  <a:lnTo>
                    <a:pt x="5" y="152"/>
                  </a:lnTo>
                  <a:lnTo>
                    <a:pt x="3" y="154"/>
                  </a:lnTo>
                  <a:lnTo>
                    <a:pt x="3" y="156"/>
                  </a:lnTo>
                  <a:lnTo>
                    <a:pt x="5" y="156"/>
                  </a:lnTo>
                  <a:lnTo>
                    <a:pt x="5" y="221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5" y="223"/>
                  </a:lnTo>
                  <a:lnTo>
                    <a:pt x="5" y="293"/>
                  </a:lnTo>
                  <a:lnTo>
                    <a:pt x="3" y="293"/>
                  </a:lnTo>
                  <a:lnTo>
                    <a:pt x="3" y="297"/>
                  </a:lnTo>
                  <a:lnTo>
                    <a:pt x="5" y="295"/>
                  </a:lnTo>
                  <a:lnTo>
                    <a:pt x="5" y="360"/>
                  </a:lnTo>
                  <a:lnTo>
                    <a:pt x="3" y="362"/>
                  </a:lnTo>
                  <a:lnTo>
                    <a:pt x="3" y="364"/>
                  </a:lnTo>
                  <a:lnTo>
                    <a:pt x="5" y="362"/>
                  </a:lnTo>
                  <a:lnTo>
                    <a:pt x="5" y="441"/>
                  </a:lnTo>
                  <a:lnTo>
                    <a:pt x="772" y="0"/>
                  </a:lnTo>
                  <a:lnTo>
                    <a:pt x="772" y="2"/>
                  </a:lnTo>
                  <a:lnTo>
                    <a:pt x="3" y="447"/>
                  </a:lnTo>
                  <a:lnTo>
                    <a:pt x="0" y="81"/>
                  </a:lnTo>
                  <a:lnTo>
                    <a:pt x="5" y="7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5" name="isliḍe">
              <a:extLst>
                <a:ext uri="{FF2B5EF4-FFF2-40B4-BE49-F238E27FC236}">
                  <a16:creationId xmlns:a16="http://schemas.microsoft.com/office/drawing/2014/main" xmlns="" id="{8FE10308-F689-495C-979F-48E7B2F62143}"/>
                </a:ext>
              </a:extLst>
            </p:cNvPr>
            <p:cNvSpPr/>
            <p:nvPr userDrawn="1"/>
          </p:nvSpPr>
          <p:spPr bwMode="auto">
            <a:xfrm>
              <a:off x="4516438" y="1395413"/>
              <a:ext cx="1557338" cy="2301875"/>
            </a:xfrm>
            <a:custGeom>
              <a:avLst/>
              <a:gdLst>
                <a:gd name="T0" fmla="*/ 15 w 472"/>
                <a:gd name="T1" fmla="*/ 689 h 698"/>
                <a:gd name="T2" fmla="*/ 0 w 472"/>
                <a:gd name="T3" fmla="*/ 698 h 698"/>
                <a:gd name="T4" fmla="*/ 15 w 472"/>
                <a:gd name="T5" fmla="*/ 689 h 698"/>
                <a:gd name="T6" fmla="*/ 15 w 472"/>
                <a:gd name="T7" fmla="*/ 689 h 698"/>
                <a:gd name="T8" fmla="*/ 472 w 472"/>
                <a:gd name="T9" fmla="*/ 0 h 698"/>
                <a:gd name="T10" fmla="*/ 471 w 472"/>
                <a:gd name="T11" fmla="*/ 1 h 698"/>
                <a:gd name="T12" fmla="*/ 17 w 472"/>
                <a:gd name="T13" fmla="*/ 261 h 698"/>
                <a:gd name="T14" fmla="*/ 1 w 472"/>
                <a:gd name="T15" fmla="*/ 289 h 698"/>
                <a:gd name="T16" fmla="*/ 0 w 472"/>
                <a:gd name="T17" fmla="*/ 698 h 698"/>
                <a:gd name="T18" fmla="*/ 1 w 472"/>
                <a:gd name="T19" fmla="*/ 289 h 698"/>
                <a:gd name="T20" fmla="*/ 17 w 472"/>
                <a:gd name="T21" fmla="*/ 261 h 698"/>
                <a:gd name="T22" fmla="*/ 471 w 472"/>
                <a:gd name="T23" fmla="*/ 1 h 698"/>
                <a:gd name="T24" fmla="*/ 472 w 472"/>
                <a:gd name="T2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" h="698">
                  <a:moveTo>
                    <a:pt x="15" y="689"/>
                  </a:moveTo>
                  <a:cubicBezTo>
                    <a:pt x="0" y="698"/>
                    <a:pt x="0" y="698"/>
                    <a:pt x="0" y="698"/>
                  </a:cubicBezTo>
                  <a:cubicBezTo>
                    <a:pt x="15" y="689"/>
                    <a:pt x="15" y="689"/>
                    <a:pt x="15" y="689"/>
                  </a:cubicBezTo>
                  <a:cubicBezTo>
                    <a:pt x="15" y="689"/>
                    <a:pt x="15" y="689"/>
                    <a:pt x="15" y="689"/>
                  </a:cubicBezTo>
                  <a:moveTo>
                    <a:pt x="472" y="0"/>
                  </a:moveTo>
                  <a:cubicBezTo>
                    <a:pt x="471" y="0"/>
                    <a:pt x="471" y="1"/>
                    <a:pt x="471" y="1"/>
                  </a:cubicBezTo>
                  <a:cubicBezTo>
                    <a:pt x="17" y="261"/>
                    <a:pt x="17" y="261"/>
                    <a:pt x="17" y="261"/>
                  </a:cubicBezTo>
                  <a:cubicBezTo>
                    <a:pt x="7" y="267"/>
                    <a:pt x="1" y="277"/>
                    <a:pt x="1" y="289"/>
                  </a:cubicBezTo>
                  <a:cubicBezTo>
                    <a:pt x="0" y="698"/>
                    <a:pt x="0" y="698"/>
                    <a:pt x="0" y="698"/>
                  </a:cubicBezTo>
                  <a:cubicBezTo>
                    <a:pt x="1" y="289"/>
                    <a:pt x="1" y="289"/>
                    <a:pt x="1" y="289"/>
                  </a:cubicBezTo>
                  <a:cubicBezTo>
                    <a:pt x="1" y="277"/>
                    <a:pt x="7" y="267"/>
                    <a:pt x="17" y="261"/>
                  </a:cubicBezTo>
                  <a:cubicBezTo>
                    <a:pt x="471" y="1"/>
                    <a:pt x="471" y="1"/>
                    <a:pt x="471" y="1"/>
                  </a:cubicBezTo>
                  <a:cubicBezTo>
                    <a:pt x="471" y="1"/>
                    <a:pt x="471" y="0"/>
                    <a:pt x="472" y="0"/>
                  </a:cubicBezTo>
                </a:path>
              </a:pathLst>
            </a:custGeom>
            <a:solidFill>
              <a:srgbClr val="7967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6" name="ïṣľîḍè">
              <a:extLst>
                <a:ext uri="{FF2B5EF4-FFF2-40B4-BE49-F238E27FC236}">
                  <a16:creationId xmlns:a16="http://schemas.microsoft.com/office/drawing/2014/main" xmlns="" id="{419439FA-50B1-4B75-8374-BEEB85BFEC83}"/>
                </a:ext>
              </a:extLst>
            </p:cNvPr>
            <p:cNvSpPr/>
            <p:nvPr userDrawn="1"/>
          </p:nvSpPr>
          <p:spPr bwMode="auto">
            <a:xfrm>
              <a:off x="4516438" y="1392238"/>
              <a:ext cx="1584325" cy="2305050"/>
            </a:xfrm>
            <a:custGeom>
              <a:avLst/>
              <a:gdLst>
                <a:gd name="T0" fmla="*/ 479 w 480"/>
                <a:gd name="T1" fmla="*/ 0 h 699"/>
                <a:gd name="T2" fmla="*/ 472 w 480"/>
                <a:gd name="T3" fmla="*/ 1 h 699"/>
                <a:gd name="T4" fmla="*/ 471 w 480"/>
                <a:gd name="T5" fmla="*/ 2 h 699"/>
                <a:gd name="T6" fmla="*/ 17 w 480"/>
                <a:gd name="T7" fmla="*/ 262 h 699"/>
                <a:gd name="T8" fmla="*/ 1 w 480"/>
                <a:gd name="T9" fmla="*/ 290 h 699"/>
                <a:gd name="T10" fmla="*/ 0 w 480"/>
                <a:gd name="T11" fmla="*/ 699 h 699"/>
                <a:gd name="T12" fmla="*/ 15 w 480"/>
                <a:gd name="T13" fmla="*/ 690 h 699"/>
                <a:gd name="T14" fmla="*/ 40 w 480"/>
                <a:gd name="T15" fmla="*/ 652 h 699"/>
                <a:gd name="T16" fmla="*/ 21 w 480"/>
                <a:gd name="T17" fmla="*/ 663 h 699"/>
                <a:gd name="T18" fmla="*/ 22 w 480"/>
                <a:gd name="T19" fmla="*/ 284 h 699"/>
                <a:gd name="T20" fmla="*/ 457 w 480"/>
                <a:gd name="T21" fmla="*/ 35 h 699"/>
                <a:gd name="T22" fmla="*/ 480 w 480"/>
                <a:gd name="T23" fmla="*/ 0 h 699"/>
                <a:gd name="T24" fmla="*/ 479 w 480"/>
                <a:gd name="T25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0" h="699">
                  <a:moveTo>
                    <a:pt x="479" y="0"/>
                  </a:moveTo>
                  <a:cubicBezTo>
                    <a:pt x="476" y="0"/>
                    <a:pt x="474" y="0"/>
                    <a:pt x="472" y="1"/>
                  </a:cubicBezTo>
                  <a:cubicBezTo>
                    <a:pt x="471" y="1"/>
                    <a:pt x="471" y="2"/>
                    <a:pt x="471" y="2"/>
                  </a:cubicBezTo>
                  <a:cubicBezTo>
                    <a:pt x="17" y="262"/>
                    <a:pt x="17" y="262"/>
                    <a:pt x="17" y="262"/>
                  </a:cubicBezTo>
                  <a:cubicBezTo>
                    <a:pt x="7" y="268"/>
                    <a:pt x="1" y="278"/>
                    <a:pt x="1" y="290"/>
                  </a:cubicBezTo>
                  <a:cubicBezTo>
                    <a:pt x="0" y="699"/>
                    <a:pt x="0" y="699"/>
                    <a:pt x="0" y="699"/>
                  </a:cubicBezTo>
                  <a:cubicBezTo>
                    <a:pt x="15" y="690"/>
                    <a:pt x="15" y="690"/>
                    <a:pt x="15" y="690"/>
                  </a:cubicBezTo>
                  <a:cubicBezTo>
                    <a:pt x="22" y="680"/>
                    <a:pt x="30" y="667"/>
                    <a:pt x="40" y="652"/>
                  </a:cubicBezTo>
                  <a:cubicBezTo>
                    <a:pt x="21" y="663"/>
                    <a:pt x="21" y="663"/>
                    <a:pt x="21" y="663"/>
                  </a:cubicBezTo>
                  <a:cubicBezTo>
                    <a:pt x="22" y="284"/>
                    <a:pt x="22" y="284"/>
                    <a:pt x="22" y="284"/>
                  </a:cubicBezTo>
                  <a:cubicBezTo>
                    <a:pt x="457" y="35"/>
                    <a:pt x="457" y="35"/>
                    <a:pt x="457" y="35"/>
                  </a:cubicBezTo>
                  <a:cubicBezTo>
                    <a:pt x="467" y="19"/>
                    <a:pt x="475" y="7"/>
                    <a:pt x="480" y="0"/>
                  </a:cubicBezTo>
                  <a:cubicBezTo>
                    <a:pt x="480" y="0"/>
                    <a:pt x="479" y="0"/>
                    <a:pt x="479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7" name="iṩlidê">
              <a:extLst>
                <a:ext uri="{FF2B5EF4-FFF2-40B4-BE49-F238E27FC236}">
                  <a16:creationId xmlns:a16="http://schemas.microsoft.com/office/drawing/2014/main" xmlns="" id="{2A01162E-F06F-45D9-A51D-608E91AD8CF9}"/>
                </a:ext>
              </a:extLst>
            </p:cNvPr>
            <p:cNvSpPr/>
            <p:nvPr userDrawn="1"/>
          </p:nvSpPr>
          <p:spPr bwMode="auto">
            <a:xfrm>
              <a:off x="4586288" y="1508126"/>
              <a:ext cx="1438275" cy="2070100"/>
            </a:xfrm>
            <a:custGeom>
              <a:avLst/>
              <a:gdLst>
                <a:gd name="T0" fmla="*/ 45 w 436"/>
                <a:gd name="T1" fmla="*/ 464 h 628"/>
                <a:gd name="T2" fmla="*/ 71 w 436"/>
                <a:gd name="T3" fmla="*/ 450 h 628"/>
                <a:gd name="T4" fmla="*/ 155 w 436"/>
                <a:gd name="T5" fmla="*/ 368 h 628"/>
                <a:gd name="T6" fmla="*/ 173 w 436"/>
                <a:gd name="T7" fmla="*/ 390 h 628"/>
                <a:gd name="T8" fmla="*/ 161 w 436"/>
                <a:gd name="T9" fmla="*/ 376 h 628"/>
                <a:gd name="T10" fmla="*/ 185 w 436"/>
                <a:gd name="T11" fmla="*/ 316 h 628"/>
                <a:gd name="T12" fmla="*/ 45 w 436"/>
                <a:gd name="T13" fmla="*/ 431 h 628"/>
                <a:gd name="T14" fmla="*/ 45 w 436"/>
                <a:gd name="T15" fmla="*/ 431 h 628"/>
                <a:gd name="T16" fmla="*/ 119 w 436"/>
                <a:gd name="T17" fmla="*/ 389 h 628"/>
                <a:gd name="T18" fmla="*/ 45 w 436"/>
                <a:gd name="T19" fmla="*/ 463 h 628"/>
                <a:gd name="T20" fmla="*/ 87 w 436"/>
                <a:gd name="T21" fmla="*/ 415 h 628"/>
                <a:gd name="T22" fmla="*/ 81 w 436"/>
                <a:gd name="T23" fmla="*/ 482 h 628"/>
                <a:gd name="T24" fmla="*/ 45 w 436"/>
                <a:gd name="T25" fmla="*/ 502 h 628"/>
                <a:gd name="T26" fmla="*/ 130 w 436"/>
                <a:gd name="T27" fmla="*/ 453 h 628"/>
                <a:gd name="T28" fmla="*/ 103 w 436"/>
                <a:gd name="T29" fmla="*/ 429 h 628"/>
                <a:gd name="T30" fmla="*/ 120 w 436"/>
                <a:gd name="T31" fmla="*/ 388 h 628"/>
                <a:gd name="T32" fmla="*/ 155 w 436"/>
                <a:gd name="T33" fmla="*/ 367 h 628"/>
                <a:gd name="T34" fmla="*/ 185 w 436"/>
                <a:gd name="T35" fmla="*/ 316 h 628"/>
                <a:gd name="T36" fmla="*/ 194 w 436"/>
                <a:gd name="T37" fmla="*/ 311 h 628"/>
                <a:gd name="T38" fmla="*/ 210 w 436"/>
                <a:gd name="T39" fmla="*/ 336 h 628"/>
                <a:gd name="T40" fmla="*/ 283 w 436"/>
                <a:gd name="T41" fmla="*/ 227 h 628"/>
                <a:gd name="T42" fmla="*/ 45 w 436"/>
                <a:gd name="T43" fmla="*/ 396 h 628"/>
                <a:gd name="T44" fmla="*/ 190 w 436"/>
                <a:gd name="T45" fmla="*/ 303 h 628"/>
                <a:gd name="T46" fmla="*/ 248 w 436"/>
                <a:gd name="T47" fmla="*/ 279 h 628"/>
                <a:gd name="T48" fmla="*/ 436 w 436"/>
                <a:gd name="T49" fmla="*/ 0 h 628"/>
                <a:gd name="T50" fmla="*/ 0 w 436"/>
                <a:gd name="T51" fmla="*/ 628 h 628"/>
                <a:gd name="T52" fmla="*/ 128 w 436"/>
                <a:gd name="T53" fmla="*/ 456 h 628"/>
                <a:gd name="T54" fmla="*/ 43 w 436"/>
                <a:gd name="T55" fmla="*/ 329 h 628"/>
                <a:gd name="T56" fmla="*/ 45 w 436"/>
                <a:gd name="T57" fmla="*/ 363 h 628"/>
                <a:gd name="T58" fmla="*/ 45 w 436"/>
                <a:gd name="T59" fmla="*/ 363 h 628"/>
                <a:gd name="T60" fmla="*/ 324 w 436"/>
                <a:gd name="T61" fmla="*/ 167 h 628"/>
                <a:gd name="T62" fmla="*/ 43 w 436"/>
                <a:gd name="T63" fmla="*/ 327 h 628"/>
                <a:gd name="T64" fmla="*/ 436 w 436"/>
                <a:gd name="T65" fmla="*/ 0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6" h="628">
                  <a:moveTo>
                    <a:pt x="71" y="450"/>
                  </a:moveTo>
                  <a:cubicBezTo>
                    <a:pt x="45" y="464"/>
                    <a:pt x="45" y="464"/>
                    <a:pt x="45" y="464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71" y="450"/>
                    <a:pt x="71" y="450"/>
                    <a:pt x="71" y="450"/>
                  </a:cubicBezTo>
                  <a:moveTo>
                    <a:pt x="167" y="361"/>
                  </a:moveTo>
                  <a:cubicBezTo>
                    <a:pt x="155" y="368"/>
                    <a:pt x="155" y="368"/>
                    <a:pt x="155" y="368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67" y="361"/>
                    <a:pt x="167" y="361"/>
                    <a:pt x="167" y="361"/>
                  </a:cubicBezTo>
                  <a:moveTo>
                    <a:pt x="185" y="316"/>
                  </a:moveTo>
                  <a:cubicBezTo>
                    <a:pt x="45" y="397"/>
                    <a:pt x="45" y="397"/>
                    <a:pt x="45" y="397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44" y="431"/>
                    <a:pt x="44" y="431"/>
                    <a:pt x="44" y="431"/>
                  </a:cubicBezTo>
                  <a:cubicBezTo>
                    <a:pt x="45" y="431"/>
                    <a:pt x="45" y="431"/>
                    <a:pt x="45" y="431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45" y="432"/>
                    <a:pt x="45" y="432"/>
                    <a:pt x="45" y="432"/>
                  </a:cubicBezTo>
                  <a:cubicBezTo>
                    <a:pt x="45" y="463"/>
                    <a:pt x="45" y="463"/>
                    <a:pt x="45" y="463"/>
                  </a:cubicBezTo>
                  <a:cubicBezTo>
                    <a:pt x="72" y="448"/>
                    <a:pt x="72" y="448"/>
                    <a:pt x="72" y="448"/>
                  </a:cubicBezTo>
                  <a:cubicBezTo>
                    <a:pt x="87" y="415"/>
                    <a:pt x="87" y="415"/>
                    <a:pt x="87" y="415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45" y="502"/>
                    <a:pt x="45" y="502"/>
                    <a:pt x="45" y="502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130" y="453"/>
                    <a:pt x="130" y="453"/>
                    <a:pt x="130" y="453"/>
                  </a:cubicBezTo>
                  <a:cubicBezTo>
                    <a:pt x="81" y="482"/>
                    <a:pt x="81" y="482"/>
                    <a:pt x="81" y="482"/>
                  </a:cubicBezTo>
                  <a:cubicBezTo>
                    <a:pt x="103" y="429"/>
                    <a:pt x="103" y="429"/>
                    <a:pt x="103" y="429"/>
                  </a:cubicBezTo>
                  <a:cubicBezTo>
                    <a:pt x="119" y="389"/>
                    <a:pt x="119" y="389"/>
                    <a:pt x="119" y="389"/>
                  </a:cubicBezTo>
                  <a:cubicBezTo>
                    <a:pt x="120" y="388"/>
                    <a:pt x="120" y="388"/>
                    <a:pt x="120" y="388"/>
                  </a:cubicBezTo>
                  <a:cubicBezTo>
                    <a:pt x="137" y="345"/>
                    <a:pt x="137" y="345"/>
                    <a:pt x="137" y="345"/>
                  </a:cubicBezTo>
                  <a:cubicBezTo>
                    <a:pt x="155" y="367"/>
                    <a:pt x="155" y="367"/>
                    <a:pt x="155" y="367"/>
                  </a:cubicBezTo>
                  <a:cubicBezTo>
                    <a:pt x="168" y="360"/>
                    <a:pt x="168" y="360"/>
                    <a:pt x="168" y="360"/>
                  </a:cubicBezTo>
                  <a:cubicBezTo>
                    <a:pt x="185" y="316"/>
                    <a:pt x="185" y="316"/>
                    <a:pt x="185" y="316"/>
                  </a:cubicBezTo>
                  <a:moveTo>
                    <a:pt x="247" y="281"/>
                  </a:moveTo>
                  <a:cubicBezTo>
                    <a:pt x="194" y="311"/>
                    <a:pt x="194" y="311"/>
                    <a:pt x="194" y="31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210" y="336"/>
                    <a:pt x="210" y="336"/>
                    <a:pt x="210" y="336"/>
                  </a:cubicBezTo>
                  <a:cubicBezTo>
                    <a:pt x="222" y="317"/>
                    <a:pt x="235" y="299"/>
                    <a:pt x="247" y="281"/>
                  </a:cubicBezTo>
                  <a:moveTo>
                    <a:pt x="283" y="227"/>
                  </a:moveTo>
                  <a:cubicBezTo>
                    <a:pt x="45" y="365"/>
                    <a:pt x="45" y="365"/>
                    <a:pt x="45" y="365"/>
                  </a:cubicBezTo>
                  <a:cubicBezTo>
                    <a:pt x="45" y="396"/>
                    <a:pt x="45" y="396"/>
                    <a:pt x="45" y="396"/>
                  </a:cubicBezTo>
                  <a:cubicBezTo>
                    <a:pt x="185" y="315"/>
                    <a:pt x="185" y="315"/>
                    <a:pt x="185" y="315"/>
                  </a:cubicBezTo>
                  <a:cubicBezTo>
                    <a:pt x="190" y="303"/>
                    <a:pt x="190" y="303"/>
                    <a:pt x="190" y="303"/>
                  </a:cubicBezTo>
                  <a:cubicBezTo>
                    <a:pt x="194" y="310"/>
                    <a:pt x="194" y="310"/>
                    <a:pt x="194" y="310"/>
                  </a:cubicBezTo>
                  <a:cubicBezTo>
                    <a:pt x="248" y="279"/>
                    <a:pt x="248" y="279"/>
                    <a:pt x="248" y="279"/>
                  </a:cubicBezTo>
                  <a:cubicBezTo>
                    <a:pt x="260" y="261"/>
                    <a:pt x="271" y="244"/>
                    <a:pt x="283" y="227"/>
                  </a:cubicBezTo>
                  <a:moveTo>
                    <a:pt x="436" y="0"/>
                  </a:moveTo>
                  <a:cubicBezTo>
                    <a:pt x="1" y="249"/>
                    <a:pt x="1" y="249"/>
                    <a:pt x="1" y="249"/>
                  </a:cubicBezTo>
                  <a:cubicBezTo>
                    <a:pt x="0" y="628"/>
                    <a:pt x="0" y="628"/>
                    <a:pt x="0" y="628"/>
                  </a:cubicBezTo>
                  <a:cubicBezTo>
                    <a:pt x="19" y="617"/>
                    <a:pt x="19" y="617"/>
                    <a:pt x="19" y="617"/>
                  </a:cubicBezTo>
                  <a:cubicBezTo>
                    <a:pt x="47" y="576"/>
                    <a:pt x="86" y="519"/>
                    <a:pt x="128" y="456"/>
                  </a:cubicBezTo>
                  <a:cubicBezTo>
                    <a:pt x="44" y="505"/>
                    <a:pt x="44" y="505"/>
                    <a:pt x="44" y="505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5" y="328"/>
                    <a:pt x="45" y="328"/>
                    <a:pt x="45" y="328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44" y="364"/>
                    <a:pt x="44" y="364"/>
                    <a:pt x="44" y="364"/>
                  </a:cubicBezTo>
                  <a:cubicBezTo>
                    <a:pt x="45" y="363"/>
                    <a:pt x="45" y="363"/>
                    <a:pt x="45" y="363"/>
                  </a:cubicBezTo>
                  <a:cubicBezTo>
                    <a:pt x="284" y="225"/>
                    <a:pt x="284" y="225"/>
                    <a:pt x="284" y="225"/>
                  </a:cubicBezTo>
                  <a:cubicBezTo>
                    <a:pt x="298" y="205"/>
                    <a:pt x="311" y="186"/>
                    <a:pt x="324" y="167"/>
                  </a:cubicBezTo>
                  <a:cubicBezTo>
                    <a:pt x="43" y="329"/>
                    <a:pt x="43" y="329"/>
                    <a:pt x="43" y="329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25" y="165"/>
                    <a:pt x="325" y="165"/>
                    <a:pt x="325" y="165"/>
                  </a:cubicBezTo>
                  <a:cubicBezTo>
                    <a:pt x="371" y="96"/>
                    <a:pt x="411" y="37"/>
                    <a:pt x="436" y="0"/>
                  </a:cubicBezTo>
                </a:path>
              </a:pathLst>
            </a:custGeom>
            <a:solidFill>
              <a:srgbClr val="604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8" name="iṣļîḋé">
              <a:extLst>
                <a:ext uri="{FF2B5EF4-FFF2-40B4-BE49-F238E27FC236}">
                  <a16:creationId xmlns:a16="http://schemas.microsoft.com/office/drawing/2014/main" xmlns="" id="{78F2503D-4074-460E-95B1-E82AA6016197}"/>
                </a:ext>
              </a:extLst>
            </p:cNvPr>
            <p:cNvSpPr/>
            <p:nvPr userDrawn="1"/>
          </p:nvSpPr>
          <p:spPr bwMode="auto">
            <a:xfrm>
              <a:off x="5275263" y="2616201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19" name="ïS1ïḋe">
              <a:extLst>
                <a:ext uri="{FF2B5EF4-FFF2-40B4-BE49-F238E27FC236}">
                  <a16:creationId xmlns:a16="http://schemas.microsoft.com/office/drawing/2014/main" xmlns="" id="{7C2C37D7-18CD-4C57-9B9C-1A5178A6682E}"/>
                </a:ext>
              </a:extLst>
            </p:cNvPr>
            <p:cNvSpPr/>
            <p:nvPr userDrawn="1"/>
          </p:nvSpPr>
          <p:spPr bwMode="auto">
            <a:xfrm>
              <a:off x="5226051" y="2428876"/>
              <a:ext cx="179388" cy="104775"/>
            </a:xfrm>
            <a:custGeom>
              <a:avLst/>
              <a:gdLst>
                <a:gd name="T0" fmla="*/ 54 w 54"/>
                <a:gd name="T1" fmla="*/ 0 h 32"/>
                <a:gd name="T2" fmla="*/ 0 w 54"/>
                <a:gd name="T3" fmla="*/ 31 h 32"/>
                <a:gd name="T4" fmla="*/ 0 w 54"/>
                <a:gd name="T5" fmla="*/ 32 h 32"/>
                <a:gd name="T6" fmla="*/ 53 w 54"/>
                <a:gd name="T7" fmla="*/ 2 h 32"/>
                <a:gd name="T8" fmla="*/ 54 w 54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2">
                  <a:moveTo>
                    <a:pt x="54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4" y="0"/>
                    <a:pt x="54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0" name="iS1íďê">
              <a:extLst>
                <a:ext uri="{FF2B5EF4-FFF2-40B4-BE49-F238E27FC236}">
                  <a16:creationId xmlns:a16="http://schemas.microsoft.com/office/drawing/2014/main" xmlns="" id="{3DE45918-A37B-4E62-BE29-0BF73C919320}"/>
                </a:ext>
              </a:extLst>
            </p:cNvPr>
            <p:cNvSpPr/>
            <p:nvPr userDrawn="1"/>
          </p:nvSpPr>
          <p:spPr bwMode="auto">
            <a:xfrm>
              <a:off x="4732338" y="2249488"/>
              <a:ext cx="790575" cy="461963"/>
            </a:xfrm>
            <a:custGeom>
              <a:avLst/>
              <a:gdLst>
                <a:gd name="T0" fmla="*/ 240 w 240"/>
                <a:gd name="T1" fmla="*/ 0 h 140"/>
                <a:gd name="T2" fmla="*/ 1 w 240"/>
                <a:gd name="T3" fmla="*/ 138 h 140"/>
                <a:gd name="T4" fmla="*/ 0 w 240"/>
                <a:gd name="T5" fmla="*/ 139 h 140"/>
                <a:gd name="T6" fmla="*/ 0 w 240"/>
                <a:gd name="T7" fmla="*/ 140 h 140"/>
                <a:gd name="T8" fmla="*/ 1 w 240"/>
                <a:gd name="T9" fmla="*/ 140 h 140"/>
                <a:gd name="T10" fmla="*/ 239 w 240"/>
                <a:gd name="T11" fmla="*/ 2 h 140"/>
                <a:gd name="T12" fmla="*/ 240 w 240"/>
                <a:gd name="T1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40">
                  <a:moveTo>
                    <a:pt x="240" y="0"/>
                  </a:moveTo>
                  <a:cubicBezTo>
                    <a:pt x="1" y="138"/>
                    <a:pt x="1" y="138"/>
                    <a:pt x="1" y="138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" y="140"/>
                    <a:pt x="1" y="140"/>
                    <a:pt x="1" y="140"/>
                  </a:cubicBezTo>
                  <a:cubicBezTo>
                    <a:pt x="239" y="2"/>
                    <a:pt x="239" y="2"/>
                    <a:pt x="239" y="2"/>
                  </a:cubicBezTo>
                  <a:cubicBezTo>
                    <a:pt x="239" y="1"/>
                    <a:pt x="240" y="1"/>
                    <a:pt x="240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1" name="iṣ1ídé">
              <a:extLst>
                <a:ext uri="{FF2B5EF4-FFF2-40B4-BE49-F238E27FC236}">
                  <a16:creationId xmlns:a16="http://schemas.microsoft.com/office/drawing/2014/main" xmlns="" id="{869D668A-15C5-4CC8-8684-CC74942D2ED3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2" name="íṩľiḑê">
              <a:extLst>
                <a:ext uri="{FF2B5EF4-FFF2-40B4-BE49-F238E27FC236}">
                  <a16:creationId xmlns:a16="http://schemas.microsoft.com/office/drawing/2014/main" xmlns="" id="{718E3967-6798-4FC1-8F33-F766EA65777B}"/>
                </a:ext>
              </a:extLst>
            </p:cNvPr>
            <p:cNvSpPr/>
            <p:nvPr userDrawn="1"/>
          </p:nvSpPr>
          <p:spPr bwMode="auto">
            <a:xfrm>
              <a:off x="4732338" y="2546351"/>
              <a:ext cx="465138" cy="274638"/>
            </a:xfrm>
            <a:custGeom>
              <a:avLst/>
              <a:gdLst>
                <a:gd name="T0" fmla="*/ 293 w 293"/>
                <a:gd name="T1" fmla="*/ 0 h 173"/>
                <a:gd name="T2" fmla="*/ 2 w 293"/>
                <a:gd name="T3" fmla="*/ 169 h 173"/>
                <a:gd name="T4" fmla="*/ 0 w 293"/>
                <a:gd name="T5" fmla="*/ 171 h 173"/>
                <a:gd name="T6" fmla="*/ 0 w 293"/>
                <a:gd name="T7" fmla="*/ 173 h 173"/>
                <a:gd name="T8" fmla="*/ 2 w 293"/>
                <a:gd name="T9" fmla="*/ 171 h 173"/>
                <a:gd name="T10" fmla="*/ 293 w 293"/>
                <a:gd name="T11" fmla="*/ 2 h 173"/>
                <a:gd name="T12" fmla="*/ 293 w 293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173">
                  <a:moveTo>
                    <a:pt x="293" y="0"/>
                  </a:moveTo>
                  <a:lnTo>
                    <a:pt x="2" y="169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1"/>
                  </a:lnTo>
                  <a:lnTo>
                    <a:pt x="293" y="2"/>
                  </a:lnTo>
                  <a:lnTo>
                    <a:pt x="29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3" name="îŝḷîdé">
              <a:extLst>
                <a:ext uri="{FF2B5EF4-FFF2-40B4-BE49-F238E27FC236}">
                  <a16:creationId xmlns:a16="http://schemas.microsoft.com/office/drawing/2014/main" xmlns="" id="{511CD0AD-F1EF-4B2C-B467-B97DF491A0BE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4" name="íŝḷîḍè">
              <a:extLst>
                <a:ext uri="{FF2B5EF4-FFF2-40B4-BE49-F238E27FC236}">
                  <a16:creationId xmlns:a16="http://schemas.microsoft.com/office/drawing/2014/main" xmlns="" id="{F11E25AF-E0F8-4D55-AF0C-D6AC349CE2DA}"/>
                </a:ext>
              </a:extLst>
            </p:cNvPr>
            <p:cNvSpPr/>
            <p:nvPr userDrawn="1"/>
          </p:nvSpPr>
          <p:spPr bwMode="auto">
            <a:xfrm>
              <a:off x="5097463" y="2695576"/>
              <a:ext cx="42863" cy="25400"/>
            </a:xfrm>
            <a:custGeom>
              <a:avLst/>
              <a:gdLst>
                <a:gd name="T0" fmla="*/ 27 w 27"/>
                <a:gd name="T1" fmla="*/ 0 h 16"/>
                <a:gd name="T2" fmla="*/ 0 w 27"/>
                <a:gd name="T3" fmla="*/ 14 h 16"/>
                <a:gd name="T4" fmla="*/ 0 w 27"/>
                <a:gd name="T5" fmla="*/ 16 h 16"/>
                <a:gd name="T6" fmla="*/ 25 w 27"/>
                <a:gd name="T7" fmla="*/ 2 h 16"/>
                <a:gd name="T8" fmla="*/ 27 w 2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0"/>
                  </a:moveTo>
                  <a:lnTo>
                    <a:pt x="0" y="14"/>
                  </a:lnTo>
                  <a:lnTo>
                    <a:pt x="0" y="16"/>
                  </a:lnTo>
                  <a:lnTo>
                    <a:pt x="25" y="2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5" name="ï$ľiḍè">
              <a:extLst>
                <a:ext uri="{FF2B5EF4-FFF2-40B4-BE49-F238E27FC236}">
                  <a16:creationId xmlns:a16="http://schemas.microsoft.com/office/drawing/2014/main" xmlns="" id="{365836B1-9600-4565-A082-99BBD79702A1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6" name="íšļídè">
              <a:extLst>
                <a:ext uri="{FF2B5EF4-FFF2-40B4-BE49-F238E27FC236}">
                  <a16:creationId xmlns:a16="http://schemas.microsoft.com/office/drawing/2014/main" xmlns="" id="{C611A65F-A044-499C-B6DA-479E2BDB7B80}"/>
                </a:ext>
              </a:extLst>
            </p:cNvPr>
            <p:cNvSpPr/>
            <p:nvPr userDrawn="1"/>
          </p:nvSpPr>
          <p:spPr bwMode="auto">
            <a:xfrm>
              <a:off x="4732338" y="2986088"/>
              <a:ext cx="92075" cy="55563"/>
            </a:xfrm>
            <a:custGeom>
              <a:avLst/>
              <a:gdLst>
                <a:gd name="T0" fmla="*/ 58 w 58"/>
                <a:gd name="T1" fmla="*/ 0 h 35"/>
                <a:gd name="T2" fmla="*/ 2 w 58"/>
                <a:gd name="T3" fmla="*/ 31 h 35"/>
                <a:gd name="T4" fmla="*/ 2 w 58"/>
                <a:gd name="T5" fmla="*/ 31 h 35"/>
                <a:gd name="T6" fmla="*/ 0 w 58"/>
                <a:gd name="T7" fmla="*/ 33 h 35"/>
                <a:gd name="T8" fmla="*/ 0 w 58"/>
                <a:gd name="T9" fmla="*/ 35 h 35"/>
                <a:gd name="T10" fmla="*/ 2 w 58"/>
                <a:gd name="T11" fmla="*/ 33 h 35"/>
                <a:gd name="T12" fmla="*/ 56 w 58"/>
                <a:gd name="T13" fmla="*/ 4 h 35"/>
                <a:gd name="T14" fmla="*/ 58 w 58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58" y="0"/>
                  </a:move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6" y="4"/>
                  </a:lnTo>
                  <a:lnTo>
                    <a:pt x="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7" name="ïṣļïḋê">
              <a:extLst>
                <a:ext uri="{FF2B5EF4-FFF2-40B4-BE49-F238E27FC236}">
                  <a16:creationId xmlns:a16="http://schemas.microsoft.com/office/drawing/2014/main" xmlns="" id="{27AD1DB3-27CB-4E53-B49B-30E1B5C78EBB}"/>
                </a:ext>
              </a:extLst>
            </p:cNvPr>
            <p:cNvSpPr/>
            <p:nvPr userDrawn="1"/>
          </p:nvSpPr>
          <p:spPr bwMode="auto">
            <a:xfrm>
              <a:off x="4852988" y="2646363"/>
              <a:ext cx="304800" cy="450850"/>
            </a:xfrm>
            <a:custGeom>
              <a:avLst/>
              <a:gdLst>
                <a:gd name="T0" fmla="*/ 56 w 92"/>
                <a:gd name="T1" fmla="*/ 0 h 137"/>
                <a:gd name="T2" fmla="*/ 39 w 92"/>
                <a:gd name="T3" fmla="*/ 43 h 137"/>
                <a:gd name="T4" fmla="*/ 38 w 92"/>
                <a:gd name="T5" fmla="*/ 44 h 137"/>
                <a:gd name="T6" fmla="*/ 22 w 92"/>
                <a:gd name="T7" fmla="*/ 84 h 137"/>
                <a:gd name="T8" fmla="*/ 0 w 92"/>
                <a:gd name="T9" fmla="*/ 137 h 137"/>
                <a:gd name="T10" fmla="*/ 49 w 92"/>
                <a:gd name="T11" fmla="*/ 108 h 137"/>
                <a:gd name="T12" fmla="*/ 92 w 92"/>
                <a:gd name="T13" fmla="*/ 45 h 137"/>
                <a:gd name="T14" fmla="*/ 80 w 92"/>
                <a:gd name="T15" fmla="*/ 31 h 137"/>
                <a:gd name="T16" fmla="*/ 74 w 92"/>
                <a:gd name="T17" fmla="*/ 23 h 137"/>
                <a:gd name="T18" fmla="*/ 74 w 92"/>
                <a:gd name="T19" fmla="*/ 22 h 137"/>
                <a:gd name="T20" fmla="*/ 56 w 92"/>
                <a:gd name="T21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37">
                  <a:moveTo>
                    <a:pt x="56" y="0"/>
                  </a:moveTo>
                  <a:cubicBezTo>
                    <a:pt x="39" y="43"/>
                    <a:pt x="39" y="43"/>
                    <a:pt x="39" y="43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63" y="88"/>
                    <a:pt x="77" y="67"/>
                    <a:pt x="92" y="45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rgbClr val="A5A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8" name="íṥľidè">
              <a:extLst>
                <a:ext uri="{FF2B5EF4-FFF2-40B4-BE49-F238E27FC236}">
                  <a16:creationId xmlns:a16="http://schemas.microsoft.com/office/drawing/2014/main" xmlns="" id="{380A55E5-C587-4DC8-867E-A16A1AE814DA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29" name="íŝḻíďe">
              <a:extLst>
                <a:ext uri="{FF2B5EF4-FFF2-40B4-BE49-F238E27FC236}">
                  <a16:creationId xmlns:a16="http://schemas.microsoft.com/office/drawing/2014/main" xmlns="" id="{635BAD3F-37CA-4929-B86A-59C3EDDBEA11}"/>
                </a:ext>
              </a:extLst>
            </p:cNvPr>
            <p:cNvSpPr/>
            <p:nvPr userDrawn="1"/>
          </p:nvSpPr>
          <p:spPr bwMode="auto">
            <a:xfrm>
              <a:off x="4735513" y="2876551"/>
              <a:ext cx="190500" cy="287338"/>
            </a:xfrm>
            <a:custGeom>
              <a:avLst/>
              <a:gdLst>
                <a:gd name="T0" fmla="*/ 87 w 120"/>
                <a:gd name="T1" fmla="*/ 0 h 181"/>
                <a:gd name="T2" fmla="*/ 56 w 120"/>
                <a:gd name="T3" fmla="*/ 69 h 181"/>
                <a:gd name="T4" fmla="*/ 54 w 120"/>
                <a:gd name="T5" fmla="*/ 73 h 181"/>
                <a:gd name="T6" fmla="*/ 0 w 120"/>
                <a:gd name="T7" fmla="*/ 181 h 181"/>
                <a:gd name="T8" fmla="*/ 0 w 120"/>
                <a:gd name="T9" fmla="*/ 181 h 181"/>
                <a:gd name="T10" fmla="*/ 74 w 120"/>
                <a:gd name="T11" fmla="*/ 139 h 181"/>
                <a:gd name="T12" fmla="*/ 120 w 120"/>
                <a:gd name="T13" fmla="*/ 29 h 181"/>
                <a:gd name="T14" fmla="*/ 87 w 120"/>
                <a:gd name="T1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181">
                  <a:moveTo>
                    <a:pt x="87" y="0"/>
                  </a:moveTo>
                  <a:lnTo>
                    <a:pt x="56" y="69"/>
                  </a:lnTo>
                  <a:lnTo>
                    <a:pt x="54" y="7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74" y="139"/>
                  </a:lnTo>
                  <a:lnTo>
                    <a:pt x="120" y="29"/>
                  </a:lnTo>
                  <a:lnTo>
                    <a:pt x="8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0" name="iṥ1îḑê">
              <a:extLst>
                <a:ext uri="{FF2B5EF4-FFF2-40B4-BE49-F238E27FC236}">
                  <a16:creationId xmlns:a16="http://schemas.microsoft.com/office/drawing/2014/main" xmlns="" id="{DF159521-5A8A-4FF5-9501-70F4BC91E880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1" name="ísḻïḓé">
              <a:extLst>
                <a:ext uri="{FF2B5EF4-FFF2-40B4-BE49-F238E27FC236}">
                  <a16:creationId xmlns:a16="http://schemas.microsoft.com/office/drawing/2014/main" xmlns="" id="{E188BD8A-9362-46F1-83F3-CFE2674A2BBB}"/>
                </a:ext>
              </a:extLst>
            </p:cNvPr>
            <p:cNvSpPr/>
            <p:nvPr userDrawn="1"/>
          </p:nvSpPr>
          <p:spPr bwMode="auto">
            <a:xfrm>
              <a:off x="4732338" y="2787651"/>
              <a:ext cx="249238" cy="147638"/>
            </a:xfrm>
            <a:custGeom>
              <a:avLst/>
              <a:gdLst>
                <a:gd name="T0" fmla="*/ 157 w 157"/>
                <a:gd name="T1" fmla="*/ 0 h 93"/>
                <a:gd name="T2" fmla="*/ 2 w 157"/>
                <a:gd name="T3" fmla="*/ 89 h 93"/>
                <a:gd name="T4" fmla="*/ 0 w 157"/>
                <a:gd name="T5" fmla="*/ 89 h 93"/>
                <a:gd name="T6" fmla="*/ 0 w 157"/>
                <a:gd name="T7" fmla="*/ 93 h 93"/>
                <a:gd name="T8" fmla="*/ 2 w 157"/>
                <a:gd name="T9" fmla="*/ 91 h 93"/>
                <a:gd name="T10" fmla="*/ 155 w 157"/>
                <a:gd name="T11" fmla="*/ 2 h 93"/>
                <a:gd name="T12" fmla="*/ 157 w 157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93">
                  <a:moveTo>
                    <a:pt x="157" y="0"/>
                  </a:moveTo>
                  <a:lnTo>
                    <a:pt x="2" y="89"/>
                  </a:lnTo>
                  <a:lnTo>
                    <a:pt x="0" y="89"/>
                  </a:lnTo>
                  <a:lnTo>
                    <a:pt x="0" y="93"/>
                  </a:lnTo>
                  <a:lnTo>
                    <a:pt x="2" y="91"/>
                  </a:lnTo>
                  <a:lnTo>
                    <a:pt x="155" y="2"/>
                  </a:lnTo>
                  <a:lnTo>
                    <a:pt x="1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2" name="íṡḷíḓé">
              <a:extLst>
                <a:ext uri="{FF2B5EF4-FFF2-40B4-BE49-F238E27FC236}">
                  <a16:creationId xmlns:a16="http://schemas.microsoft.com/office/drawing/2014/main" xmlns="" id="{42E5F0B6-70CA-43B3-BB2A-1DBB38E0D723}"/>
                </a:ext>
              </a:extLst>
            </p:cNvPr>
            <p:cNvSpPr/>
            <p:nvPr userDrawn="1"/>
          </p:nvSpPr>
          <p:spPr bwMode="auto">
            <a:xfrm>
              <a:off x="5118101" y="2506663"/>
              <a:ext cx="157163" cy="287338"/>
            </a:xfrm>
            <a:custGeom>
              <a:avLst/>
              <a:gdLst>
                <a:gd name="T0" fmla="*/ 29 w 48"/>
                <a:gd name="T1" fmla="*/ 0 h 87"/>
                <a:gd name="T2" fmla="*/ 24 w 48"/>
                <a:gd name="T3" fmla="*/ 12 h 87"/>
                <a:gd name="T4" fmla="*/ 24 w 48"/>
                <a:gd name="T5" fmla="*/ 13 h 87"/>
                <a:gd name="T6" fmla="*/ 7 w 48"/>
                <a:gd name="T7" fmla="*/ 57 h 87"/>
                <a:gd name="T8" fmla="*/ 6 w 48"/>
                <a:gd name="T9" fmla="*/ 58 h 87"/>
                <a:gd name="T10" fmla="*/ 0 w 48"/>
                <a:gd name="T11" fmla="*/ 73 h 87"/>
                <a:gd name="T12" fmla="*/ 12 w 48"/>
                <a:gd name="T13" fmla="*/ 87 h 87"/>
                <a:gd name="T14" fmla="*/ 48 w 48"/>
                <a:gd name="T15" fmla="*/ 33 h 87"/>
                <a:gd name="T16" fmla="*/ 48 w 48"/>
                <a:gd name="T17" fmla="*/ 33 h 87"/>
                <a:gd name="T18" fmla="*/ 33 w 48"/>
                <a:gd name="T19" fmla="*/ 8 h 87"/>
                <a:gd name="T20" fmla="*/ 33 w 48"/>
                <a:gd name="T21" fmla="*/ 7 h 87"/>
                <a:gd name="T22" fmla="*/ 29 w 48"/>
                <a:gd name="T2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7">
                  <a:moveTo>
                    <a:pt x="29" y="0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24" y="69"/>
                    <a:pt x="36" y="51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rgbClr val="9FD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3" name="iṥļïḋê">
              <a:extLst>
                <a:ext uri="{FF2B5EF4-FFF2-40B4-BE49-F238E27FC236}">
                  <a16:creationId xmlns:a16="http://schemas.microsoft.com/office/drawing/2014/main" xmlns="" id="{16E93247-A73B-4D55-AC31-A181B612A8A5}"/>
                </a:ext>
              </a:extLst>
            </p:cNvPr>
            <p:cNvSpPr/>
            <p:nvPr userDrawn="1"/>
          </p:nvSpPr>
          <p:spPr bwMode="auto">
            <a:xfrm>
              <a:off x="4727576" y="2052638"/>
              <a:ext cx="931863" cy="539750"/>
            </a:xfrm>
            <a:custGeom>
              <a:avLst/>
              <a:gdLst>
                <a:gd name="T0" fmla="*/ 282 w 282"/>
                <a:gd name="T1" fmla="*/ 0 h 164"/>
                <a:gd name="T2" fmla="*/ 0 w 282"/>
                <a:gd name="T3" fmla="*/ 162 h 164"/>
                <a:gd name="T4" fmla="*/ 0 w 282"/>
                <a:gd name="T5" fmla="*/ 164 h 164"/>
                <a:gd name="T6" fmla="*/ 281 w 282"/>
                <a:gd name="T7" fmla="*/ 2 h 164"/>
                <a:gd name="T8" fmla="*/ 282 w 282"/>
                <a:gd name="T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64">
                  <a:moveTo>
                    <a:pt x="282" y="0"/>
                  </a:moveTo>
                  <a:cubicBezTo>
                    <a:pt x="0" y="162"/>
                    <a:pt x="0" y="162"/>
                    <a:pt x="0" y="162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1"/>
                    <a:pt x="281" y="1"/>
                    <a:pt x="28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4" name="ïŝ1ïḑê">
              <a:extLst>
                <a:ext uri="{FF2B5EF4-FFF2-40B4-BE49-F238E27FC236}">
                  <a16:creationId xmlns:a16="http://schemas.microsoft.com/office/drawing/2014/main" xmlns="" id="{149CE608-E1EF-4B7E-8E9D-BB9A4592625D}"/>
                </a:ext>
              </a:extLst>
            </p:cNvPr>
            <p:cNvSpPr/>
            <p:nvPr userDrawn="1"/>
          </p:nvSpPr>
          <p:spPr bwMode="auto">
            <a:xfrm>
              <a:off x="4727576" y="2589213"/>
              <a:ext cx="287338" cy="584200"/>
            </a:xfrm>
            <a:custGeom>
              <a:avLst/>
              <a:gdLst>
                <a:gd name="T0" fmla="*/ 2 w 87"/>
                <a:gd name="T1" fmla="*/ 0 h 177"/>
                <a:gd name="T2" fmla="*/ 0 w 87"/>
                <a:gd name="T3" fmla="*/ 1 h 177"/>
                <a:gd name="T4" fmla="*/ 1 w 87"/>
                <a:gd name="T5" fmla="*/ 177 h 177"/>
                <a:gd name="T6" fmla="*/ 85 w 87"/>
                <a:gd name="T7" fmla="*/ 128 h 177"/>
                <a:gd name="T8" fmla="*/ 87 w 87"/>
                <a:gd name="T9" fmla="*/ 125 h 177"/>
                <a:gd name="T10" fmla="*/ 2 w 87"/>
                <a:gd name="T11" fmla="*/ 174 h 177"/>
                <a:gd name="T12" fmla="*/ 2 w 87"/>
                <a:gd name="T13" fmla="*/ 174 h 177"/>
                <a:gd name="T14" fmla="*/ 2 w 87"/>
                <a:gd name="T15" fmla="*/ 174 h 177"/>
                <a:gd name="T16" fmla="*/ 2 w 87"/>
                <a:gd name="T17" fmla="*/ 136 h 177"/>
                <a:gd name="T18" fmla="*/ 1 w 87"/>
                <a:gd name="T19" fmla="*/ 137 h 177"/>
                <a:gd name="T20" fmla="*/ 1 w 87"/>
                <a:gd name="T21" fmla="*/ 136 h 177"/>
                <a:gd name="T22" fmla="*/ 2 w 87"/>
                <a:gd name="T23" fmla="*/ 135 h 177"/>
                <a:gd name="T24" fmla="*/ 2 w 87"/>
                <a:gd name="T25" fmla="*/ 135 h 177"/>
                <a:gd name="T26" fmla="*/ 2 w 87"/>
                <a:gd name="T27" fmla="*/ 104 h 177"/>
                <a:gd name="T28" fmla="*/ 1 w 87"/>
                <a:gd name="T29" fmla="*/ 105 h 177"/>
                <a:gd name="T30" fmla="*/ 1 w 87"/>
                <a:gd name="T31" fmla="*/ 103 h 177"/>
                <a:gd name="T32" fmla="*/ 2 w 87"/>
                <a:gd name="T33" fmla="*/ 103 h 177"/>
                <a:gd name="T34" fmla="*/ 2 w 87"/>
                <a:gd name="T35" fmla="*/ 69 h 177"/>
                <a:gd name="T36" fmla="*/ 1 w 87"/>
                <a:gd name="T37" fmla="*/ 70 h 177"/>
                <a:gd name="T38" fmla="*/ 1 w 87"/>
                <a:gd name="T39" fmla="*/ 69 h 177"/>
                <a:gd name="T40" fmla="*/ 2 w 87"/>
                <a:gd name="T41" fmla="*/ 68 h 177"/>
                <a:gd name="T42" fmla="*/ 2 w 87"/>
                <a:gd name="T43" fmla="*/ 37 h 177"/>
                <a:gd name="T44" fmla="*/ 1 w 87"/>
                <a:gd name="T45" fmla="*/ 37 h 177"/>
                <a:gd name="T46" fmla="*/ 1 w 87"/>
                <a:gd name="T47" fmla="*/ 36 h 177"/>
                <a:gd name="T48" fmla="*/ 2 w 87"/>
                <a:gd name="T49" fmla="*/ 35 h 177"/>
                <a:gd name="T50" fmla="*/ 2 w 87"/>
                <a:gd name="T51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177">
                  <a:moveTo>
                    <a:pt x="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77"/>
                    <a:pt x="1" y="177"/>
                    <a:pt x="1" y="177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86" y="127"/>
                    <a:pt x="86" y="126"/>
                    <a:pt x="87" y="125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1" y="136"/>
                    <a:pt x="1" y="136"/>
                    <a:pt x="1" y="136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998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5" name="îsḻíḋè">
              <a:extLst>
                <a:ext uri="{FF2B5EF4-FFF2-40B4-BE49-F238E27FC236}">
                  <a16:creationId xmlns:a16="http://schemas.microsoft.com/office/drawing/2014/main" xmlns="" id="{B9569D1C-1924-4D8C-9D7B-782EF0C43ACF}"/>
                </a:ext>
              </a:extLst>
            </p:cNvPr>
            <p:cNvSpPr/>
            <p:nvPr userDrawn="1"/>
          </p:nvSpPr>
          <p:spPr bwMode="auto">
            <a:xfrm>
              <a:off x="7556501" y="2698751"/>
              <a:ext cx="804863" cy="58738"/>
            </a:xfrm>
            <a:custGeom>
              <a:avLst/>
              <a:gdLst>
                <a:gd name="T0" fmla="*/ 212 w 244"/>
                <a:gd name="T1" fmla="*/ 8 h 18"/>
                <a:gd name="T2" fmla="*/ 229 w 244"/>
                <a:gd name="T3" fmla="*/ 18 h 18"/>
                <a:gd name="T4" fmla="*/ 244 w 244"/>
                <a:gd name="T5" fmla="*/ 9 h 18"/>
                <a:gd name="T6" fmla="*/ 212 w 244"/>
                <a:gd name="T7" fmla="*/ 8 h 18"/>
                <a:gd name="T8" fmla="*/ 1 w 244"/>
                <a:gd name="T9" fmla="*/ 0 h 18"/>
                <a:gd name="T10" fmla="*/ 28 w 244"/>
                <a:gd name="T11" fmla="*/ 17 h 18"/>
                <a:gd name="T12" fmla="*/ 53 w 244"/>
                <a:gd name="T13" fmla="*/ 3 h 18"/>
                <a:gd name="T14" fmla="*/ 1 w 244"/>
                <a:gd name="T15" fmla="*/ 0 h 18"/>
                <a:gd name="T16" fmla="*/ 1 w 244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4" h="18">
                  <a:moveTo>
                    <a:pt x="212" y="8"/>
                  </a:moveTo>
                  <a:cubicBezTo>
                    <a:pt x="229" y="18"/>
                    <a:pt x="229" y="18"/>
                    <a:pt x="229" y="18"/>
                  </a:cubicBezTo>
                  <a:cubicBezTo>
                    <a:pt x="238" y="13"/>
                    <a:pt x="243" y="10"/>
                    <a:pt x="244" y="9"/>
                  </a:cubicBezTo>
                  <a:cubicBezTo>
                    <a:pt x="244" y="9"/>
                    <a:pt x="231" y="9"/>
                    <a:pt x="212" y="8"/>
                  </a:cubicBezTo>
                  <a:moveTo>
                    <a:pt x="1" y="0"/>
                  </a:moveTo>
                  <a:cubicBezTo>
                    <a:pt x="0" y="0"/>
                    <a:pt x="12" y="7"/>
                    <a:pt x="28" y="1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24" y="1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B8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6" name="í$1ïḑe">
              <a:extLst>
                <a:ext uri="{FF2B5EF4-FFF2-40B4-BE49-F238E27FC236}">
                  <a16:creationId xmlns:a16="http://schemas.microsoft.com/office/drawing/2014/main" xmlns="" id="{EDA51F87-F04F-47CD-8596-44FBA62A551C}"/>
                </a:ext>
              </a:extLst>
            </p:cNvPr>
            <p:cNvSpPr/>
            <p:nvPr userDrawn="1"/>
          </p:nvSpPr>
          <p:spPr bwMode="auto">
            <a:xfrm>
              <a:off x="7648576" y="2708276"/>
              <a:ext cx="663575" cy="250825"/>
            </a:xfrm>
            <a:custGeom>
              <a:avLst/>
              <a:gdLst>
                <a:gd name="T0" fmla="*/ 25 w 201"/>
                <a:gd name="T1" fmla="*/ 0 h 76"/>
                <a:gd name="T2" fmla="*/ 0 w 201"/>
                <a:gd name="T3" fmla="*/ 14 h 76"/>
                <a:gd name="T4" fmla="*/ 106 w 201"/>
                <a:gd name="T5" fmla="*/ 76 h 76"/>
                <a:gd name="T6" fmla="*/ 201 w 201"/>
                <a:gd name="T7" fmla="*/ 15 h 76"/>
                <a:gd name="T8" fmla="*/ 184 w 201"/>
                <a:gd name="T9" fmla="*/ 5 h 76"/>
                <a:gd name="T10" fmla="*/ 25 w 201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1" h="76">
                  <a:moveTo>
                    <a:pt x="25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40" y="37"/>
                    <a:pt x="106" y="76"/>
                    <a:pt x="106" y="76"/>
                  </a:cubicBezTo>
                  <a:cubicBezTo>
                    <a:pt x="106" y="76"/>
                    <a:pt x="172" y="34"/>
                    <a:pt x="201" y="15"/>
                  </a:cubicBezTo>
                  <a:cubicBezTo>
                    <a:pt x="184" y="5"/>
                    <a:pt x="184" y="5"/>
                    <a:pt x="184" y="5"/>
                  </a:cubicBezTo>
                  <a:cubicBezTo>
                    <a:pt x="143" y="4"/>
                    <a:pt x="74" y="1"/>
                    <a:pt x="25" y="0"/>
                  </a:cubicBezTo>
                </a:path>
              </a:pathLst>
            </a:custGeom>
            <a:solidFill>
              <a:srgbClr val="839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7" name="ïṡḻïḓé">
              <a:extLst>
                <a:ext uri="{FF2B5EF4-FFF2-40B4-BE49-F238E27FC236}">
                  <a16:creationId xmlns:a16="http://schemas.microsoft.com/office/drawing/2014/main" xmlns="" id="{115710C2-8FED-4D65-91A9-905D5852BADD}"/>
                </a:ext>
              </a:extLst>
            </p:cNvPr>
            <p:cNvSpPr/>
            <p:nvPr userDrawn="1"/>
          </p:nvSpPr>
          <p:spPr bwMode="auto">
            <a:xfrm>
              <a:off x="7559676" y="2484438"/>
              <a:ext cx="801688" cy="431800"/>
            </a:xfrm>
            <a:custGeom>
              <a:avLst/>
              <a:gdLst>
                <a:gd name="T0" fmla="*/ 505 w 505"/>
                <a:gd name="T1" fmla="*/ 154 h 272"/>
                <a:gd name="T2" fmla="*/ 235 w 505"/>
                <a:gd name="T3" fmla="*/ 0 h 272"/>
                <a:gd name="T4" fmla="*/ 0 w 505"/>
                <a:gd name="T5" fmla="*/ 135 h 272"/>
                <a:gd name="T6" fmla="*/ 237 w 505"/>
                <a:gd name="T7" fmla="*/ 272 h 272"/>
                <a:gd name="T8" fmla="*/ 301 w 505"/>
                <a:gd name="T9" fmla="*/ 270 h 272"/>
                <a:gd name="T10" fmla="*/ 505 w 505"/>
                <a:gd name="T11" fmla="*/ 15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5" h="272">
                  <a:moveTo>
                    <a:pt x="505" y="154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1" y="270"/>
                  </a:lnTo>
                  <a:lnTo>
                    <a:pt x="505" y="154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8" name="î$ḻíḋè">
              <a:extLst>
                <a:ext uri="{FF2B5EF4-FFF2-40B4-BE49-F238E27FC236}">
                  <a16:creationId xmlns:a16="http://schemas.microsoft.com/office/drawing/2014/main" xmlns="" id="{6070238D-B588-4A48-80DE-C1A0A888C6C5}"/>
                </a:ext>
              </a:extLst>
            </p:cNvPr>
            <p:cNvSpPr/>
            <p:nvPr userDrawn="1"/>
          </p:nvSpPr>
          <p:spPr bwMode="auto">
            <a:xfrm>
              <a:off x="7935913" y="2852738"/>
              <a:ext cx="101600" cy="63500"/>
            </a:xfrm>
            <a:custGeom>
              <a:avLst/>
              <a:gdLst>
                <a:gd name="T0" fmla="*/ 31 w 64"/>
                <a:gd name="T1" fmla="*/ 0 h 40"/>
                <a:gd name="T2" fmla="*/ 64 w 64"/>
                <a:gd name="T3" fmla="*/ 38 h 40"/>
                <a:gd name="T4" fmla="*/ 0 w 64"/>
                <a:gd name="T5" fmla="*/ 40 h 40"/>
                <a:gd name="T6" fmla="*/ 31 w 64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40">
                  <a:moveTo>
                    <a:pt x="31" y="0"/>
                  </a:moveTo>
                  <a:lnTo>
                    <a:pt x="64" y="38"/>
                  </a:lnTo>
                  <a:lnTo>
                    <a:pt x="0" y="4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39" name="î$ľíḑê">
              <a:extLst>
                <a:ext uri="{FF2B5EF4-FFF2-40B4-BE49-F238E27FC236}">
                  <a16:creationId xmlns:a16="http://schemas.microsoft.com/office/drawing/2014/main" xmlns="" id="{26A3DA89-DBC7-494C-ADD4-DBECE13BCAB3}"/>
                </a:ext>
              </a:extLst>
            </p:cNvPr>
            <p:cNvSpPr/>
            <p:nvPr userDrawn="1"/>
          </p:nvSpPr>
          <p:spPr bwMode="auto">
            <a:xfrm>
              <a:off x="4148138" y="5218113"/>
              <a:ext cx="808038" cy="260350"/>
            </a:xfrm>
            <a:custGeom>
              <a:avLst/>
              <a:gdLst>
                <a:gd name="T0" fmla="*/ 2 w 245"/>
                <a:gd name="T1" fmla="*/ 0 h 79"/>
                <a:gd name="T2" fmla="*/ 135 w 245"/>
                <a:gd name="T3" fmla="*/ 79 h 79"/>
                <a:gd name="T4" fmla="*/ 245 w 245"/>
                <a:gd name="T5" fmla="*/ 9 h 79"/>
                <a:gd name="T6" fmla="*/ 133 w 245"/>
                <a:gd name="T7" fmla="*/ 5 h 79"/>
                <a:gd name="T8" fmla="*/ 106 w 245"/>
                <a:gd name="T9" fmla="*/ 21 h 79"/>
                <a:gd name="T10" fmla="*/ 73 w 245"/>
                <a:gd name="T11" fmla="*/ 3 h 79"/>
                <a:gd name="T12" fmla="*/ 2 w 245"/>
                <a:gd name="T13" fmla="*/ 0 h 79"/>
                <a:gd name="T14" fmla="*/ 2 w 245"/>
                <a:gd name="T1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79">
                  <a:moveTo>
                    <a:pt x="2" y="0"/>
                  </a:moveTo>
                  <a:cubicBezTo>
                    <a:pt x="0" y="0"/>
                    <a:pt x="135" y="79"/>
                    <a:pt x="135" y="79"/>
                  </a:cubicBezTo>
                  <a:cubicBezTo>
                    <a:pt x="135" y="79"/>
                    <a:pt x="242" y="11"/>
                    <a:pt x="245" y="9"/>
                  </a:cubicBezTo>
                  <a:cubicBezTo>
                    <a:pt x="245" y="9"/>
                    <a:pt x="190" y="7"/>
                    <a:pt x="133" y="5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34" y="2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839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0" name="îśľiḍé">
              <a:extLst>
                <a:ext uri="{FF2B5EF4-FFF2-40B4-BE49-F238E27FC236}">
                  <a16:creationId xmlns:a16="http://schemas.microsoft.com/office/drawing/2014/main" xmlns="" id="{1168B2B0-A365-43B0-977C-AD128D8D89BC}"/>
                </a:ext>
              </a:extLst>
            </p:cNvPr>
            <p:cNvSpPr/>
            <p:nvPr userDrawn="1"/>
          </p:nvSpPr>
          <p:spPr bwMode="auto">
            <a:xfrm>
              <a:off x="4387851" y="5227638"/>
              <a:ext cx="198438" cy="58738"/>
            </a:xfrm>
            <a:custGeom>
              <a:avLst/>
              <a:gdLst>
                <a:gd name="T0" fmla="*/ 0 w 60"/>
                <a:gd name="T1" fmla="*/ 0 h 18"/>
                <a:gd name="T2" fmla="*/ 33 w 60"/>
                <a:gd name="T3" fmla="*/ 18 h 18"/>
                <a:gd name="T4" fmla="*/ 60 w 60"/>
                <a:gd name="T5" fmla="*/ 2 h 18"/>
                <a:gd name="T6" fmla="*/ 60 w 60"/>
                <a:gd name="T7" fmla="*/ 2 h 18"/>
                <a:gd name="T8" fmla="*/ 33 w 60"/>
                <a:gd name="T9" fmla="*/ 18 h 18"/>
                <a:gd name="T10" fmla="*/ 2 w 60"/>
                <a:gd name="T11" fmla="*/ 0 h 18"/>
                <a:gd name="T12" fmla="*/ 0 w 6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cubicBezTo>
                    <a:pt x="33" y="18"/>
                    <a:pt x="33" y="18"/>
                    <a:pt x="33" y="18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6A82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1" name="îslíďé">
              <a:extLst>
                <a:ext uri="{FF2B5EF4-FFF2-40B4-BE49-F238E27FC236}">
                  <a16:creationId xmlns:a16="http://schemas.microsoft.com/office/drawing/2014/main" xmlns="" id="{199F898B-2B92-4CA0-BBDD-84AE95CEC809}"/>
                </a:ext>
              </a:extLst>
            </p:cNvPr>
            <p:cNvSpPr/>
            <p:nvPr userDrawn="1"/>
          </p:nvSpPr>
          <p:spPr bwMode="auto">
            <a:xfrm>
              <a:off x="4395788" y="5227638"/>
              <a:ext cx="190500" cy="58738"/>
            </a:xfrm>
            <a:custGeom>
              <a:avLst/>
              <a:gdLst>
                <a:gd name="T0" fmla="*/ 0 w 58"/>
                <a:gd name="T1" fmla="*/ 0 h 18"/>
                <a:gd name="T2" fmla="*/ 31 w 58"/>
                <a:gd name="T3" fmla="*/ 18 h 18"/>
                <a:gd name="T4" fmla="*/ 58 w 58"/>
                <a:gd name="T5" fmla="*/ 2 h 18"/>
                <a:gd name="T6" fmla="*/ 0 w 5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18">
                  <a:moveTo>
                    <a:pt x="0" y="0"/>
                  </a:moveTo>
                  <a:cubicBezTo>
                    <a:pt x="31" y="18"/>
                    <a:pt x="31" y="18"/>
                    <a:pt x="31" y="18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38" y="2"/>
                    <a:pt x="18" y="1"/>
                    <a:pt x="0" y="0"/>
                  </a:cubicBezTo>
                </a:path>
              </a:pathLst>
            </a:custGeom>
            <a:solidFill>
              <a:srgbClr val="8396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2" name="í$ḻídê">
              <a:extLst>
                <a:ext uri="{FF2B5EF4-FFF2-40B4-BE49-F238E27FC236}">
                  <a16:creationId xmlns:a16="http://schemas.microsoft.com/office/drawing/2014/main" xmlns="" id="{5F328618-81A9-4593-A8CD-4402A785F6D5}"/>
                </a:ext>
              </a:extLst>
            </p:cNvPr>
            <p:cNvSpPr/>
            <p:nvPr userDrawn="1"/>
          </p:nvSpPr>
          <p:spPr bwMode="auto">
            <a:xfrm>
              <a:off x="4154488" y="5003801"/>
              <a:ext cx="801688" cy="431800"/>
            </a:xfrm>
            <a:custGeom>
              <a:avLst/>
              <a:gdLst>
                <a:gd name="T0" fmla="*/ 505 w 505"/>
                <a:gd name="T1" fmla="*/ 153 h 272"/>
                <a:gd name="T2" fmla="*/ 235 w 505"/>
                <a:gd name="T3" fmla="*/ 0 h 272"/>
                <a:gd name="T4" fmla="*/ 0 w 505"/>
                <a:gd name="T5" fmla="*/ 135 h 272"/>
                <a:gd name="T6" fmla="*/ 237 w 505"/>
                <a:gd name="T7" fmla="*/ 272 h 272"/>
                <a:gd name="T8" fmla="*/ 301 w 505"/>
                <a:gd name="T9" fmla="*/ 270 h 272"/>
                <a:gd name="T10" fmla="*/ 505 w 505"/>
                <a:gd name="T11" fmla="*/ 15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5" h="272">
                  <a:moveTo>
                    <a:pt x="505" y="153"/>
                  </a:moveTo>
                  <a:lnTo>
                    <a:pt x="235" y="0"/>
                  </a:lnTo>
                  <a:lnTo>
                    <a:pt x="0" y="135"/>
                  </a:lnTo>
                  <a:lnTo>
                    <a:pt x="237" y="272"/>
                  </a:lnTo>
                  <a:lnTo>
                    <a:pt x="301" y="270"/>
                  </a:lnTo>
                  <a:lnTo>
                    <a:pt x="505" y="153"/>
                  </a:lnTo>
                  <a:close/>
                </a:path>
              </a:pathLst>
            </a:custGeom>
            <a:solidFill>
              <a:srgbClr val="FCCF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  <p:sp>
          <p:nvSpPr>
            <p:cNvPr id="243" name="ïsḻîḋè">
              <a:extLst>
                <a:ext uri="{FF2B5EF4-FFF2-40B4-BE49-F238E27FC236}">
                  <a16:creationId xmlns:a16="http://schemas.microsoft.com/office/drawing/2014/main" xmlns="" id="{7F59C9DB-11FB-4FD4-8091-C65A5BF35114}"/>
                </a:ext>
              </a:extLst>
            </p:cNvPr>
            <p:cNvSpPr/>
            <p:nvPr userDrawn="1"/>
          </p:nvSpPr>
          <p:spPr bwMode="auto">
            <a:xfrm>
              <a:off x="4530726" y="5372101"/>
              <a:ext cx="101600" cy="63500"/>
            </a:xfrm>
            <a:custGeom>
              <a:avLst/>
              <a:gdLst>
                <a:gd name="T0" fmla="*/ 31 w 64"/>
                <a:gd name="T1" fmla="*/ 0 h 40"/>
                <a:gd name="T2" fmla="*/ 64 w 64"/>
                <a:gd name="T3" fmla="*/ 38 h 40"/>
                <a:gd name="T4" fmla="*/ 0 w 64"/>
                <a:gd name="T5" fmla="*/ 40 h 40"/>
                <a:gd name="T6" fmla="*/ 31 w 64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40">
                  <a:moveTo>
                    <a:pt x="31" y="0"/>
                  </a:moveTo>
                  <a:lnTo>
                    <a:pt x="64" y="38"/>
                  </a:lnTo>
                  <a:lnTo>
                    <a:pt x="0" y="4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992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rgbClr val="000000"/>
                </a:solidFill>
              </a:endParaRPr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2050799"/>
            <a:ext cx="5736161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81393" y="4673762"/>
            <a:ext cx="573616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1394" y="4377491"/>
            <a:ext cx="573616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5416819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8839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630403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973208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7397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48103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3730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8219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AC256D-D0DD-4CA6-A6D3-2A88B45D9E94}" type="datetimeFigureOut">
              <a:rPr lang="zh-CN" altLang="en-US" smtClean="0"/>
              <a:t>2018/12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710039-5D60-407E-A95E-28F5216A18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6027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018/12/27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>
                <a:solidFill>
                  <a:srgbClr val="000000">
                    <a:lumMod val="50000"/>
                    <a:lumOff val="50000"/>
                  </a:srgbClr>
                </a:solidFill>
              </a:rPr>
              <a:t>www.islide.cc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141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3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018/12/27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>
                <a:solidFill>
                  <a:srgbClr val="000000">
                    <a:lumMod val="50000"/>
                    <a:lumOff val="50000"/>
                  </a:srgbClr>
                </a:solidFill>
              </a:rPr>
              <a:t>www.islide.cc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988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3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3.jpg"/><Relationship Id="rId4" Type="http://schemas.openxmlformats.org/officeDocument/2006/relationships/image" Target="../media/image2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ADD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副标题 14">
            <a:extLst>
              <a:ext uri="{FF2B5EF4-FFF2-40B4-BE49-F238E27FC236}">
                <a16:creationId xmlns:a16="http://schemas.microsoft.com/office/drawing/2014/main" xmlns="" id="{7C2732C1-6B6A-4FDF-8B3B-31705CFAC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19320" y="3029266"/>
            <a:ext cx="5427661" cy="558799"/>
          </a:xfrm>
        </p:spPr>
        <p:txBody>
          <a:bodyPr/>
          <a:lstStyle/>
          <a:p>
            <a:r>
              <a:rPr lang="zh-CN" altLang="en-US" dirty="0" smtClean="0"/>
              <a:t>科大讯飞中学作业团队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00269" y="1343075"/>
            <a:ext cx="6363275" cy="1673394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智学作业产品操作手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59478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产品介绍</a:t>
            </a:r>
            <a:endParaRPr lang="zh-CN" altLang="en-US" dirty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358" y="1880111"/>
            <a:ext cx="1474215" cy="1286761"/>
          </a:xfrm>
          <a:prstGeom prst="rect">
            <a:avLst/>
          </a:prstGeom>
        </p:spPr>
      </p:pic>
      <p:sp>
        <p:nvSpPr>
          <p:cNvPr id="13" name="右箭头 12"/>
          <p:cNvSpPr/>
          <p:nvPr/>
        </p:nvSpPr>
        <p:spPr>
          <a:xfrm>
            <a:off x="2307263" y="2338797"/>
            <a:ext cx="356831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14" name="文本框 13"/>
          <p:cNvSpPr txBox="1"/>
          <p:nvPr/>
        </p:nvSpPr>
        <p:spPr bwMode="auto">
          <a:xfrm>
            <a:off x="669925" y="1413533"/>
            <a:ext cx="91440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教辅电子化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7136" y="1849674"/>
            <a:ext cx="1429308" cy="1187804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 bwMode="auto">
          <a:xfrm>
            <a:off x="2804473" y="1410866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布置教辅作业</a:t>
            </a:r>
          </a:p>
        </p:txBody>
      </p:sp>
      <p:sp>
        <p:nvSpPr>
          <p:cNvPr id="18" name="右箭头 17"/>
          <p:cNvSpPr/>
          <p:nvPr/>
        </p:nvSpPr>
        <p:spPr>
          <a:xfrm>
            <a:off x="7023387" y="2321528"/>
            <a:ext cx="396738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2283" y="2875701"/>
            <a:ext cx="1104538" cy="195904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0" name="文本框 19"/>
          <p:cNvSpPr txBox="1"/>
          <p:nvPr/>
        </p:nvSpPr>
        <p:spPr bwMode="auto">
          <a:xfrm>
            <a:off x="5006114" y="1401448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纸笔作答，拍照上传</a:t>
            </a:r>
          </a:p>
        </p:txBody>
      </p:sp>
      <p:sp>
        <p:nvSpPr>
          <p:cNvPr id="21" name="文本框 20"/>
          <p:cNvSpPr txBox="1"/>
          <p:nvPr/>
        </p:nvSpPr>
        <p:spPr bwMode="auto">
          <a:xfrm>
            <a:off x="7560144" y="1380428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系统代理批改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0873" y="1883411"/>
            <a:ext cx="1616998" cy="283572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3" name="右箭头 22"/>
          <p:cNvSpPr/>
          <p:nvPr/>
        </p:nvSpPr>
        <p:spPr>
          <a:xfrm>
            <a:off x="4577108" y="2338797"/>
            <a:ext cx="356831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27" name="右箭头 26"/>
          <p:cNvSpPr/>
          <p:nvPr/>
        </p:nvSpPr>
        <p:spPr>
          <a:xfrm>
            <a:off x="9030619" y="2338797"/>
            <a:ext cx="356831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29" name="文本框 28"/>
          <p:cNvSpPr txBox="1"/>
          <p:nvPr/>
        </p:nvSpPr>
        <p:spPr bwMode="auto">
          <a:xfrm>
            <a:off x="9508430" y="1356649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输出作业报表</a:t>
            </a: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960" y="1810196"/>
            <a:ext cx="1619155" cy="287849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5" name="圆角矩形 34"/>
          <p:cNvSpPr/>
          <p:nvPr/>
        </p:nvSpPr>
        <p:spPr>
          <a:xfrm>
            <a:off x="7521377" y="1849674"/>
            <a:ext cx="1407990" cy="1187804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solidFill>
                  <a:srgbClr val="FFFFFF"/>
                </a:solidFill>
              </a:rPr>
              <a:t>选择题、填空题、解答题自动批改</a:t>
            </a:r>
          </a:p>
        </p:txBody>
      </p:sp>
      <p:sp>
        <p:nvSpPr>
          <p:cNvPr id="36" name="矩形 35"/>
          <p:cNvSpPr/>
          <p:nvPr/>
        </p:nvSpPr>
        <p:spPr>
          <a:xfrm>
            <a:off x="697358" y="5213131"/>
            <a:ext cx="10548711" cy="96781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FFFF"/>
                </a:solidFill>
              </a:rPr>
              <a:t>产品亮点：教辅作为资源、学生纸质作答、系统代理批改、输出详细作业报表</a:t>
            </a:r>
          </a:p>
        </p:txBody>
      </p:sp>
    </p:spTree>
    <p:extLst>
      <p:ext uri="{BB962C8B-B14F-4D97-AF65-F5344CB8AC3E}">
        <p14:creationId xmlns:p14="http://schemas.microsoft.com/office/powerpoint/2010/main" val="992799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7" grpId="0"/>
      <p:bldP spid="18" grpId="0" animBg="1"/>
      <p:bldP spid="20" grpId="0"/>
      <p:bldP spid="21" grpId="0"/>
      <p:bldP spid="23" grpId="0" animBg="1"/>
      <p:bldP spid="27" grpId="0" animBg="1"/>
      <p:bldP spid="29" grpId="0"/>
      <p:bldP spid="3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1556" y="1260603"/>
            <a:ext cx="5655573" cy="2506956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1032891" y="3892991"/>
            <a:ext cx="10548711" cy="1336230"/>
          </a:xfrm>
          <a:prstGeom prst="rect">
            <a:avLst/>
          </a:prstGeom>
          <a:solidFill>
            <a:srgbClr val="10B8EF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lvl="0" algn="ctr"/>
            <a:r>
              <a:rPr lang="zh-CN" altLang="en-US" sz="4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学生端操作流程</a:t>
            </a:r>
            <a:endParaRPr kumimoji="0" lang="zh-CN" altLang="en-US" sz="4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07916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学生</a:t>
            </a:r>
            <a:r>
              <a:rPr lang="en-US" altLang="zh-CN" dirty="0" smtClean="0"/>
              <a:t>—</a:t>
            </a:r>
            <a:r>
              <a:rPr lang="zh-CN" altLang="en-US" dirty="0" smtClean="0"/>
              <a:t>做作业</a:t>
            </a:r>
            <a:endParaRPr lang="zh-CN" altLang="en-US" dirty="0"/>
          </a:p>
        </p:txBody>
      </p:sp>
      <p:sp>
        <p:nvSpPr>
          <p:cNvPr id="13" name="右箭头 12"/>
          <p:cNvSpPr/>
          <p:nvPr/>
        </p:nvSpPr>
        <p:spPr>
          <a:xfrm>
            <a:off x="2138562" y="2726292"/>
            <a:ext cx="356831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14" name="文本框 13"/>
          <p:cNvSpPr txBox="1"/>
          <p:nvPr/>
        </p:nvSpPr>
        <p:spPr bwMode="auto">
          <a:xfrm>
            <a:off x="669925" y="1413533"/>
            <a:ext cx="91440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智学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网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APP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7" name="文本框 16"/>
          <p:cNvSpPr txBox="1"/>
          <p:nvPr/>
        </p:nvSpPr>
        <p:spPr bwMode="auto">
          <a:xfrm>
            <a:off x="2851584" y="1412162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首页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-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作业中心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8" name="右箭头 17"/>
          <p:cNvSpPr/>
          <p:nvPr/>
        </p:nvSpPr>
        <p:spPr>
          <a:xfrm>
            <a:off x="7016035" y="2764240"/>
            <a:ext cx="396738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20" name="文本框 19"/>
          <p:cNvSpPr txBox="1"/>
          <p:nvPr/>
        </p:nvSpPr>
        <p:spPr bwMode="auto">
          <a:xfrm>
            <a:off x="5006114" y="1401448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未完成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-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选择作业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-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作答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21" name="文本框 20"/>
          <p:cNvSpPr txBox="1"/>
          <p:nvPr/>
        </p:nvSpPr>
        <p:spPr bwMode="auto">
          <a:xfrm>
            <a:off x="7560144" y="1380428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选择题点选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23" name="右箭头 22"/>
          <p:cNvSpPr/>
          <p:nvPr/>
        </p:nvSpPr>
        <p:spPr>
          <a:xfrm>
            <a:off x="4566076" y="2772476"/>
            <a:ext cx="356831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27" name="右箭头 26"/>
          <p:cNvSpPr/>
          <p:nvPr/>
        </p:nvSpPr>
        <p:spPr>
          <a:xfrm>
            <a:off x="9196239" y="2761449"/>
            <a:ext cx="356831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29" name="文本框 28"/>
          <p:cNvSpPr txBox="1"/>
          <p:nvPr/>
        </p:nvSpPr>
        <p:spPr bwMode="auto">
          <a:xfrm>
            <a:off x="9508430" y="1356649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主观题拍照上传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95" r="53814"/>
          <a:stretch/>
        </p:blipFill>
        <p:spPr>
          <a:xfrm>
            <a:off x="276393" y="2023125"/>
            <a:ext cx="1732537" cy="1476649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240308" y="1975292"/>
            <a:ext cx="1751906" cy="1558357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4"/>
          <a:srcRect b="65011"/>
          <a:stretch/>
        </p:blipFill>
        <p:spPr>
          <a:xfrm>
            <a:off x="2609178" y="1859469"/>
            <a:ext cx="1828604" cy="122807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4"/>
          <a:srcRect t="86869"/>
          <a:stretch/>
        </p:blipFill>
        <p:spPr>
          <a:xfrm>
            <a:off x="2609178" y="4166674"/>
            <a:ext cx="1828604" cy="48788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2609178" y="1859469"/>
            <a:ext cx="1815420" cy="28292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3394171" y="2571184"/>
            <a:ext cx="417338" cy="556334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3265" y="1859469"/>
            <a:ext cx="1747011" cy="3105797"/>
          </a:xfrm>
          <a:prstGeom prst="rect">
            <a:avLst/>
          </a:prstGeom>
        </p:spPr>
      </p:pic>
      <p:sp>
        <p:nvSpPr>
          <p:cNvPr id="28" name="矩形 27"/>
          <p:cNvSpPr/>
          <p:nvPr/>
        </p:nvSpPr>
        <p:spPr>
          <a:xfrm>
            <a:off x="5088598" y="2412748"/>
            <a:ext cx="1731678" cy="556334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/>
          <p:cNvSpPr/>
          <p:nvPr/>
        </p:nvSpPr>
        <p:spPr>
          <a:xfrm>
            <a:off x="5431102" y="1920240"/>
            <a:ext cx="581078" cy="28372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3848" y="1878961"/>
            <a:ext cx="1616771" cy="2874259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4191" y="1804864"/>
            <a:ext cx="1621878" cy="2948356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510" y="3316090"/>
            <a:ext cx="1744726" cy="310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83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学生</a:t>
            </a:r>
            <a:r>
              <a:rPr lang="en-US" altLang="zh-CN" dirty="0" smtClean="0"/>
              <a:t>—</a:t>
            </a:r>
            <a:r>
              <a:rPr lang="zh-CN" altLang="en-US" dirty="0" smtClean="0"/>
              <a:t>提交作业</a:t>
            </a:r>
            <a:endParaRPr lang="zh-CN" altLang="en-US" dirty="0"/>
          </a:p>
        </p:txBody>
      </p:sp>
      <p:sp>
        <p:nvSpPr>
          <p:cNvPr id="13" name="右箭头 12"/>
          <p:cNvSpPr/>
          <p:nvPr/>
        </p:nvSpPr>
        <p:spPr>
          <a:xfrm>
            <a:off x="3692119" y="3004883"/>
            <a:ext cx="356831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14" name="文本框 13"/>
          <p:cNvSpPr txBox="1"/>
          <p:nvPr/>
        </p:nvSpPr>
        <p:spPr bwMode="auto">
          <a:xfrm>
            <a:off x="1206794" y="1200834"/>
            <a:ext cx="91440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答题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卡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-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灰色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-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未完成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-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去上传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7" name="文本框 16"/>
          <p:cNvSpPr txBox="1"/>
          <p:nvPr/>
        </p:nvSpPr>
        <p:spPr bwMode="auto">
          <a:xfrm>
            <a:off x="4310427" y="1230455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答题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卡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—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全部绿色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—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已完成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—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提交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20" name="文本框 19"/>
          <p:cNvSpPr txBox="1"/>
          <p:nvPr/>
        </p:nvSpPr>
        <p:spPr bwMode="auto">
          <a:xfrm>
            <a:off x="8164203" y="1199197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已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完成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-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选择作业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23" name="右箭头 22"/>
          <p:cNvSpPr/>
          <p:nvPr/>
        </p:nvSpPr>
        <p:spPr>
          <a:xfrm>
            <a:off x="6963764" y="2990899"/>
            <a:ext cx="356831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794" y="2020521"/>
            <a:ext cx="2046029" cy="3637384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6122" y="2020521"/>
            <a:ext cx="2158014" cy="3836469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223" y="2020521"/>
            <a:ext cx="2270368" cy="4036210"/>
          </a:xfrm>
          <a:prstGeom prst="rect">
            <a:avLst/>
          </a:prstGeom>
        </p:spPr>
      </p:pic>
      <p:sp>
        <p:nvSpPr>
          <p:cNvPr id="24" name="矩形 23"/>
          <p:cNvSpPr/>
          <p:nvPr/>
        </p:nvSpPr>
        <p:spPr>
          <a:xfrm>
            <a:off x="7876515" y="2817936"/>
            <a:ext cx="2134076" cy="556334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/>
          <p:cNvSpPr/>
          <p:nvPr/>
        </p:nvSpPr>
        <p:spPr>
          <a:xfrm>
            <a:off x="8827143" y="2142658"/>
            <a:ext cx="581078" cy="28372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0498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学生</a:t>
            </a:r>
            <a:r>
              <a:rPr lang="en-US" altLang="zh-CN" dirty="0" smtClean="0"/>
              <a:t>—</a:t>
            </a:r>
            <a:r>
              <a:rPr lang="zh-CN" altLang="en-US" dirty="0" smtClean="0"/>
              <a:t>查看报告（</a:t>
            </a:r>
            <a:r>
              <a:rPr lang="en-US" altLang="zh-CN" dirty="0" smtClean="0"/>
              <a:t>AI</a:t>
            </a:r>
            <a:r>
              <a:rPr lang="zh-CN" altLang="en-US" dirty="0"/>
              <a:t>批改中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sp>
        <p:nvSpPr>
          <p:cNvPr id="13" name="右箭头 12"/>
          <p:cNvSpPr/>
          <p:nvPr/>
        </p:nvSpPr>
        <p:spPr>
          <a:xfrm>
            <a:off x="5711216" y="3708251"/>
            <a:ext cx="356831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14" name="文本框 13"/>
          <p:cNvSpPr txBox="1"/>
          <p:nvPr/>
        </p:nvSpPr>
        <p:spPr bwMode="auto">
          <a:xfrm>
            <a:off x="3368831" y="1384150"/>
            <a:ext cx="91440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批改中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7" name="文本框 16"/>
          <p:cNvSpPr txBox="1"/>
          <p:nvPr/>
        </p:nvSpPr>
        <p:spPr bwMode="auto">
          <a:xfrm>
            <a:off x="6794896" y="1384150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查看客观题报告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3058" y="1850130"/>
            <a:ext cx="2505946" cy="4455016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145" y="1877289"/>
            <a:ext cx="2503707" cy="4451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109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学生</a:t>
            </a:r>
            <a:r>
              <a:rPr lang="en-US" altLang="zh-CN" dirty="0" smtClean="0"/>
              <a:t>—</a:t>
            </a:r>
            <a:r>
              <a:rPr lang="zh-CN" altLang="en-US" dirty="0"/>
              <a:t>订正</a:t>
            </a:r>
            <a:r>
              <a:rPr lang="zh-CN" altLang="en-US" dirty="0" smtClean="0"/>
              <a:t>（</a:t>
            </a:r>
            <a:r>
              <a:rPr lang="en-US" altLang="zh-CN" dirty="0" smtClean="0"/>
              <a:t>AI</a:t>
            </a:r>
            <a:r>
              <a:rPr lang="zh-CN" altLang="en-US" dirty="0" smtClean="0"/>
              <a:t>批改完需要订正）</a:t>
            </a:r>
            <a:endParaRPr lang="zh-CN" altLang="en-US" dirty="0"/>
          </a:p>
        </p:txBody>
      </p:sp>
      <p:sp>
        <p:nvSpPr>
          <p:cNvPr id="18" name="右箭头 17"/>
          <p:cNvSpPr/>
          <p:nvPr/>
        </p:nvSpPr>
        <p:spPr>
          <a:xfrm>
            <a:off x="3696906" y="3424729"/>
            <a:ext cx="396738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20" name="文本框 19"/>
          <p:cNvSpPr txBox="1"/>
          <p:nvPr/>
        </p:nvSpPr>
        <p:spPr bwMode="auto">
          <a:xfrm>
            <a:off x="751560" y="1375096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AI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批改完成后学生收到订正任务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21" name="文本框 20"/>
          <p:cNvSpPr txBox="1"/>
          <p:nvPr/>
        </p:nvSpPr>
        <p:spPr bwMode="auto">
          <a:xfrm>
            <a:off x="4254930" y="1375096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仅错误的题目需要订正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27" name="右箭头 26"/>
          <p:cNvSpPr/>
          <p:nvPr/>
        </p:nvSpPr>
        <p:spPr>
          <a:xfrm>
            <a:off x="6573470" y="3430871"/>
            <a:ext cx="356831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6384" y="1997489"/>
            <a:ext cx="2142111" cy="3877617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1006384" y="2529840"/>
            <a:ext cx="2300696" cy="6324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930" y="1911478"/>
            <a:ext cx="2078908" cy="42126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524" y="1804864"/>
            <a:ext cx="2142032" cy="4522068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 bwMode="auto">
          <a:xfrm>
            <a:off x="6930301" y="1375096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上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传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【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订正过程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】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进行订正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7204836" y="5069941"/>
            <a:ext cx="2205407" cy="105413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 bwMode="auto">
          <a:xfrm>
            <a:off x="9618301" y="5445338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订正时答案是否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展示与老师在布置时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的设置有关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09691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完成订正后查看报告</a:t>
            </a:r>
            <a:endParaRPr lang="zh-CN" altLang="en-US" dirty="0"/>
          </a:p>
        </p:txBody>
      </p:sp>
      <p:sp>
        <p:nvSpPr>
          <p:cNvPr id="18" name="右箭头 17"/>
          <p:cNvSpPr/>
          <p:nvPr/>
        </p:nvSpPr>
        <p:spPr>
          <a:xfrm>
            <a:off x="3808384" y="3424729"/>
            <a:ext cx="396738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21" name="文本框 20"/>
          <p:cNvSpPr txBox="1"/>
          <p:nvPr/>
        </p:nvSpPr>
        <p:spPr bwMode="auto">
          <a:xfrm>
            <a:off x="4769326" y="1356649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选择题解析，已订正的展示订正过程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27" name="右箭头 26"/>
          <p:cNvSpPr/>
          <p:nvPr/>
        </p:nvSpPr>
        <p:spPr>
          <a:xfrm>
            <a:off x="7487642" y="3424729"/>
            <a:ext cx="356831" cy="369387"/>
          </a:xfrm>
          <a:prstGeom prst="rightArrow">
            <a:avLst/>
          </a:prstGeom>
          <a:solidFill>
            <a:srgbClr val="0C4BA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5500" tIns="47750" rIns="95500" bIns="47750" rtlCol="0" anchor="ctr"/>
          <a:lstStyle/>
          <a:p>
            <a:pPr indent="1270" algn="ctr">
              <a:lnSpc>
                <a:spcPct val="150000"/>
              </a:lnSpc>
            </a:pPr>
            <a:endParaRPr kumimoji="1" lang="zh-CN" altLang="en-US" sz="2200" dirty="0">
              <a:solidFill>
                <a:srgbClr val="FFFFFF"/>
              </a:solidFill>
              <a:latin typeface="微软雅黑"/>
            </a:endParaRPr>
          </a:p>
        </p:txBody>
      </p:sp>
      <p:sp>
        <p:nvSpPr>
          <p:cNvPr id="29" name="文本框 28"/>
          <p:cNvSpPr txBox="1"/>
          <p:nvPr/>
        </p:nvSpPr>
        <p:spPr bwMode="auto">
          <a:xfrm>
            <a:off x="8174437" y="1450033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主观题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解析，已订正的展示订正过程</a:t>
            </a:r>
          </a:p>
          <a:p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480" y="1906134"/>
            <a:ext cx="2143570" cy="4525314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 bwMode="auto">
          <a:xfrm>
            <a:off x="1251480" y="1356649"/>
            <a:ext cx="1325880" cy="429768"/>
          </a:xfrm>
          <a:prstGeom prst="rect">
            <a:avLst/>
          </a:prstGeom>
          <a:noFill/>
          <a:ln>
            <a:noFill/>
          </a:ln>
        </p:spPr>
        <p:txBody>
          <a:bodyPr vert="horz" wrap="none" lIns="61529" tIns="0" rIns="0" bIns="0" numCol="1" rtlCol="0" anchor="ctr" anchorCtr="0" compatLnSpc="1">
            <a:noAutofit/>
          </a:bodyPr>
          <a:lstStyle/>
          <a:p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charset="-122"/>
                <a:cs typeface="微软雅黑" panose="020B0503020204020204" charset="-122"/>
              </a:rPr>
              <a:t>在已完成列表中查看报告</a:t>
            </a:r>
            <a:endParaRPr lang="zh-CN" altLang="en-US" sz="1400" dirty="0">
              <a:solidFill>
                <a:srgbClr val="00000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1676" y="1854922"/>
            <a:ext cx="2167828" cy="4576526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9794" y="1854922"/>
            <a:ext cx="2194976" cy="4633839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4851676" y="4499572"/>
            <a:ext cx="2167828" cy="79670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8249794" y="4499572"/>
            <a:ext cx="2270333" cy="72427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6397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21242f6-ee5f-4bf5-a8d8-efc95807eb2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21242f6-ee5f-4bf5-a8d8-efc95807eb2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21242f6-ee5f-4bf5-a8d8-efc95807eb2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21242f6-ee5f-4bf5-a8d8-efc95807eb2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880E6"/>
      </a:accent1>
      <a:accent2>
        <a:srgbClr val="10B8EF"/>
      </a:accent2>
      <a:accent3>
        <a:srgbClr val="FBCF4F"/>
      </a:accent3>
      <a:accent4>
        <a:srgbClr val="7F6BBD"/>
      </a:accent4>
      <a:accent5>
        <a:srgbClr val="409682"/>
      </a:accent5>
      <a:accent6>
        <a:srgbClr val="7F7F7F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1_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880E6"/>
      </a:accent1>
      <a:accent2>
        <a:srgbClr val="10B8EF"/>
      </a:accent2>
      <a:accent3>
        <a:srgbClr val="FBCF4F"/>
      </a:accent3>
      <a:accent4>
        <a:srgbClr val="7F6BBD"/>
      </a:accent4>
      <a:accent5>
        <a:srgbClr val="409682"/>
      </a:accent5>
      <a:accent6>
        <a:srgbClr val="7F7F7F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880E6"/>
    </a:accent1>
    <a:accent2>
      <a:srgbClr val="10B8EF"/>
    </a:accent2>
    <a:accent3>
      <a:srgbClr val="FBCF4F"/>
    </a:accent3>
    <a:accent4>
      <a:srgbClr val="7F6BBD"/>
    </a:accent4>
    <a:accent5>
      <a:srgbClr val="409682"/>
    </a:accent5>
    <a:accent6>
      <a:srgbClr val="7F7F7F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27</TotalTime>
  <Words>651</Words>
  <Application>Microsoft Office PowerPoint</Application>
  <PresentationFormat>宽屏</PresentationFormat>
  <Paragraphs>44</Paragraphs>
  <Slides>8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7" baseType="lpstr">
      <vt:lpstr>宋体</vt:lpstr>
      <vt:lpstr>微软雅黑</vt:lpstr>
      <vt:lpstr>Arial</vt:lpstr>
      <vt:lpstr>Calibri</vt:lpstr>
      <vt:lpstr>Calibri Light</vt:lpstr>
      <vt:lpstr>Office 主题</vt:lpstr>
      <vt:lpstr>主题5</vt:lpstr>
      <vt:lpstr>1_主题5</vt:lpstr>
      <vt:lpstr>think-cell Slide</vt:lpstr>
      <vt:lpstr>智学作业产品操作手册</vt:lpstr>
      <vt:lpstr>产品介绍</vt:lpstr>
      <vt:lpstr>PowerPoint 演示文稿</vt:lpstr>
      <vt:lpstr>学生—做作业</vt:lpstr>
      <vt:lpstr>学生—提交作业</vt:lpstr>
      <vt:lpstr>学生—查看报告（AI批改中）</vt:lpstr>
      <vt:lpstr>学生—订正（AI批改完需要订正）</vt:lpstr>
      <vt:lpstr>完成订正后查看报告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智学中学作业</dc:title>
  <dc:creator>胡冬琪</dc:creator>
  <cp:lastModifiedBy>胡冬琪</cp:lastModifiedBy>
  <cp:revision>28</cp:revision>
  <dcterms:created xsi:type="dcterms:W3CDTF">2018-11-09T08:18:14Z</dcterms:created>
  <dcterms:modified xsi:type="dcterms:W3CDTF">2018-12-27T11:53:01Z</dcterms:modified>
</cp:coreProperties>
</file>